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1" r:id="rId5"/>
  </p:sldMasterIdLst>
  <p:notesMasterIdLst>
    <p:notesMasterId r:id="rId19"/>
  </p:notesMasterIdLst>
  <p:handoutMasterIdLst>
    <p:handoutMasterId r:id="rId20"/>
  </p:handoutMasterIdLst>
  <p:sldIdLst>
    <p:sldId id="257" r:id="rId6"/>
    <p:sldId id="280" r:id="rId7"/>
    <p:sldId id="372" r:id="rId8"/>
    <p:sldId id="553" r:id="rId9"/>
    <p:sldId id="373" r:id="rId10"/>
    <p:sldId id="374" r:id="rId11"/>
    <p:sldId id="375" r:id="rId12"/>
    <p:sldId id="376" r:id="rId13"/>
    <p:sldId id="377" r:id="rId14"/>
    <p:sldId id="378" r:id="rId15"/>
    <p:sldId id="554" r:id="rId16"/>
    <p:sldId id="555" r:id="rId17"/>
    <p:sldId id="338" r:id="rId18"/>
  </p:sldIdLst>
  <p:sldSz cx="9144000" cy="6858000" type="screen4x3"/>
  <p:notesSz cx="7010400" cy="9296400"/>
  <p:defaultTextStyle>
    <a:defPPr>
      <a:defRPr lang="en-US"/>
    </a:defPPr>
    <a:lvl1pPr algn="l" rtl="0" eaLnBrk="0" fontAlgn="base" hangingPunct="0">
      <a:spcBef>
        <a:spcPct val="0"/>
      </a:spcBef>
      <a:spcAft>
        <a:spcPct val="0"/>
      </a:spcAft>
      <a:defRPr kern="1200">
        <a:solidFill>
          <a:schemeClr val="tx1"/>
        </a:solidFill>
        <a:latin typeface="Calibri" pitchFamily="34" charset="0"/>
        <a:ea typeface="+mn-ea"/>
        <a:cs typeface="Arial" pitchFamily="34" charset="0"/>
      </a:defRPr>
    </a:lvl1pPr>
    <a:lvl2pPr marL="4572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2pPr>
    <a:lvl3pPr marL="9144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3pPr>
    <a:lvl4pPr marL="13716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4pPr>
    <a:lvl5pPr marL="1828800" algn="l" rtl="0" eaLnBrk="0" fontAlgn="base" hangingPunct="0">
      <a:spcBef>
        <a:spcPct val="0"/>
      </a:spcBef>
      <a:spcAft>
        <a:spcPct val="0"/>
      </a:spcAft>
      <a:defRPr kern="1200">
        <a:solidFill>
          <a:schemeClr val="tx1"/>
        </a:solidFill>
        <a:latin typeface="Calibri" pitchFamily="34" charset="0"/>
        <a:ea typeface="+mn-ea"/>
        <a:cs typeface="Arial" pitchFamily="34" charset="0"/>
      </a:defRPr>
    </a:lvl5pPr>
    <a:lvl6pPr marL="2286000" algn="l" defTabSz="914400" rtl="0" eaLnBrk="1" latinLnBrk="0" hangingPunct="1">
      <a:defRPr kern="1200">
        <a:solidFill>
          <a:schemeClr val="tx1"/>
        </a:solidFill>
        <a:latin typeface="Calibri" pitchFamily="34" charset="0"/>
        <a:ea typeface="+mn-ea"/>
        <a:cs typeface="Arial" pitchFamily="34" charset="0"/>
      </a:defRPr>
    </a:lvl6pPr>
    <a:lvl7pPr marL="2743200" algn="l" defTabSz="914400" rtl="0" eaLnBrk="1" latinLnBrk="0" hangingPunct="1">
      <a:defRPr kern="1200">
        <a:solidFill>
          <a:schemeClr val="tx1"/>
        </a:solidFill>
        <a:latin typeface="Calibri" pitchFamily="34" charset="0"/>
        <a:ea typeface="+mn-ea"/>
        <a:cs typeface="Arial" pitchFamily="34" charset="0"/>
      </a:defRPr>
    </a:lvl7pPr>
    <a:lvl8pPr marL="3200400" algn="l" defTabSz="914400" rtl="0" eaLnBrk="1" latinLnBrk="0" hangingPunct="1">
      <a:defRPr kern="1200">
        <a:solidFill>
          <a:schemeClr val="tx1"/>
        </a:solidFill>
        <a:latin typeface="Calibri" pitchFamily="34" charset="0"/>
        <a:ea typeface="+mn-ea"/>
        <a:cs typeface="Arial" pitchFamily="34" charset="0"/>
      </a:defRPr>
    </a:lvl8pPr>
    <a:lvl9pPr marL="3657600" algn="l" defTabSz="914400" rtl="0" eaLnBrk="1" latinLnBrk="0" hangingPunct="1">
      <a:defRPr kern="1200">
        <a:solidFill>
          <a:schemeClr val="tx1"/>
        </a:solidFill>
        <a:latin typeface="Calibri" pitchFamily="34" charset="0"/>
        <a:ea typeface="+mn-ea"/>
        <a:cs typeface="Arial"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00"/>
    <a:srgbClr val="3366FF"/>
    <a:srgbClr val="4BACC6"/>
    <a:srgbClr val="00CCFF"/>
    <a:srgbClr val="29425F"/>
    <a:srgbClr val="00FF00"/>
    <a:srgbClr val="9900FF"/>
    <a:srgbClr val="FAFA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horzBarState="maximized">
    <p:restoredLeft sz="15224" autoAdjust="0"/>
    <p:restoredTop sz="96357" autoAdjust="0"/>
  </p:normalViewPr>
  <p:slideViewPr>
    <p:cSldViewPr>
      <p:cViewPr varScale="1">
        <p:scale>
          <a:sx n="67" d="100"/>
          <a:sy n="67" d="100"/>
        </p:scale>
        <p:origin x="556" y="32"/>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diagrams/_rels/data1.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png"/><Relationship Id="rId3" Type="http://schemas.openxmlformats.org/officeDocument/2006/relationships/image" Target="../media/image22.jpg"/><Relationship Id="rId7" Type="http://schemas.openxmlformats.org/officeDocument/2006/relationships/image" Target="../media/image26.png"/><Relationship Id="rId12" Type="http://schemas.openxmlformats.org/officeDocument/2006/relationships/image" Target="../media/image31.png"/><Relationship Id="rId2" Type="http://schemas.openxmlformats.org/officeDocument/2006/relationships/image" Target="../media/image21.png"/><Relationship Id="rId1" Type="http://schemas.openxmlformats.org/officeDocument/2006/relationships/image" Target="../media/image20.jpeg"/><Relationship Id="rId6" Type="http://schemas.openxmlformats.org/officeDocument/2006/relationships/image" Target="../media/image25.png"/><Relationship Id="rId11" Type="http://schemas.openxmlformats.org/officeDocument/2006/relationships/image" Target="../media/image30.png"/><Relationship Id="rId5" Type="http://schemas.openxmlformats.org/officeDocument/2006/relationships/image" Target="../media/image24.jpg"/><Relationship Id="rId15" Type="http://schemas.openxmlformats.org/officeDocument/2006/relationships/image" Target="../media/image34.png"/><Relationship Id="rId10" Type="http://schemas.openxmlformats.org/officeDocument/2006/relationships/image" Target="../media/image29.png"/><Relationship Id="rId4" Type="http://schemas.openxmlformats.org/officeDocument/2006/relationships/image" Target="../media/image23.jpeg"/><Relationship Id="rId9" Type="http://schemas.openxmlformats.org/officeDocument/2006/relationships/image" Target="../media/image28.png"/><Relationship Id="rId14" Type="http://schemas.openxmlformats.org/officeDocument/2006/relationships/image" Target="../media/image33.png"/></Relationships>
</file>

<file path=ppt/diagrams/_rels/drawing1.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png"/><Relationship Id="rId3" Type="http://schemas.openxmlformats.org/officeDocument/2006/relationships/image" Target="../media/image22.jpg"/><Relationship Id="rId7" Type="http://schemas.openxmlformats.org/officeDocument/2006/relationships/image" Target="../media/image26.png"/><Relationship Id="rId12" Type="http://schemas.openxmlformats.org/officeDocument/2006/relationships/image" Target="../media/image31.png"/><Relationship Id="rId2" Type="http://schemas.openxmlformats.org/officeDocument/2006/relationships/image" Target="../media/image21.png"/><Relationship Id="rId1" Type="http://schemas.openxmlformats.org/officeDocument/2006/relationships/image" Target="../media/image20.jpeg"/><Relationship Id="rId6" Type="http://schemas.openxmlformats.org/officeDocument/2006/relationships/image" Target="../media/image25.png"/><Relationship Id="rId11" Type="http://schemas.openxmlformats.org/officeDocument/2006/relationships/image" Target="../media/image30.png"/><Relationship Id="rId5" Type="http://schemas.openxmlformats.org/officeDocument/2006/relationships/image" Target="../media/image24.jpg"/><Relationship Id="rId15" Type="http://schemas.openxmlformats.org/officeDocument/2006/relationships/image" Target="../media/image34.png"/><Relationship Id="rId10" Type="http://schemas.openxmlformats.org/officeDocument/2006/relationships/image" Target="../media/image29.png"/><Relationship Id="rId4" Type="http://schemas.openxmlformats.org/officeDocument/2006/relationships/image" Target="../media/image23.jpeg"/><Relationship Id="rId9" Type="http://schemas.openxmlformats.org/officeDocument/2006/relationships/image" Target="../media/image28.png"/><Relationship Id="rId14" Type="http://schemas.openxmlformats.org/officeDocument/2006/relationships/image" Target="../media/image33.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E6EF6E4-5DA9-40CD-91D8-597B61B8383F}" type="doc">
      <dgm:prSet loTypeId="urn:microsoft.com/office/officeart/2008/layout/PictureStrips" loCatId="list" qsTypeId="urn:microsoft.com/office/officeart/2005/8/quickstyle/simple1" qsCatId="simple" csTypeId="urn:microsoft.com/office/officeart/2005/8/colors/accent1_2" csCatId="accent1" phldr="1"/>
      <dgm:spPr/>
      <dgm:t>
        <a:bodyPr/>
        <a:lstStyle/>
        <a:p>
          <a:endParaRPr lang="es-CL"/>
        </a:p>
      </dgm:t>
    </dgm:pt>
    <dgm:pt modelId="{2A0311A7-B0A0-4052-B7B3-FC3E9D96C411}">
      <dgm:prSet phldrT="[Texto]"/>
      <dgm:spPr/>
      <dgm:t>
        <a:bodyPr/>
        <a:lstStyle/>
        <a:p>
          <a:r>
            <a:rPr lang="es-CL" dirty="0"/>
            <a:t>Comisión Nacional de los Mercados y la Competencia (CNMC) - España</a:t>
          </a:r>
        </a:p>
      </dgm:t>
    </dgm:pt>
    <dgm:pt modelId="{DDE4EAE2-63D9-443D-86A3-A87A52537ED8}" type="parTrans" cxnId="{BAE3DF18-B4DE-4CEB-9817-A13F8FEF63AF}">
      <dgm:prSet/>
      <dgm:spPr/>
      <dgm:t>
        <a:bodyPr/>
        <a:lstStyle/>
        <a:p>
          <a:endParaRPr lang="es-CL"/>
        </a:p>
      </dgm:t>
    </dgm:pt>
    <dgm:pt modelId="{FC459060-AFDF-49B4-8E9B-5E8FEA09A1A1}" type="sibTrans" cxnId="{BAE3DF18-B4DE-4CEB-9817-A13F8FEF63AF}">
      <dgm:prSet/>
      <dgm:spPr/>
      <dgm:t>
        <a:bodyPr/>
        <a:lstStyle/>
        <a:p>
          <a:endParaRPr lang="es-CL"/>
        </a:p>
      </dgm:t>
    </dgm:pt>
    <dgm:pt modelId="{10117374-5EF8-4B66-AB64-D3F5C1319645}">
      <dgm:prSet/>
      <dgm:spPr/>
      <dgm:t>
        <a:bodyPr/>
        <a:lstStyle/>
        <a:p>
          <a:r>
            <a:rPr lang="es-CL" dirty="0"/>
            <a:t>Comisión Reguladora de Energía  (CRE) – México</a:t>
          </a:r>
        </a:p>
      </dgm:t>
    </dgm:pt>
    <dgm:pt modelId="{27CD91E7-4714-45E6-899C-84437E2929F3}" type="parTrans" cxnId="{A904CB1F-E801-442B-BD47-395256661062}">
      <dgm:prSet/>
      <dgm:spPr/>
      <dgm:t>
        <a:bodyPr/>
        <a:lstStyle/>
        <a:p>
          <a:endParaRPr lang="es-CL"/>
        </a:p>
      </dgm:t>
    </dgm:pt>
    <dgm:pt modelId="{E98539D4-2067-46E5-BF2D-CCC3F2746E7C}" type="sibTrans" cxnId="{A904CB1F-E801-442B-BD47-395256661062}">
      <dgm:prSet/>
      <dgm:spPr/>
      <dgm:t>
        <a:bodyPr/>
        <a:lstStyle/>
        <a:p>
          <a:endParaRPr lang="es-CL"/>
        </a:p>
      </dgm:t>
    </dgm:pt>
    <dgm:pt modelId="{2CAD0D55-D585-4D14-ADB5-B743FB98A574}">
      <dgm:prSet/>
      <dgm:spPr/>
      <dgm:t>
        <a:bodyPr/>
        <a:lstStyle/>
        <a:p>
          <a:r>
            <a:rPr lang="es-CL" dirty="0"/>
            <a:t>Organismo Supervisor de Inversión en Energía y Minería (OSINERGMIN) – Perú</a:t>
          </a:r>
        </a:p>
      </dgm:t>
    </dgm:pt>
    <dgm:pt modelId="{B50D9DEE-B446-4AE3-9121-4586AA82767A}" type="parTrans" cxnId="{79ABEA49-4152-4E06-B4A6-EB6FC285A440}">
      <dgm:prSet/>
      <dgm:spPr/>
      <dgm:t>
        <a:bodyPr/>
        <a:lstStyle/>
        <a:p>
          <a:endParaRPr lang="es-CL"/>
        </a:p>
      </dgm:t>
    </dgm:pt>
    <dgm:pt modelId="{E85454C2-E26D-4361-B2C9-EB751161C4EF}" type="sibTrans" cxnId="{79ABEA49-4152-4E06-B4A6-EB6FC285A440}">
      <dgm:prSet/>
      <dgm:spPr/>
      <dgm:t>
        <a:bodyPr/>
        <a:lstStyle/>
        <a:p>
          <a:endParaRPr lang="es-CL"/>
        </a:p>
      </dgm:t>
    </dgm:pt>
    <dgm:pt modelId="{D87BF840-1362-469E-9EED-45B3F043799F}">
      <dgm:prSet/>
      <dgm:spPr/>
      <dgm:t>
        <a:bodyPr/>
        <a:lstStyle/>
        <a:p>
          <a:r>
            <a:rPr lang="es-CL" dirty="0"/>
            <a:t>Superintendencia de Electricidad (SIE) – Republica Dominicana</a:t>
          </a:r>
        </a:p>
      </dgm:t>
    </dgm:pt>
    <dgm:pt modelId="{A03D0754-5A0B-4E56-AF3B-6F497439A264}" type="parTrans" cxnId="{11E216B5-C5CE-4CCD-A425-514DD37CF651}">
      <dgm:prSet/>
      <dgm:spPr/>
      <dgm:t>
        <a:bodyPr/>
        <a:lstStyle/>
        <a:p>
          <a:endParaRPr lang="es-CL"/>
        </a:p>
      </dgm:t>
    </dgm:pt>
    <dgm:pt modelId="{2C310E61-E2B7-4773-84DF-F873EB61369E}" type="sibTrans" cxnId="{11E216B5-C5CE-4CCD-A425-514DD37CF651}">
      <dgm:prSet/>
      <dgm:spPr/>
      <dgm:t>
        <a:bodyPr/>
        <a:lstStyle/>
        <a:p>
          <a:endParaRPr lang="es-CL"/>
        </a:p>
      </dgm:t>
    </dgm:pt>
    <dgm:pt modelId="{F9B1B51D-D58D-4999-A646-6782B3D55DE1}">
      <dgm:prSet/>
      <dgm:spPr/>
      <dgm:t>
        <a:bodyPr/>
        <a:lstStyle/>
        <a:p>
          <a:r>
            <a:rPr lang="es-CL" dirty="0"/>
            <a:t>Autoridad Nacional de los Servicios Públicos (ASEP) – Panamá</a:t>
          </a:r>
        </a:p>
      </dgm:t>
    </dgm:pt>
    <dgm:pt modelId="{274C1477-BB1E-4F12-8778-577A38BC756D}" type="parTrans" cxnId="{7EEB5406-F953-4D98-8A1D-769E40E4DA9B}">
      <dgm:prSet/>
      <dgm:spPr/>
      <dgm:t>
        <a:bodyPr/>
        <a:lstStyle/>
        <a:p>
          <a:endParaRPr lang="es-CL"/>
        </a:p>
      </dgm:t>
    </dgm:pt>
    <dgm:pt modelId="{27F66B9C-F542-442D-A5B0-7A2AB73BE2F5}" type="sibTrans" cxnId="{7EEB5406-F953-4D98-8A1D-769E40E4DA9B}">
      <dgm:prSet/>
      <dgm:spPr/>
      <dgm:t>
        <a:bodyPr/>
        <a:lstStyle/>
        <a:p>
          <a:endParaRPr lang="es-CL"/>
        </a:p>
      </dgm:t>
    </dgm:pt>
    <dgm:pt modelId="{E3FED7DF-9BA7-49F1-8E4A-B4F479C2F499}">
      <dgm:prSet/>
      <dgm:spPr/>
      <dgm:t>
        <a:bodyPr/>
        <a:lstStyle/>
        <a:p>
          <a:r>
            <a:rPr lang="es-CL" dirty="0"/>
            <a:t>Autoridad de Fiscalización y Control Social de Electricidad (AE) – Bolivia.</a:t>
          </a:r>
        </a:p>
      </dgm:t>
    </dgm:pt>
    <dgm:pt modelId="{8941F601-3FE5-40F3-A48B-BAB2220B892A}" type="parTrans" cxnId="{72722BDB-97DC-4051-A362-103044C80C8F}">
      <dgm:prSet/>
      <dgm:spPr/>
      <dgm:t>
        <a:bodyPr/>
        <a:lstStyle/>
        <a:p>
          <a:endParaRPr lang="es-CL"/>
        </a:p>
      </dgm:t>
    </dgm:pt>
    <dgm:pt modelId="{97995F6E-E2AF-46A0-A78D-11316028FBA5}" type="sibTrans" cxnId="{72722BDB-97DC-4051-A362-103044C80C8F}">
      <dgm:prSet/>
      <dgm:spPr/>
      <dgm:t>
        <a:bodyPr/>
        <a:lstStyle/>
        <a:p>
          <a:endParaRPr lang="es-CL"/>
        </a:p>
      </dgm:t>
    </dgm:pt>
    <dgm:pt modelId="{4ED1D268-B5C6-4D84-B78A-D382B33A5BD7}">
      <dgm:prSet/>
      <dgm:spPr/>
      <dgm:t>
        <a:bodyPr/>
        <a:lstStyle/>
        <a:p>
          <a:r>
            <a:rPr lang="es-CL" dirty="0"/>
            <a:t>Comisión Nacional de Energía (CNE) – Chile</a:t>
          </a:r>
        </a:p>
      </dgm:t>
    </dgm:pt>
    <dgm:pt modelId="{7CE81F73-08F2-4BD7-91CD-4810CDFFFC7F}" type="parTrans" cxnId="{940EDA45-6271-4991-88CC-27141A4C1906}">
      <dgm:prSet/>
      <dgm:spPr/>
      <dgm:t>
        <a:bodyPr/>
        <a:lstStyle/>
        <a:p>
          <a:endParaRPr lang="es-CL"/>
        </a:p>
      </dgm:t>
    </dgm:pt>
    <dgm:pt modelId="{9AFB6FC7-548D-405D-91EF-810A6711AFF8}" type="sibTrans" cxnId="{940EDA45-6271-4991-88CC-27141A4C1906}">
      <dgm:prSet/>
      <dgm:spPr/>
      <dgm:t>
        <a:bodyPr/>
        <a:lstStyle/>
        <a:p>
          <a:endParaRPr lang="es-CL"/>
        </a:p>
      </dgm:t>
    </dgm:pt>
    <dgm:pt modelId="{3783461A-7BE6-487F-80E5-B8FBCCDA8C72}">
      <dgm:prSet/>
      <dgm:spPr/>
      <dgm:t>
        <a:bodyPr/>
        <a:lstStyle/>
        <a:p>
          <a:r>
            <a:rPr lang="es-CL" dirty="0"/>
            <a:t>Comisión Nacional de Energía Eléctrica (CNEE) – Guatemala</a:t>
          </a:r>
        </a:p>
      </dgm:t>
    </dgm:pt>
    <dgm:pt modelId="{D307A78B-D109-4F34-B213-3E7DC529B3B0}" type="parTrans" cxnId="{BAB113AE-5815-4CDB-ACC0-CC7AA84F90BD}">
      <dgm:prSet/>
      <dgm:spPr/>
      <dgm:t>
        <a:bodyPr/>
        <a:lstStyle/>
        <a:p>
          <a:endParaRPr lang="es-CL"/>
        </a:p>
      </dgm:t>
    </dgm:pt>
    <dgm:pt modelId="{C1C06C5A-C3DD-4687-845F-39786C6F5FCD}" type="sibTrans" cxnId="{BAB113AE-5815-4CDB-ACC0-CC7AA84F90BD}">
      <dgm:prSet/>
      <dgm:spPr/>
      <dgm:t>
        <a:bodyPr/>
        <a:lstStyle/>
        <a:p>
          <a:endParaRPr lang="es-CL"/>
        </a:p>
      </dgm:t>
    </dgm:pt>
    <dgm:pt modelId="{05F93C5E-1217-4D89-B002-960EB1C12FB6}">
      <dgm:prSet/>
      <dgm:spPr/>
      <dgm:t>
        <a:bodyPr/>
        <a:lstStyle/>
        <a:p>
          <a:r>
            <a:rPr lang="es-CL" dirty="0"/>
            <a:t>Entidad reguladora dos </a:t>
          </a:r>
          <a:r>
            <a:rPr lang="es-CL" dirty="0" err="1"/>
            <a:t>Servicos</a:t>
          </a:r>
          <a:r>
            <a:rPr lang="es-CL" dirty="0"/>
            <a:t> </a:t>
          </a:r>
          <a:r>
            <a:rPr lang="es-CL" dirty="0" err="1"/>
            <a:t>Energeticos</a:t>
          </a:r>
          <a:r>
            <a:rPr lang="es-CL" dirty="0"/>
            <a:t> (ERSE) – Portugal</a:t>
          </a:r>
        </a:p>
      </dgm:t>
    </dgm:pt>
    <dgm:pt modelId="{491139F5-CEB0-4EF5-8DB1-AF5EEC6B9E58}" type="parTrans" cxnId="{19F75FDC-707F-4671-9EBB-589BD9DAC5D6}">
      <dgm:prSet/>
      <dgm:spPr/>
      <dgm:t>
        <a:bodyPr/>
        <a:lstStyle/>
        <a:p>
          <a:endParaRPr lang="es-CL"/>
        </a:p>
      </dgm:t>
    </dgm:pt>
    <dgm:pt modelId="{F6706313-0E4C-409D-A2CB-B1C23D1F18BA}" type="sibTrans" cxnId="{19F75FDC-707F-4671-9EBB-589BD9DAC5D6}">
      <dgm:prSet/>
      <dgm:spPr/>
      <dgm:t>
        <a:bodyPr/>
        <a:lstStyle/>
        <a:p>
          <a:endParaRPr lang="es-CL"/>
        </a:p>
      </dgm:t>
    </dgm:pt>
    <dgm:pt modelId="{A6161E57-E50B-4065-9707-337CAB0E1F99}">
      <dgm:prSet/>
      <dgm:spPr/>
      <dgm:t>
        <a:bodyPr/>
        <a:lstStyle/>
        <a:p>
          <a:r>
            <a:rPr lang="es-CL" dirty="0"/>
            <a:t>Ente Regulador Nacional de Gas (ENARGAS) – Argentina</a:t>
          </a:r>
        </a:p>
      </dgm:t>
    </dgm:pt>
    <dgm:pt modelId="{AF52F5E7-7E63-4EF3-B33B-B7A98E98D064}" type="parTrans" cxnId="{B4EAFA50-2A10-4FEE-98F2-E418935999F4}">
      <dgm:prSet/>
      <dgm:spPr/>
      <dgm:t>
        <a:bodyPr/>
        <a:lstStyle/>
        <a:p>
          <a:endParaRPr lang="es-CL"/>
        </a:p>
      </dgm:t>
    </dgm:pt>
    <dgm:pt modelId="{CEA97FF3-8D6E-4C2A-8AC5-19FB56AD5A6F}" type="sibTrans" cxnId="{B4EAFA50-2A10-4FEE-98F2-E418935999F4}">
      <dgm:prSet/>
      <dgm:spPr/>
      <dgm:t>
        <a:bodyPr/>
        <a:lstStyle/>
        <a:p>
          <a:endParaRPr lang="es-CL"/>
        </a:p>
      </dgm:t>
    </dgm:pt>
    <dgm:pt modelId="{041209E5-BAAE-4FD9-889F-74EDA408B978}">
      <dgm:prSet/>
      <dgm:spPr/>
      <dgm:t>
        <a:bodyPr/>
        <a:lstStyle/>
        <a:p>
          <a:r>
            <a:rPr lang="pt-BR" dirty="0"/>
            <a:t>Agência Nacional do Petróleo, Gás Natural e Biocombustíveis (ANP) – Brasil</a:t>
          </a:r>
          <a:endParaRPr lang="es-CL" dirty="0"/>
        </a:p>
      </dgm:t>
    </dgm:pt>
    <dgm:pt modelId="{35746635-7656-4A98-9E1A-49FF386F5184}" type="parTrans" cxnId="{ADC31494-2C6C-4F49-80A0-A420C9AAD786}">
      <dgm:prSet/>
      <dgm:spPr/>
      <dgm:t>
        <a:bodyPr/>
        <a:lstStyle/>
        <a:p>
          <a:endParaRPr lang="es-CL"/>
        </a:p>
      </dgm:t>
    </dgm:pt>
    <dgm:pt modelId="{F91AC76C-9A76-4F6B-B7ED-3B0DBD0E726D}" type="sibTrans" cxnId="{ADC31494-2C6C-4F49-80A0-A420C9AAD786}">
      <dgm:prSet/>
      <dgm:spPr/>
      <dgm:t>
        <a:bodyPr/>
        <a:lstStyle/>
        <a:p>
          <a:endParaRPr lang="es-CL"/>
        </a:p>
      </dgm:t>
    </dgm:pt>
    <dgm:pt modelId="{CFC80FB8-4F60-424A-8C1C-393B509FBE89}">
      <dgm:prSet/>
      <dgm:spPr/>
      <dgm:t>
        <a:bodyPr/>
        <a:lstStyle/>
        <a:p>
          <a:r>
            <a:rPr lang="es-CL" dirty="0"/>
            <a:t>Comisión de Regulación de Energía y Gas ( </a:t>
          </a:r>
          <a:r>
            <a:rPr lang="es-CL" dirty="0" err="1"/>
            <a:t>creg</a:t>
          </a:r>
          <a:r>
            <a:rPr lang="es-CL" dirty="0"/>
            <a:t>) – Colombia</a:t>
          </a:r>
        </a:p>
      </dgm:t>
    </dgm:pt>
    <dgm:pt modelId="{581CE978-F4AA-4B36-B267-26E140160F2E}" type="parTrans" cxnId="{DD4480D1-EC16-428D-A95B-98036FD326C6}">
      <dgm:prSet/>
      <dgm:spPr/>
      <dgm:t>
        <a:bodyPr/>
        <a:lstStyle/>
        <a:p>
          <a:endParaRPr lang="es-CL"/>
        </a:p>
      </dgm:t>
    </dgm:pt>
    <dgm:pt modelId="{A90D5600-60F3-401F-9EB2-D9C550929AC0}" type="sibTrans" cxnId="{DD4480D1-EC16-428D-A95B-98036FD326C6}">
      <dgm:prSet/>
      <dgm:spPr/>
      <dgm:t>
        <a:bodyPr/>
        <a:lstStyle/>
        <a:p>
          <a:endParaRPr lang="es-CL"/>
        </a:p>
      </dgm:t>
    </dgm:pt>
    <dgm:pt modelId="{938C2283-ACE6-4FDF-A2CF-4EE4B7ED10EB}">
      <dgm:prSet/>
      <dgm:spPr/>
      <dgm:t>
        <a:bodyPr/>
        <a:lstStyle/>
        <a:p>
          <a:r>
            <a:rPr lang="es-CL" b="0" i="0" u="none" dirty="0"/>
            <a:t>Comisión de Energía de Puerto Rico</a:t>
          </a:r>
          <a:endParaRPr lang="es-CL" dirty="0"/>
        </a:p>
      </dgm:t>
    </dgm:pt>
    <dgm:pt modelId="{AA42A4D6-BD58-4E82-A54D-AECA9FE9D956}" type="parTrans" cxnId="{E42C7A5D-D60B-431D-834D-437CAD93916C}">
      <dgm:prSet/>
      <dgm:spPr/>
      <dgm:t>
        <a:bodyPr/>
        <a:lstStyle/>
        <a:p>
          <a:endParaRPr lang="es-CL"/>
        </a:p>
      </dgm:t>
    </dgm:pt>
    <dgm:pt modelId="{A1283105-EFF2-4E2E-9706-1EAB83B30903}" type="sibTrans" cxnId="{E42C7A5D-D60B-431D-834D-437CAD93916C}">
      <dgm:prSet/>
      <dgm:spPr/>
      <dgm:t>
        <a:bodyPr/>
        <a:lstStyle/>
        <a:p>
          <a:endParaRPr lang="es-CL"/>
        </a:p>
      </dgm:t>
    </dgm:pt>
    <dgm:pt modelId="{2C506B36-286A-453D-8983-817D1D7BA6CA}">
      <dgm:prSet/>
      <dgm:spPr/>
      <dgm:t>
        <a:bodyPr/>
        <a:lstStyle/>
        <a:p>
          <a:r>
            <a:rPr lang="es-CL" b="0" i="0" u="none" dirty="0"/>
            <a:t>Unidad Reguladora de Servicios de Energía y Agua (URSEA) – Uruguay</a:t>
          </a:r>
          <a:endParaRPr lang="es-CL" dirty="0"/>
        </a:p>
      </dgm:t>
    </dgm:pt>
    <dgm:pt modelId="{60ADD8E6-AADB-4689-8087-6E64EEEDB1FE}" type="parTrans" cxnId="{CE6DC368-AC53-45B7-A053-0B50C1BDBC4E}">
      <dgm:prSet/>
      <dgm:spPr/>
      <dgm:t>
        <a:bodyPr/>
        <a:lstStyle/>
        <a:p>
          <a:endParaRPr lang="es-CL"/>
        </a:p>
      </dgm:t>
    </dgm:pt>
    <dgm:pt modelId="{AA68A8A4-4ADF-4FD7-9F64-69EB25BCE8C5}" type="sibTrans" cxnId="{CE6DC368-AC53-45B7-A053-0B50C1BDBC4E}">
      <dgm:prSet/>
      <dgm:spPr/>
      <dgm:t>
        <a:bodyPr/>
        <a:lstStyle/>
        <a:p>
          <a:endParaRPr lang="es-CL"/>
        </a:p>
      </dgm:t>
    </dgm:pt>
    <dgm:pt modelId="{62B46E15-A42C-44C5-BDB3-0FD7430E25C6}">
      <dgm:prSet/>
      <dgm:spPr/>
      <dgm:t>
        <a:bodyPr/>
        <a:lstStyle/>
        <a:p>
          <a:r>
            <a:rPr lang="es-CL" b="0" i="0" u="none" dirty="0"/>
            <a:t>Autoridad Reguladora de los Servicios Públicos (ARESEP) – Costa Rica</a:t>
          </a:r>
          <a:endParaRPr lang="es-CL" dirty="0"/>
        </a:p>
      </dgm:t>
    </dgm:pt>
    <dgm:pt modelId="{AA54F876-4F89-442F-9093-9351FEEBDFCC}" type="parTrans" cxnId="{A21F103A-A431-4CCD-BCAA-5B778E71C3BE}">
      <dgm:prSet/>
      <dgm:spPr/>
      <dgm:t>
        <a:bodyPr/>
        <a:lstStyle/>
        <a:p>
          <a:endParaRPr lang="es-CL"/>
        </a:p>
      </dgm:t>
    </dgm:pt>
    <dgm:pt modelId="{CD04C893-7D7B-4500-A014-5C669CDE762A}" type="sibTrans" cxnId="{A21F103A-A431-4CCD-BCAA-5B778E71C3BE}">
      <dgm:prSet/>
      <dgm:spPr/>
      <dgm:t>
        <a:bodyPr/>
        <a:lstStyle/>
        <a:p>
          <a:endParaRPr lang="es-CL"/>
        </a:p>
      </dgm:t>
    </dgm:pt>
    <dgm:pt modelId="{E9486B04-217D-4041-9529-5A0B8653BEB8}" type="pres">
      <dgm:prSet presAssocID="{1E6EF6E4-5DA9-40CD-91D8-597B61B8383F}" presName="Name0" presStyleCnt="0">
        <dgm:presLayoutVars>
          <dgm:dir/>
          <dgm:resizeHandles val="exact"/>
        </dgm:presLayoutVars>
      </dgm:prSet>
      <dgm:spPr/>
    </dgm:pt>
    <dgm:pt modelId="{AF5EFD04-1F78-41DC-9366-9862C62B3490}" type="pres">
      <dgm:prSet presAssocID="{2A0311A7-B0A0-4052-B7B3-FC3E9D96C411}" presName="composite" presStyleCnt="0"/>
      <dgm:spPr/>
    </dgm:pt>
    <dgm:pt modelId="{2831E1C3-D0BB-4406-9C3D-1BCBA77F4715}" type="pres">
      <dgm:prSet presAssocID="{2A0311A7-B0A0-4052-B7B3-FC3E9D96C411}" presName="rect1" presStyleLbl="trAlignAcc1" presStyleIdx="0" presStyleCnt="15">
        <dgm:presLayoutVars>
          <dgm:bulletEnabled val="1"/>
        </dgm:presLayoutVars>
      </dgm:prSet>
      <dgm:spPr/>
    </dgm:pt>
    <dgm:pt modelId="{B36D6CCC-2BCE-4FEC-8AEB-62F41E554262}" type="pres">
      <dgm:prSet presAssocID="{2A0311A7-B0A0-4052-B7B3-FC3E9D96C411}" presName="rect2" presStyleLbl="fgImgPlace1" presStyleIdx="0" presStyleCnt="15"/>
      <dgm:spPr>
        <a:blipFill dpi="0" rotWithShape="1">
          <a:blip xmlns:r="http://schemas.openxmlformats.org/officeDocument/2006/relationships" r:embed="rId1" cstate="print">
            <a:extLst>
              <a:ext uri="{28A0092B-C50C-407E-A947-70E740481C1C}">
                <a14:useLocalDpi xmlns:a14="http://schemas.microsoft.com/office/drawing/2010/main" val="0"/>
              </a:ext>
            </a:extLst>
          </a:blip>
          <a:srcRect/>
          <a:stretch>
            <a:fillRect t="23307" b="23307"/>
          </a:stretch>
        </a:blipFill>
      </dgm:spPr>
    </dgm:pt>
    <dgm:pt modelId="{04378490-BD37-4079-B4D4-412A8E021E26}" type="pres">
      <dgm:prSet presAssocID="{FC459060-AFDF-49B4-8E9B-5E8FEA09A1A1}" presName="sibTrans" presStyleCnt="0"/>
      <dgm:spPr/>
    </dgm:pt>
    <dgm:pt modelId="{052C631C-B0FE-4CB0-8DFF-C2F6A24328A3}" type="pres">
      <dgm:prSet presAssocID="{10117374-5EF8-4B66-AB64-D3F5C1319645}" presName="composite" presStyleCnt="0"/>
      <dgm:spPr/>
    </dgm:pt>
    <dgm:pt modelId="{E0BAAED4-DC57-4A07-8C28-4ED928DC4456}" type="pres">
      <dgm:prSet presAssocID="{10117374-5EF8-4B66-AB64-D3F5C1319645}" presName="rect1" presStyleLbl="trAlignAcc1" presStyleIdx="1" presStyleCnt="15">
        <dgm:presLayoutVars>
          <dgm:bulletEnabled val="1"/>
        </dgm:presLayoutVars>
      </dgm:prSet>
      <dgm:spPr/>
    </dgm:pt>
    <dgm:pt modelId="{004B8966-AFA0-4439-909C-C1ECF0A54C4E}" type="pres">
      <dgm:prSet presAssocID="{10117374-5EF8-4B66-AB64-D3F5C1319645}" presName="rect2" presStyleLbl="fgImgPlace1" presStyleIdx="1" presStyleCnt="15"/>
      <dgm: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t="32359" b="32359"/>
          </a:stretch>
        </a:blipFill>
      </dgm:spPr>
    </dgm:pt>
    <dgm:pt modelId="{C9F46502-4EF6-47E2-8DF1-678FDF30E3F2}" type="pres">
      <dgm:prSet presAssocID="{E98539D4-2067-46E5-BF2D-CCC3F2746E7C}" presName="sibTrans" presStyleCnt="0"/>
      <dgm:spPr/>
    </dgm:pt>
    <dgm:pt modelId="{5CA19B59-524E-43E0-A7C5-D950E788CA22}" type="pres">
      <dgm:prSet presAssocID="{2CAD0D55-D585-4D14-ADB5-B743FB98A574}" presName="composite" presStyleCnt="0"/>
      <dgm:spPr/>
    </dgm:pt>
    <dgm:pt modelId="{DBBD62CB-10DC-48E9-8EB7-ABC1CA271F7E}" type="pres">
      <dgm:prSet presAssocID="{2CAD0D55-D585-4D14-ADB5-B743FB98A574}" presName="rect1" presStyleLbl="trAlignAcc1" presStyleIdx="2" presStyleCnt="15">
        <dgm:presLayoutVars>
          <dgm:bulletEnabled val="1"/>
        </dgm:presLayoutVars>
      </dgm:prSet>
      <dgm:spPr/>
    </dgm:pt>
    <dgm:pt modelId="{729F8CEF-38C1-45A6-997E-84D1BDF97C90}" type="pres">
      <dgm:prSet presAssocID="{2CAD0D55-D585-4D14-ADB5-B743FB98A574}" presName="rect2" presStyleLbl="fgImgPlace1" presStyleIdx="2" presStyleCnt="15" custScaleY="100836"/>
      <dgm: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t="19305" b="19305"/>
          </a:stretch>
        </a:blipFill>
      </dgm:spPr>
    </dgm:pt>
    <dgm:pt modelId="{3141F128-8332-44C2-B3DB-BA07DFADE183}" type="pres">
      <dgm:prSet presAssocID="{E85454C2-E26D-4361-B2C9-EB751161C4EF}" presName="sibTrans" presStyleCnt="0"/>
      <dgm:spPr/>
    </dgm:pt>
    <dgm:pt modelId="{BAD22DD0-AB78-4537-B01C-C60AB8073818}" type="pres">
      <dgm:prSet presAssocID="{D87BF840-1362-469E-9EED-45B3F043799F}" presName="composite" presStyleCnt="0"/>
      <dgm:spPr/>
    </dgm:pt>
    <dgm:pt modelId="{E72C562F-9BD1-4A50-B757-EECE4EDDC507}" type="pres">
      <dgm:prSet presAssocID="{D87BF840-1362-469E-9EED-45B3F043799F}" presName="rect1" presStyleLbl="trAlignAcc1" presStyleIdx="3" presStyleCnt="15">
        <dgm:presLayoutVars>
          <dgm:bulletEnabled val="1"/>
        </dgm:presLayoutVars>
      </dgm:prSet>
      <dgm:spPr/>
    </dgm:pt>
    <dgm:pt modelId="{3D309B02-A021-45F8-B8B2-31EE9C5B833B}" type="pres">
      <dgm:prSet presAssocID="{D87BF840-1362-469E-9EED-45B3F043799F}" presName="rect2" presStyleLbl="fgImgPlace1" presStyleIdx="3" presStyleCnt="15"/>
      <dgm:spPr>
        <a:blipFill dpi="0" rotWithShape="1">
          <a:blip xmlns:r="http://schemas.openxmlformats.org/officeDocument/2006/relationships" r:embed="rId4" cstate="print">
            <a:extLst>
              <a:ext uri="{28A0092B-C50C-407E-A947-70E740481C1C}">
                <a14:useLocalDpi xmlns:a14="http://schemas.microsoft.com/office/drawing/2010/main" val="0"/>
              </a:ext>
            </a:extLst>
          </a:blip>
          <a:srcRect/>
          <a:stretch>
            <a:fillRect t="32908" b="32908"/>
          </a:stretch>
        </a:blipFill>
      </dgm:spPr>
    </dgm:pt>
    <dgm:pt modelId="{6BE08809-74DF-4AC6-9C75-8551500CAB4C}" type="pres">
      <dgm:prSet presAssocID="{2C310E61-E2B7-4773-84DF-F873EB61369E}" presName="sibTrans" presStyleCnt="0"/>
      <dgm:spPr/>
    </dgm:pt>
    <dgm:pt modelId="{018A47A6-336E-46AD-8DA2-8A4BFF50C2E7}" type="pres">
      <dgm:prSet presAssocID="{F9B1B51D-D58D-4999-A646-6782B3D55DE1}" presName="composite" presStyleCnt="0"/>
      <dgm:spPr/>
    </dgm:pt>
    <dgm:pt modelId="{AFC5B81B-49C0-49DD-B43D-E13FF5723DFD}" type="pres">
      <dgm:prSet presAssocID="{F9B1B51D-D58D-4999-A646-6782B3D55DE1}" presName="rect1" presStyleLbl="trAlignAcc1" presStyleIdx="4" presStyleCnt="15">
        <dgm:presLayoutVars>
          <dgm:bulletEnabled val="1"/>
        </dgm:presLayoutVars>
      </dgm:prSet>
      <dgm:spPr/>
    </dgm:pt>
    <dgm:pt modelId="{0298A42B-6974-4413-824A-550F36ABBCC5}" type="pres">
      <dgm:prSet presAssocID="{F9B1B51D-D58D-4999-A646-6782B3D55DE1}" presName="rect2" presStyleLbl="fgImgPlace1" presStyleIdx="4" presStyleCnt="15"/>
      <dgm:spPr>
        <a:blipFill dpi="0" rotWithShape="1">
          <a:blip xmlns:r="http://schemas.openxmlformats.org/officeDocument/2006/relationships" r:embed="rId5">
            <a:extLst>
              <a:ext uri="{28A0092B-C50C-407E-A947-70E740481C1C}">
                <a14:useLocalDpi xmlns:a14="http://schemas.microsoft.com/office/drawing/2010/main" val="0"/>
              </a:ext>
            </a:extLst>
          </a:blip>
          <a:srcRect/>
          <a:stretch>
            <a:fillRect t="16667" b="16667"/>
          </a:stretch>
        </a:blipFill>
      </dgm:spPr>
    </dgm:pt>
    <dgm:pt modelId="{3F973D7D-FF3E-484D-B2C3-69E77A92D5C4}" type="pres">
      <dgm:prSet presAssocID="{27F66B9C-F542-442D-A5B0-7A2AB73BE2F5}" presName="sibTrans" presStyleCnt="0"/>
      <dgm:spPr/>
    </dgm:pt>
    <dgm:pt modelId="{729B8D0F-92FC-4BDD-B292-69F4840F3F47}" type="pres">
      <dgm:prSet presAssocID="{E3FED7DF-9BA7-49F1-8E4A-B4F479C2F499}" presName="composite" presStyleCnt="0"/>
      <dgm:spPr/>
    </dgm:pt>
    <dgm:pt modelId="{5CEE85D2-A01B-468E-B488-3A61B2117763}" type="pres">
      <dgm:prSet presAssocID="{E3FED7DF-9BA7-49F1-8E4A-B4F479C2F499}" presName="rect1" presStyleLbl="trAlignAcc1" presStyleIdx="5" presStyleCnt="15">
        <dgm:presLayoutVars>
          <dgm:bulletEnabled val="1"/>
        </dgm:presLayoutVars>
      </dgm:prSet>
      <dgm:spPr/>
    </dgm:pt>
    <dgm:pt modelId="{5DA78F21-9897-49AA-8E76-10DD89D2687D}" type="pres">
      <dgm:prSet presAssocID="{E3FED7DF-9BA7-49F1-8E4A-B4F479C2F499}" presName="rect2" presStyleLbl="fgImgPlace1" presStyleIdx="5" presStyleCnt="15"/>
      <dgm:spPr>
        <a:blipFill dpi="0" rotWithShape="1">
          <a:blip xmlns:r="http://schemas.openxmlformats.org/officeDocument/2006/relationships" r:embed="rId6" cstate="print">
            <a:extLst>
              <a:ext uri="{28A0092B-C50C-407E-A947-70E740481C1C}">
                <a14:useLocalDpi xmlns:a14="http://schemas.microsoft.com/office/drawing/2010/main" val="0"/>
              </a:ext>
            </a:extLst>
          </a:blip>
          <a:srcRect/>
          <a:stretch>
            <a:fillRect t="26470" b="26470"/>
          </a:stretch>
        </a:blipFill>
      </dgm:spPr>
    </dgm:pt>
    <dgm:pt modelId="{58989ED1-EF4B-4BD7-98E0-B12089A6EB85}" type="pres">
      <dgm:prSet presAssocID="{97995F6E-E2AF-46A0-A78D-11316028FBA5}" presName="sibTrans" presStyleCnt="0"/>
      <dgm:spPr/>
    </dgm:pt>
    <dgm:pt modelId="{8F75D1F9-30C3-428F-8D63-35972CE5CE0D}" type="pres">
      <dgm:prSet presAssocID="{4ED1D268-B5C6-4D84-B78A-D382B33A5BD7}" presName="composite" presStyleCnt="0"/>
      <dgm:spPr/>
    </dgm:pt>
    <dgm:pt modelId="{7ECCAEEB-1E32-410F-AD10-732DCCE7D8AD}" type="pres">
      <dgm:prSet presAssocID="{4ED1D268-B5C6-4D84-B78A-D382B33A5BD7}" presName="rect1" presStyleLbl="trAlignAcc1" presStyleIdx="6" presStyleCnt="15">
        <dgm:presLayoutVars>
          <dgm:bulletEnabled val="1"/>
        </dgm:presLayoutVars>
      </dgm:prSet>
      <dgm:spPr/>
    </dgm:pt>
    <dgm:pt modelId="{B63241A1-DF5A-4B2C-BBDA-35116999D21B}" type="pres">
      <dgm:prSet presAssocID="{4ED1D268-B5C6-4D84-B78A-D382B33A5BD7}" presName="rect2" presStyleLbl="fgImgPlace1" presStyleIdx="6" presStyleCnt="15"/>
      <dgm:spPr>
        <a:blipFill dpi="0" rotWithShape="1">
          <a:blip xmlns:r="http://schemas.openxmlformats.org/officeDocument/2006/relationships" r:embed="rId7" cstate="print">
            <a:extLst>
              <a:ext uri="{28A0092B-C50C-407E-A947-70E740481C1C}">
                <a14:useLocalDpi xmlns:a14="http://schemas.microsoft.com/office/drawing/2010/main" val="0"/>
              </a:ext>
            </a:extLst>
          </a:blip>
          <a:srcRect/>
          <a:stretch>
            <a:fillRect t="16667" b="16667"/>
          </a:stretch>
        </a:blipFill>
      </dgm:spPr>
    </dgm:pt>
    <dgm:pt modelId="{71D81FBF-DFFC-495E-A319-1ACDA5603EB6}" type="pres">
      <dgm:prSet presAssocID="{9AFB6FC7-548D-405D-91EF-810A6711AFF8}" presName="sibTrans" presStyleCnt="0"/>
      <dgm:spPr/>
    </dgm:pt>
    <dgm:pt modelId="{56937270-BEC0-4D8D-B343-87A154369758}" type="pres">
      <dgm:prSet presAssocID="{3783461A-7BE6-487F-80E5-B8FBCCDA8C72}" presName="composite" presStyleCnt="0"/>
      <dgm:spPr/>
    </dgm:pt>
    <dgm:pt modelId="{A6ED1522-1697-474E-B4D2-D49D342F9B77}" type="pres">
      <dgm:prSet presAssocID="{3783461A-7BE6-487F-80E5-B8FBCCDA8C72}" presName="rect1" presStyleLbl="trAlignAcc1" presStyleIdx="7" presStyleCnt="15">
        <dgm:presLayoutVars>
          <dgm:bulletEnabled val="1"/>
        </dgm:presLayoutVars>
      </dgm:prSet>
      <dgm:spPr/>
    </dgm:pt>
    <dgm:pt modelId="{293188F4-A41E-49E2-AAB9-4ABAB8D90042}" type="pres">
      <dgm:prSet presAssocID="{3783461A-7BE6-487F-80E5-B8FBCCDA8C72}" presName="rect2" presStyleLbl="fgImgPlace1" presStyleIdx="7" presStyleCnt="15"/>
      <dgm:spPr>
        <a:blipFill rotWithShape="1">
          <a:blip xmlns:r="http://schemas.openxmlformats.org/officeDocument/2006/relationships" r:embed="rId8"/>
          <a:stretch>
            <a:fillRect/>
          </a:stretch>
        </a:blipFill>
      </dgm:spPr>
    </dgm:pt>
    <dgm:pt modelId="{93D77459-37AE-43CD-83D5-F2BDE97FEAF4}" type="pres">
      <dgm:prSet presAssocID="{C1C06C5A-C3DD-4687-845F-39786C6F5FCD}" presName="sibTrans" presStyleCnt="0"/>
      <dgm:spPr/>
    </dgm:pt>
    <dgm:pt modelId="{7D9F8CFB-FD10-48E1-BB82-F5B9933F1B19}" type="pres">
      <dgm:prSet presAssocID="{05F93C5E-1217-4D89-B002-960EB1C12FB6}" presName="composite" presStyleCnt="0"/>
      <dgm:spPr/>
    </dgm:pt>
    <dgm:pt modelId="{968D013C-3EC3-4ACB-8834-499672A1B798}" type="pres">
      <dgm:prSet presAssocID="{05F93C5E-1217-4D89-B002-960EB1C12FB6}" presName="rect1" presStyleLbl="trAlignAcc1" presStyleIdx="8" presStyleCnt="15">
        <dgm:presLayoutVars>
          <dgm:bulletEnabled val="1"/>
        </dgm:presLayoutVars>
      </dgm:prSet>
      <dgm:spPr/>
    </dgm:pt>
    <dgm:pt modelId="{08AABA81-7C6A-4102-A510-A752655EC71C}" type="pres">
      <dgm:prSet presAssocID="{05F93C5E-1217-4D89-B002-960EB1C12FB6}" presName="rect2" presStyleLbl="fgImgPlace1" presStyleIdx="8" presStyleCnt="15"/>
      <dgm:spPr>
        <a:blipFill rotWithShape="1">
          <a:blip xmlns:r="http://schemas.openxmlformats.org/officeDocument/2006/relationships" r:embed="rId9"/>
          <a:stretch>
            <a:fillRect/>
          </a:stretch>
        </a:blipFill>
      </dgm:spPr>
    </dgm:pt>
    <dgm:pt modelId="{13F59491-6071-4706-88B3-382F4725C4D0}" type="pres">
      <dgm:prSet presAssocID="{F6706313-0E4C-409D-A2CB-B1C23D1F18BA}" presName="sibTrans" presStyleCnt="0"/>
      <dgm:spPr/>
    </dgm:pt>
    <dgm:pt modelId="{88ADA627-33C3-4083-988C-4F35BD371BD7}" type="pres">
      <dgm:prSet presAssocID="{A6161E57-E50B-4065-9707-337CAB0E1F99}" presName="composite" presStyleCnt="0"/>
      <dgm:spPr/>
    </dgm:pt>
    <dgm:pt modelId="{B02A9E21-5B76-4320-93EE-F6EE0741BB6A}" type="pres">
      <dgm:prSet presAssocID="{A6161E57-E50B-4065-9707-337CAB0E1F99}" presName="rect1" presStyleLbl="trAlignAcc1" presStyleIdx="9" presStyleCnt="15">
        <dgm:presLayoutVars>
          <dgm:bulletEnabled val="1"/>
        </dgm:presLayoutVars>
      </dgm:prSet>
      <dgm:spPr/>
    </dgm:pt>
    <dgm:pt modelId="{D4F2CC21-C551-4637-8297-8850A46D6DD9}" type="pres">
      <dgm:prSet presAssocID="{A6161E57-E50B-4065-9707-337CAB0E1F99}" presName="rect2" presStyleLbl="fgImgPlace1" presStyleIdx="9" presStyleCnt="15"/>
      <dgm:spPr>
        <a:blipFill rotWithShape="1">
          <a:blip xmlns:r="http://schemas.openxmlformats.org/officeDocument/2006/relationships" r:embed="rId10"/>
          <a:stretch>
            <a:fillRect/>
          </a:stretch>
        </a:blipFill>
      </dgm:spPr>
    </dgm:pt>
    <dgm:pt modelId="{98B9B959-2F7B-4D69-9A27-F01545DD6486}" type="pres">
      <dgm:prSet presAssocID="{CEA97FF3-8D6E-4C2A-8AC5-19FB56AD5A6F}" presName="sibTrans" presStyleCnt="0"/>
      <dgm:spPr/>
    </dgm:pt>
    <dgm:pt modelId="{A687C333-2620-41BE-A3B5-5A2462A27C95}" type="pres">
      <dgm:prSet presAssocID="{041209E5-BAAE-4FD9-889F-74EDA408B978}" presName="composite" presStyleCnt="0"/>
      <dgm:spPr/>
    </dgm:pt>
    <dgm:pt modelId="{9724B010-B8CC-41D0-9375-EA50154B6AD0}" type="pres">
      <dgm:prSet presAssocID="{041209E5-BAAE-4FD9-889F-74EDA408B978}" presName="rect1" presStyleLbl="trAlignAcc1" presStyleIdx="10" presStyleCnt="15">
        <dgm:presLayoutVars>
          <dgm:bulletEnabled val="1"/>
        </dgm:presLayoutVars>
      </dgm:prSet>
      <dgm:spPr/>
    </dgm:pt>
    <dgm:pt modelId="{03EBE865-BE9E-49D8-8AC8-D8E1DA23217E}" type="pres">
      <dgm:prSet presAssocID="{041209E5-BAAE-4FD9-889F-74EDA408B978}" presName="rect2" presStyleLbl="fgImgPlace1" presStyleIdx="10" presStyleCnt="15"/>
      <dgm:spPr>
        <a:blipFill rotWithShape="1">
          <a:blip xmlns:r="http://schemas.openxmlformats.org/officeDocument/2006/relationships" r:embed="rId11"/>
          <a:stretch>
            <a:fillRect/>
          </a:stretch>
        </a:blipFill>
      </dgm:spPr>
    </dgm:pt>
    <dgm:pt modelId="{B54FC862-085D-45C3-945B-5508AA094BE0}" type="pres">
      <dgm:prSet presAssocID="{F91AC76C-9A76-4F6B-B7ED-3B0DBD0E726D}" presName="sibTrans" presStyleCnt="0"/>
      <dgm:spPr/>
    </dgm:pt>
    <dgm:pt modelId="{3DB58C72-172F-4D9B-A082-0EAE2F266F6C}" type="pres">
      <dgm:prSet presAssocID="{CFC80FB8-4F60-424A-8C1C-393B509FBE89}" presName="composite" presStyleCnt="0"/>
      <dgm:spPr/>
    </dgm:pt>
    <dgm:pt modelId="{CED76DB8-1CAE-4A5C-99CC-DA4D8916BDEC}" type="pres">
      <dgm:prSet presAssocID="{CFC80FB8-4F60-424A-8C1C-393B509FBE89}" presName="rect1" presStyleLbl="trAlignAcc1" presStyleIdx="11" presStyleCnt="15">
        <dgm:presLayoutVars>
          <dgm:bulletEnabled val="1"/>
        </dgm:presLayoutVars>
      </dgm:prSet>
      <dgm:spPr/>
    </dgm:pt>
    <dgm:pt modelId="{41C48DDC-0B9A-4CCC-8033-06D1BE162F2C}" type="pres">
      <dgm:prSet presAssocID="{CFC80FB8-4F60-424A-8C1C-393B509FBE89}" presName="rect2" presStyleLbl="fgImgPlace1" presStyleIdx="11" presStyleCnt="15"/>
      <dgm:spPr>
        <a:blipFill rotWithShape="1">
          <a:blip xmlns:r="http://schemas.openxmlformats.org/officeDocument/2006/relationships" r:embed="rId12"/>
          <a:stretch>
            <a:fillRect/>
          </a:stretch>
        </a:blipFill>
      </dgm:spPr>
    </dgm:pt>
    <dgm:pt modelId="{44136741-4DAC-4DA4-8046-4948249E836D}" type="pres">
      <dgm:prSet presAssocID="{A90D5600-60F3-401F-9EB2-D9C550929AC0}" presName="sibTrans" presStyleCnt="0"/>
      <dgm:spPr/>
    </dgm:pt>
    <dgm:pt modelId="{ECEA6132-AF21-49E3-B306-7788095BF38B}" type="pres">
      <dgm:prSet presAssocID="{938C2283-ACE6-4FDF-A2CF-4EE4B7ED10EB}" presName="composite" presStyleCnt="0"/>
      <dgm:spPr/>
    </dgm:pt>
    <dgm:pt modelId="{0A181FFB-A750-4488-85A9-980934941D57}" type="pres">
      <dgm:prSet presAssocID="{938C2283-ACE6-4FDF-A2CF-4EE4B7ED10EB}" presName="rect1" presStyleLbl="trAlignAcc1" presStyleIdx="12" presStyleCnt="15">
        <dgm:presLayoutVars>
          <dgm:bulletEnabled val="1"/>
        </dgm:presLayoutVars>
      </dgm:prSet>
      <dgm:spPr/>
    </dgm:pt>
    <dgm:pt modelId="{F3DC912E-3FBA-46A1-B8B9-8435D19AF9EF}" type="pres">
      <dgm:prSet presAssocID="{938C2283-ACE6-4FDF-A2CF-4EE4B7ED10EB}" presName="rect2" presStyleLbl="fgImgPlace1" presStyleIdx="12" presStyleCnt="15"/>
      <dgm:spPr>
        <a:blipFill rotWithShape="1">
          <a:blip xmlns:r="http://schemas.openxmlformats.org/officeDocument/2006/relationships" r:embed="rId13"/>
          <a:stretch>
            <a:fillRect/>
          </a:stretch>
        </a:blipFill>
      </dgm:spPr>
    </dgm:pt>
    <dgm:pt modelId="{804CAEF1-3F54-4715-AC71-ED9BE2F8D552}" type="pres">
      <dgm:prSet presAssocID="{A1283105-EFF2-4E2E-9706-1EAB83B30903}" presName="sibTrans" presStyleCnt="0"/>
      <dgm:spPr/>
    </dgm:pt>
    <dgm:pt modelId="{096B88DC-8A06-479F-9455-4B8E8DB01ACC}" type="pres">
      <dgm:prSet presAssocID="{2C506B36-286A-453D-8983-817D1D7BA6CA}" presName="composite" presStyleCnt="0"/>
      <dgm:spPr/>
    </dgm:pt>
    <dgm:pt modelId="{CB34BF5A-2E3A-4C75-AB12-CD5255791DEE}" type="pres">
      <dgm:prSet presAssocID="{2C506B36-286A-453D-8983-817D1D7BA6CA}" presName="rect1" presStyleLbl="trAlignAcc1" presStyleIdx="13" presStyleCnt="15">
        <dgm:presLayoutVars>
          <dgm:bulletEnabled val="1"/>
        </dgm:presLayoutVars>
      </dgm:prSet>
      <dgm:spPr/>
    </dgm:pt>
    <dgm:pt modelId="{70F45416-27A9-4C3F-AB97-3D5DD3F5C48D}" type="pres">
      <dgm:prSet presAssocID="{2C506B36-286A-453D-8983-817D1D7BA6CA}" presName="rect2" presStyleLbl="fgImgPlace1" presStyleIdx="13" presStyleCnt="15"/>
      <dgm:spPr>
        <a:blipFill rotWithShape="1">
          <a:blip xmlns:r="http://schemas.openxmlformats.org/officeDocument/2006/relationships" r:embed="rId14"/>
          <a:stretch>
            <a:fillRect/>
          </a:stretch>
        </a:blipFill>
      </dgm:spPr>
    </dgm:pt>
    <dgm:pt modelId="{1F90A9FD-F011-431B-94ED-19E333F07C2C}" type="pres">
      <dgm:prSet presAssocID="{AA68A8A4-4ADF-4FD7-9F64-69EB25BCE8C5}" presName="sibTrans" presStyleCnt="0"/>
      <dgm:spPr/>
    </dgm:pt>
    <dgm:pt modelId="{1FCD75FE-D0F3-4D4B-A362-5F2E19CA92B5}" type="pres">
      <dgm:prSet presAssocID="{62B46E15-A42C-44C5-BDB3-0FD7430E25C6}" presName="composite" presStyleCnt="0"/>
      <dgm:spPr/>
    </dgm:pt>
    <dgm:pt modelId="{64BB4ECA-4EC2-43BD-9D59-2982CA370DA8}" type="pres">
      <dgm:prSet presAssocID="{62B46E15-A42C-44C5-BDB3-0FD7430E25C6}" presName="rect1" presStyleLbl="trAlignAcc1" presStyleIdx="14" presStyleCnt="15">
        <dgm:presLayoutVars>
          <dgm:bulletEnabled val="1"/>
        </dgm:presLayoutVars>
      </dgm:prSet>
      <dgm:spPr/>
    </dgm:pt>
    <dgm:pt modelId="{1168183E-CDEE-49D8-B5E5-22111083624F}" type="pres">
      <dgm:prSet presAssocID="{62B46E15-A42C-44C5-BDB3-0FD7430E25C6}" presName="rect2" presStyleLbl="fgImgPlace1" presStyleIdx="14" presStyleCnt="15"/>
      <dgm:spPr>
        <a:blipFill rotWithShape="1">
          <a:blip xmlns:r="http://schemas.openxmlformats.org/officeDocument/2006/relationships" r:embed="rId15"/>
          <a:stretch>
            <a:fillRect/>
          </a:stretch>
        </a:blipFill>
      </dgm:spPr>
    </dgm:pt>
  </dgm:ptLst>
  <dgm:cxnLst>
    <dgm:cxn modelId="{7EEB5406-F953-4D98-8A1D-769E40E4DA9B}" srcId="{1E6EF6E4-5DA9-40CD-91D8-597B61B8383F}" destId="{F9B1B51D-D58D-4999-A646-6782B3D55DE1}" srcOrd="4" destOrd="0" parTransId="{274C1477-BB1E-4F12-8778-577A38BC756D}" sibTransId="{27F66B9C-F542-442D-A5B0-7A2AB73BE2F5}"/>
    <dgm:cxn modelId="{B34BC609-6F8E-429D-B3B1-0DC826B581F2}" type="presOf" srcId="{938C2283-ACE6-4FDF-A2CF-4EE4B7ED10EB}" destId="{0A181FFB-A750-4488-85A9-980934941D57}" srcOrd="0" destOrd="0" presId="urn:microsoft.com/office/officeart/2008/layout/PictureStrips"/>
    <dgm:cxn modelId="{0D963117-A489-4D5E-9B5C-FB957BCA2D5C}" type="presOf" srcId="{2C506B36-286A-453D-8983-817D1D7BA6CA}" destId="{CB34BF5A-2E3A-4C75-AB12-CD5255791DEE}" srcOrd="0" destOrd="0" presId="urn:microsoft.com/office/officeart/2008/layout/PictureStrips"/>
    <dgm:cxn modelId="{BAE3DF18-B4DE-4CEB-9817-A13F8FEF63AF}" srcId="{1E6EF6E4-5DA9-40CD-91D8-597B61B8383F}" destId="{2A0311A7-B0A0-4052-B7B3-FC3E9D96C411}" srcOrd="0" destOrd="0" parTransId="{DDE4EAE2-63D9-443D-86A3-A87A52537ED8}" sibTransId="{FC459060-AFDF-49B4-8E9B-5E8FEA09A1A1}"/>
    <dgm:cxn modelId="{A904CB1F-E801-442B-BD47-395256661062}" srcId="{1E6EF6E4-5DA9-40CD-91D8-597B61B8383F}" destId="{10117374-5EF8-4B66-AB64-D3F5C1319645}" srcOrd="1" destOrd="0" parTransId="{27CD91E7-4714-45E6-899C-84437E2929F3}" sibTransId="{E98539D4-2067-46E5-BF2D-CCC3F2746E7C}"/>
    <dgm:cxn modelId="{BF76A226-1F50-4876-83EC-636E03B43CEB}" type="presOf" srcId="{10117374-5EF8-4B66-AB64-D3F5C1319645}" destId="{E0BAAED4-DC57-4A07-8C28-4ED928DC4456}" srcOrd="0" destOrd="0" presId="urn:microsoft.com/office/officeart/2008/layout/PictureStrips"/>
    <dgm:cxn modelId="{A21F103A-A431-4CCD-BCAA-5B778E71C3BE}" srcId="{1E6EF6E4-5DA9-40CD-91D8-597B61B8383F}" destId="{62B46E15-A42C-44C5-BDB3-0FD7430E25C6}" srcOrd="14" destOrd="0" parTransId="{AA54F876-4F89-442F-9093-9351FEEBDFCC}" sibTransId="{CD04C893-7D7B-4500-A014-5C669CDE762A}"/>
    <dgm:cxn modelId="{5B560D3D-C5E9-415D-BE6A-28CF6671D4E3}" type="presOf" srcId="{1E6EF6E4-5DA9-40CD-91D8-597B61B8383F}" destId="{E9486B04-217D-4041-9529-5A0B8653BEB8}" srcOrd="0" destOrd="0" presId="urn:microsoft.com/office/officeart/2008/layout/PictureStrips"/>
    <dgm:cxn modelId="{E42C7A5D-D60B-431D-834D-437CAD93916C}" srcId="{1E6EF6E4-5DA9-40CD-91D8-597B61B8383F}" destId="{938C2283-ACE6-4FDF-A2CF-4EE4B7ED10EB}" srcOrd="12" destOrd="0" parTransId="{AA42A4D6-BD58-4E82-A54D-AECA9FE9D956}" sibTransId="{A1283105-EFF2-4E2E-9706-1EAB83B30903}"/>
    <dgm:cxn modelId="{9EAA945F-A481-472B-B09E-045D7E8FFFCD}" type="presOf" srcId="{4ED1D268-B5C6-4D84-B78A-D382B33A5BD7}" destId="{7ECCAEEB-1E32-410F-AD10-732DCCE7D8AD}" srcOrd="0" destOrd="0" presId="urn:microsoft.com/office/officeart/2008/layout/PictureStrips"/>
    <dgm:cxn modelId="{B2082462-83BC-4936-9F98-96F970D42BDD}" type="presOf" srcId="{E3FED7DF-9BA7-49F1-8E4A-B4F479C2F499}" destId="{5CEE85D2-A01B-468E-B488-3A61B2117763}" srcOrd="0" destOrd="0" presId="urn:microsoft.com/office/officeart/2008/layout/PictureStrips"/>
    <dgm:cxn modelId="{BF183665-C729-4D0B-87C1-80660E32E44D}" type="presOf" srcId="{041209E5-BAAE-4FD9-889F-74EDA408B978}" destId="{9724B010-B8CC-41D0-9375-EA50154B6AD0}" srcOrd="0" destOrd="0" presId="urn:microsoft.com/office/officeart/2008/layout/PictureStrips"/>
    <dgm:cxn modelId="{940EDA45-6271-4991-88CC-27141A4C1906}" srcId="{1E6EF6E4-5DA9-40CD-91D8-597B61B8383F}" destId="{4ED1D268-B5C6-4D84-B78A-D382B33A5BD7}" srcOrd="6" destOrd="0" parTransId="{7CE81F73-08F2-4BD7-91CD-4810CDFFFC7F}" sibTransId="{9AFB6FC7-548D-405D-91EF-810A6711AFF8}"/>
    <dgm:cxn modelId="{CE6DC368-AC53-45B7-A053-0B50C1BDBC4E}" srcId="{1E6EF6E4-5DA9-40CD-91D8-597B61B8383F}" destId="{2C506B36-286A-453D-8983-817D1D7BA6CA}" srcOrd="13" destOrd="0" parTransId="{60ADD8E6-AADB-4689-8087-6E64EEEDB1FE}" sibTransId="{AA68A8A4-4ADF-4FD7-9F64-69EB25BCE8C5}"/>
    <dgm:cxn modelId="{79ABEA49-4152-4E06-B4A6-EB6FC285A440}" srcId="{1E6EF6E4-5DA9-40CD-91D8-597B61B8383F}" destId="{2CAD0D55-D585-4D14-ADB5-B743FB98A574}" srcOrd="2" destOrd="0" parTransId="{B50D9DEE-B446-4AE3-9121-4586AA82767A}" sibTransId="{E85454C2-E26D-4361-B2C9-EB751161C4EF}"/>
    <dgm:cxn modelId="{C6BD6470-9F20-4CF6-8C0F-D84705113F9F}" type="presOf" srcId="{A6161E57-E50B-4065-9707-337CAB0E1F99}" destId="{B02A9E21-5B76-4320-93EE-F6EE0741BB6A}" srcOrd="0" destOrd="0" presId="urn:microsoft.com/office/officeart/2008/layout/PictureStrips"/>
    <dgm:cxn modelId="{B4EAFA50-2A10-4FEE-98F2-E418935999F4}" srcId="{1E6EF6E4-5DA9-40CD-91D8-597B61B8383F}" destId="{A6161E57-E50B-4065-9707-337CAB0E1F99}" srcOrd="9" destOrd="0" parTransId="{AF52F5E7-7E63-4EF3-B33B-B7A98E98D064}" sibTransId="{CEA97FF3-8D6E-4C2A-8AC5-19FB56AD5A6F}"/>
    <dgm:cxn modelId="{4435D088-D6DE-41B2-ADE6-DC8045EC0859}" type="presOf" srcId="{05F93C5E-1217-4D89-B002-960EB1C12FB6}" destId="{968D013C-3EC3-4ACB-8834-499672A1B798}" srcOrd="0" destOrd="0" presId="urn:microsoft.com/office/officeart/2008/layout/PictureStrips"/>
    <dgm:cxn modelId="{888C348A-7993-4470-B438-F7D14CDE3051}" type="presOf" srcId="{62B46E15-A42C-44C5-BDB3-0FD7430E25C6}" destId="{64BB4ECA-4EC2-43BD-9D59-2982CA370DA8}" srcOrd="0" destOrd="0" presId="urn:microsoft.com/office/officeart/2008/layout/PictureStrips"/>
    <dgm:cxn modelId="{ADC31494-2C6C-4F49-80A0-A420C9AAD786}" srcId="{1E6EF6E4-5DA9-40CD-91D8-597B61B8383F}" destId="{041209E5-BAAE-4FD9-889F-74EDA408B978}" srcOrd="10" destOrd="0" parTransId="{35746635-7656-4A98-9E1A-49FF386F5184}" sibTransId="{F91AC76C-9A76-4F6B-B7ED-3B0DBD0E726D}"/>
    <dgm:cxn modelId="{039C2295-812F-472C-BB3B-2C774705CB43}" type="presOf" srcId="{2CAD0D55-D585-4D14-ADB5-B743FB98A574}" destId="{DBBD62CB-10DC-48E9-8EB7-ABC1CA271F7E}" srcOrd="0" destOrd="0" presId="urn:microsoft.com/office/officeart/2008/layout/PictureStrips"/>
    <dgm:cxn modelId="{BAB113AE-5815-4CDB-ACC0-CC7AA84F90BD}" srcId="{1E6EF6E4-5DA9-40CD-91D8-597B61B8383F}" destId="{3783461A-7BE6-487F-80E5-B8FBCCDA8C72}" srcOrd="7" destOrd="0" parTransId="{D307A78B-D109-4F34-B213-3E7DC529B3B0}" sibTransId="{C1C06C5A-C3DD-4687-845F-39786C6F5FCD}"/>
    <dgm:cxn modelId="{11E216B5-C5CE-4CCD-A425-514DD37CF651}" srcId="{1E6EF6E4-5DA9-40CD-91D8-597B61B8383F}" destId="{D87BF840-1362-469E-9EED-45B3F043799F}" srcOrd="3" destOrd="0" parTransId="{A03D0754-5A0B-4E56-AF3B-6F497439A264}" sibTransId="{2C310E61-E2B7-4773-84DF-F873EB61369E}"/>
    <dgm:cxn modelId="{731E2CC9-D142-44CB-B82F-5B8D0A853263}" type="presOf" srcId="{F9B1B51D-D58D-4999-A646-6782B3D55DE1}" destId="{AFC5B81B-49C0-49DD-B43D-E13FF5723DFD}" srcOrd="0" destOrd="0" presId="urn:microsoft.com/office/officeart/2008/layout/PictureStrips"/>
    <dgm:cxn modelId="{DD4480D1-EC16-428D-A95B-98036FD326C6}" srcId="{1E6EF6E4-5DA9-40CD-91D8-597B61B8383F}" destId="{CFC80FB8-4F60-424A-8C1C-393B509FBE89}" srcOrd="11" destOrd="0" parTransId="{581CE978-F4AA-4B36-B267-26E140160F2E}" sibTransId="{A90D5600-60F3-401F-9EB2-D9C550929AC0}"/>
    <dgm:cxn modelId="{A9C959D3-DF5C-4FEB-BB0B-BD0A65E7BFE2}" type="presOf" srcId="{2A0311A7-B0A0-4052-B7B3-FC3E9D96C411}" destId="{2831E1C3-D0BB-4406-9C3D-1BCBA77F4715}" srcOrd="0" destOrd="0" presId="urn:microsoft.com/office/officeart/2008/layout/PictureStrips"/>
    <dgm:cxn modelId="{52AB5AD8-E537-45CA-B302-16B36E7A9FF1}" type="presOf" srcId="{D87BF840-1362-469E-9EED-45B3F043799F}" destId="{E72C562F-9BD1-4A50-B757-EECE4EDDC507}" srcOrd="0" destOrd="0" presId="urn:microsoft.com/office/officeart/2008/layout/PictureStrips"/>
    <dgm:cxn modelId="{72722BDB-97DC-4051-A362-103044C80C8F}" srcId="{1E6EF6E4-5DA9-40CD-91D8-597B61B8383F}" destId="{E3FED7DF-9BA7-49F1-8E4A-B4F479C2F499}" srcOrd="5" destOrd="0" parTransId="{8941F601-3FE5-40F3-A48B-BAB2220B892A}" sibTransId="{97995F6E-E2AF-46A0-A78D-11316028FBA5}"/>
    <dgm:cxn modelId="{19F75FDC-707F-4671-9EBB-589BD9DAC5D6}" srcId="{1E6EF6E4-5DA9-40CD-91D8-597B61B8383F}" destId="{05F93C5E-1217-4D89-B002-960EB1C12FB6}" srcOrd="8" destOrd="0" parTransId="{491139F5-CEB0-4EF5-8DB1-AF5EEC6B9E58}" sibTransId="{F6706313-0E4C-409D-A2CB-B1C23D1F18BA}"/>
    <dgm:cxn modelId="{9C8A01EE-075A-47ED-BED8-540F7D5070E3}" type="presOf" srcId="{CFC80FB8-4F60-424A-8C1C-393B509FBE89}" destId="{CED76DB8-1CAE-4A5C-99CC-DA4D8916BDEC}" srcOrd="0" destOrd="0" presId="urn:microsoft.com/office/officeart/2008/layout/PictureStrips"/>
    <dgm:cxn modelId="{03BBCEF1-626E-4653-A9DC-8EF17E3C4891}" type="presOf" srcId="{3783461A-7BE6-487F-80E5-B8FBCCDA8C72}" destId="{A6ED1522-1697-474E-B4D2-D49D342F9B77}" srcOrd="0" destOrd="0" presId="urn:microsoft.com/office/officeart/2008/layout/PictureStrips"/>
    <dgm:cxn modelId="{20B9BB2C-DF9F-43F0-B661-343332D569DE}" type="presParOf" srcId="{E9486B04-217D-4041-9529-5A0B8653BEB8}" destId="{AF5EFD04-1F78-41DC-9366-9862C62B3490}" srcOrd="0" destOrd="0" presId="urn:microsoft.com/office/officeart/2008/layout/PictureStrips"/>
    <dgm:cxn modelId="{6E7D8E77-1BF0-4B7C-8ECF-9D3075314489}" type="presParOf" srcId="{AF5EFD04-1F78-41DC-9366-9862C62B3490}" destId="{2831E1C3-D0BB-4406-9C3D-1BCBA77F4715}" srcOrd="0" destOrd="0" presId="urn:microsoft.com/office/officeart/2008/layout/PictureStrips"/>
    <dgm:cxn modelId="{259D867D-C3C4-4A0F-A8E7-E4289A693EF4}" type="presParOf" srcId="{AF5EFD04-1F78-41DC-9366-9862C62B3490}" destId="{B36D6CCC-2BCE-4FEC-8AEB-62F41E554262}" srcOrd="1" destOrd="0" presId="urn:microsoft.com/office/officeart/2008/layout/PictureStrips"/>
    <dgm:cxn modelId="{796252FF-C917-4369-B12E-1301B542F8B2}" type="presParOf" srcId="{E9486B04-217D-4041-9529-5A0B8653BEB8}" destId="{04378490-BD37-4079-B4D4-412A8E021E26}" srcOrd="1" destOrd="0" presId="urn:microsoft.com/office/officeart/2008/layout/PictureStrips"/>
    <dgm:cxn modelId="{8F361F62-DA84-4E6A-94F7-A9C960FE18DA}" type="presParOf" srcId="{E9486B04-217D-4041-9529-5A0B8653BEB8}" destId="{052C631C-B0FE-4CB0-8DFF-C2F6A24328A3}" srcOrd="2" destOrd="0" presId="urn:microsoft.com/office/officeart/2008/layout/PictureStrips"/>
    <dgm:cxn modelId="{1EF52D96-B88A-4694-87CD-955A95B4FA51}" type="presParOf" srcId="{052C631C-B0FE-4CB0-8DFF-C2F6A24328A3}" destId="{E0BAAED4-DC57-4A07-8C28-4ED928DC4456}" srcOrd="0" destOrd="0" presId="urn:microsoft.com/office/officeart/2008/layout/PictureStrips"/>
    <dgm:cxn modelId="{5579FB98-A499-4387-98E4-1F989ECDEE3F}" type="presParOf" srcId="{052C631C-B0FE-4CB0-8DFF-C2F6A24328A3}" destId="{004B8966-AFA0-4439-909C-C1ECF0A54C4E}" srcOrd="1" destOrd="0" presId="urn:microsoft.com/office/officeart/2008/layout/PictureStrips"/>
    <dgm:cxn modelId="{D4F131FB-AD99-48EF-AAE5-C9E4BFD769CF}" type="presParOf" srcId="{E9486B04-217D-4041-9529-5A0B8653BEB8}" destId="{C9F46502-4EF6-47E2-8DF1-678FDF30E3F2}" srcOrd="3" destOrd="0" presId="urn:microsoft.com/office/officeart/2008/layout/PictureStrips"/>
    <dgm:cxn modelId="{6D75DE19-3F78-462B-A4A4-023A5358CB3A}" type="presParOf" srcId="{E9486B04-217D-4041-9529-5A0B8653BEB8}" destId="{5CA19B59-524E-43E0-A7C5-D950E788CA22}" srcOrd="4" destOrd="0" presId="urn:microsoft.com/office/officeart/2008/layout/PictureStrips"/>
    <dgm:cxn modelId="{AA7198BE-23E3-45E5-91F8-66266FC5816F}" type="presParOf" srcId="{5CA19B59-524E-43E0-A7C5-D950E788CA22}" destId="{DBBD62CB-10DC-48E9-8EB7-ABC1CA271F7E}" srcOrd="0" destOrd="0" presId="urn:microsoft.com/office/officeart/2008/layout/PictureStrips"/>
    <dgm:cxn modelId="{8BD84B48-E4F0-4CC3-8A48-58689FC568F6}" type="presParOf" srcId="{5CA19B59-524E-43E0-A7C5-D950E788CA22}" destId="{729F8CEF-38C1-45A6-997E-84D1BDF97C90}" srcOrd="1" destOrd="0" presId="urn:microsoft.com/office/officeart/2008/layout/PictureStrips"/>
    <dgm:cxn modelId="{0379F9C9-4A4A-45FA-B847-F0AC100AD2C6}" type="presParOf" srcId="{E9486B04-217D-4041-9529-5A0B8653BEB8}" destId="{3141F128-8332-44C2-B3DB-BA07DFADE183}" srcOrd="5" destOrd="0" presId="urn:microsoft.com/office/officeart/2008/layout/PictureStrips"/>
    <dgm:cxn modelId="{8E062E44-6A0C-4411-B514-B683D1F70FFF}" type="presParOf" srcId="{E9486B04-217D-4041-9529-5A0B8653BEB8}" destId="{BAD22DD0-AB78-4537-B01C-C60AB8073818}" srcOrd="6" destOrd="0" presId="urn:microsoft.com/office/officeart/2008/layout/PictureStrips"/>
    <dgm:cxn modelId="{DF49D4F3-B140-4722-AD78-9D1AE408F53F}" type="presParOf" srcId="{BAD22DD0-AB78-4537-B01C-C60AB8073818}" destId="{E72C562F-9BD1-4A50-B757-EECE4EDDC507}" srcOrd="0" destOrd="0" presId="urn:microsoft.com/office/officeart/2008/layout/PictureStrips"/>
    <dgm:cxn modelId="{36B1013E-91B6-4930-93A2-09DE6F35D23A}" type="presParOf" srcId="{BAD22DD0-AB78-4537-B01C-C60AB8073818}" destId="{3D309B02-A021-45F8-B8B2-31EE9C5B833B}" srcOrd="1" destOrd="0" presId="urn:microsoft.com/office/officeart/2008/layout/PictureStrips"/>
    <dgm:cxn modelId="{3A7A2EC4-1267-4844-96A4-18A0F9C04C85}" type="presParOf" srcId="{E9486B04-217D-4041-9529-5A0B8653BEB8}" destId="{6BE08809-74DF-4AC6-9C75-8551500CAB4C}" srcOrd="7" destOrd="0" presId="urn:microsoft.com/office/officeart/2008/layout/PictureStrips"/>
    <dgm:cxn modelId="{B25E7F9B-5930-43F3-88CC-8C866459182B}" type="presParOf" srcId="{E9486B04-217D-4041-9529-5A0B8653BEB8}" destId="{018A47A6-336E-46AD-8DA2-8A4BFF50C2E7}" srcOrd="8" destOrd="0" presId="urn:microsoft.com/office/officeart/2008/layout/PictureStrips"/>
    <dgm:cxn modelId="{CD534F7A-D7DC-4AD0-A439-CB8A47749018}" type="presParOf" srcId="{018A47A6-336E-46AD-8DA2-8A4BFF50C2E7}" destId="{AFC5B81B-49C0-49DD-B43D-E13FF5723DFD}" srcOrd="0" destOrd="0" presId="urn:microsoft.com/office/officeart/2008/layout/PictureStrips"/>
    <dgm:cxn modelId="{6AF65F26-D4A2-438F-87DB-6FB8A045A3F3}" type="presParOf" srcId="{018A47A6-336E-46AD-8DA2-8A4BFF50C2E7}" destId="{0298A42B-6974-4413-824A-550F36ABBCC5}" srcOrd="1" destOrd="0" presId="urn:microsoft.com/office/officeart/2008/layout/PictureStrips"/>
    <dgm:cxn modelId="{1264A744-CA57-4BD1-B5A7-8259B1F3C7BA}" type="presParOf" srcId="{E9486B04-217D-4041-9529-5A0B8653BEB8}" destId="{3F973D7D-FF3E-484D-B2C3-69E77A92D5C4}" srcOrd="9" destOrd="0" presId="urn:microsoft.com/office/officeart/2008/layout/PictureStrips"/>
    <dgm:cxn modelId="{53CCC267-0D6B-4688-B62E-4EC1F6790510}" type="presParOf" srcId="{E9486B04-217D-4041-9529-5A0B8653BEB8}" destId="{729B8D0F-92FC-4BDD-B292-69F4840F3F47}" srcOrd="10" destOrd="0" presId="urn:microsoft.com/office/officeart/2008/layout/PictureStrips"/>
    <dgm:cxn modelId="{F6119499-2610-4EAC-A3D5-3AF82165C4C4}" type="presParOf" srcId="{729B8D0F-92FC-4BDD-B292-69F4840F3F47}" destId="{5CEE85D2-A01B-468E-B488-3A61B2117763}" srcOrd="0" destOrd="0" presId="urn:microsoft.com/office/officeart/2008/layout/PictureStrips"/>
    <dgm:cxn modelId="{E95BDE98-4683-4532-A2B6-DDBBB9CF9CC9}" type="presParOf" srcId="{729B8D0F-92FC-4BDD-B292-69F4840F3F47}" destId="{5DA78F21-9897-49AA-8E76-10DD89D2687D}" srcOrd="1" destOrd="0" presId="urn:microsoft.com/office/officeart/2008/layout/PictureStrips"/>
    <dgm:cxn modelId="{C03D5DC5-138A-4152-B4A7-4F8BC786D99B}" type="presParOf" srcId="{E9486B04-217D-4041-9529-5A0B8653BEB8}" destId="{58989ED1-EF4B-4BD7-98E0-B12089A6EB85}" srcOrd="11" destOrd="0" presId="urn:microsoft.com/office/officeart/2008/layout/PictureStrips"/>
    <dgm:cxn modelId="{EE25B9F3-8637-4F16-9F37-7EE7C8A690CB}" type="presParOf" srcId="{E9486B04-217D-4041-9529-5A0B8653BEB8}" destId="{8F75D1F9-30C3-428F-8D63-35972CE5CE0D}" srcOrd="12" destOrd="0" presId="urn:microsoft.com/office/officeart/2008/layout/PictureStrips"/>
    <dgm:cxn modelId="{B541C5D2-7D10-46FF-9887-152289586453}" type="presParOf" srcId="{8F75D1F9-30C3-428F-8D63-35972CE5CE0D}" destId="{7ECCAEEB-1E32-410F-AD10-732DCCE7D8AD}" srcOrd="0" destOrd="0" presId="urn:microsoft.com/office/officeart/2008/layout/PictureStrips"/>
    <dgm:cxn modelId="{C86AE098-FE00-4101-9FD9-E094DDEAFC97}" type="presParOf" srcId="{8F75D1F9-30C3-428F-8D63-35972CE5CE0D}" destId="{B63241A1-DF5A-4B2C-BBDA-35116999D21B}" srcOrd="1" destOrd="0" presId="urn:microsoft.com/office/officeart/2008/layout/PictureStrips"/>
    <dgm:cxn modelId="{DA7D3DEA-7C9A-406C-B940-9670DDE34792}" type="presParOf" srcId="{E9486B04-217D-4041-9529-5A0B8653BEB8}" destId="{71D81FBF-DFFC-495E-A319-1ACDA5603EB6}" srcOrd="13" destOrd="0" presId="urn:microsoft.com/office/officeart/2008/layout/PictureStrips"/>
    <dgm:cxn modelId="{23979FEC-B5BB-41AA-A6C0-A1ACE8FFC4C6}" type="presParOf" srcId="{E9486B04-217D-4041-9529-5A0B8653BEB8}" destId="{56937270-BEC0-4D8D-B343-87A154369758}" srcOrd="14" destOrd="0" presId="urn:microsoft.com/office/officeart/2008/layout/PictureStrips"/>
    <dgm:cxn modelId="{D151B60F-A26D-4E9B-A364-146415A687FC}" type="presParOf" srcId="{56937270-BEC0-4D8D-B343-87A154369758}" destId="{A6ED1522-1697-474E-B4D2-D49D342F9B77}" srcOrd="0" destOrd="0" presId="urn:microsoft.com/office/officeart/2008/layout/PictureStrips"/>
    <dgm:cxn modelId="{47B9501D-D13C-4577-9748-109A1D5C0B5E}" type="presParOf" srcId="{56937270-BEC0-4D8D-B343-87A154369758}" destId="{293188F4-A41E-49E2-AAB9-4ABAB8D90042}" srcOrd="1" destOrd="0" presId="urn:microsoft.com/office/officeart/2008/layout/PictureStrips"/>
    <dgm:cxn modelId="{D18B1FE4-2C7E-4D4D-8382-03773A4192B6}" type="presParOf" srcId="{E9486B04-217D-4041-9529-5A0B8653BEB8}" destId="{93D77459-37AE-43CD-83D5-F2BDE97FEAF4}" srcOrd="15" destOrd="0" presId="urn:microsoft.com/office/officeart/2008/layout/PictureStrips"/>
    <dgm:cxn modelId="{4CF0C640-7212-46CE-9DE4-1CD6FDDBBA08}" type="presParOf" srcId="{E9486B04-217D-4041-9529-5A0B8653BEB8}" destId="{7D9F8CFB-FD10-48E1-BB82-F5B9933F1B19}" srcOrd="16" destOrd="0" presId="urn:microsoft.com/office/officeart/2008/layout/PictureStrips"/>
    <dgm:cxn modelId="{BA68BAA0-9E17-45D9-90FC-56D7B0A1EF3B}" type="presParOf" srcId="{7D9F8CFB-FD10-48E1-BB82-F5B9933F1B19}" destId="{968D013C-3EC3-4ACB-8834-499672A1B798}" srcOrd="0" destOrd="0" presId="urn:microsoft.com/office/officeart/2008/layout/PictureStrips"/>
    <dgm:cxn modelId="{3A905796-20A1-464E-BFD2-2D3BB703E7E0}" type="presParOf" srcId="{7D9F8CFB-FD10-48E1-BB82-F5B9933F1B19}" destId="{08AABA81-7C6A-4102-A510-A752655EC71C}" srcOrd="1" destOrd="0" presId="urn:microsoft.com/office/officeart/2008/layout/PictureStrips"/>
    <dgm:cxn modelId="{29B56E76-264C-415F-959A-007CFA6597C8}" type="presParOf" srcId="{E9486B04-217D-4041-9529-5A0B8653BEB8}" destId="{13F59491-6071-4706-88B3-382F4725C4D0}" srcOrd="17" destOrd="0" presId="urn:microsoft.com/office/officeart/2008/layout/PictureStrips"/>
    <dgm:cxn modelId="{59B3CDA4-5DDC-4789-8369-BC227D44865E}" type="presParOf" srcId="{E9486B04-217D-4041-9529-5A0B8653BEB8}" destId="{88ADA627-33C3-4083-988C-4F35BD371BD7}" srcOrd="18" destOrd="0" presId="urn:microsoft.com/office/officeart/2008/layout/PictureStrips"/>
    <dgm:cxn modelId="{24FA12B5-317F-4422-9EE8-EAA2F75939AE}" type="presParOf" srcId="{88ADA627-33C3-4083-988C-4F35BD371BD7}" destId="{B02A9E21-5B76-4320-93EE-F6EE0741BB6A}" srcOrd="0" destOrd="0" presId="urn:microsoft.com/office/officeart/2008/layout/PictureStrips"/>
    <dgm:cxn modelId="{E1E8FAD1-3A99-4A15-A422-A3D02546BFDC}" type="presParOf" srcId="{88ADA627-33C3-4083-988C-4F35BD371BD7}" destId="{D4F2CC21-C551-4637-8297-8850A46D6DD9}" srcOrd="1" destOrd="0" presId="urn:microsoft.com/office/officeart/2008/layout/PictureStrips"/>
    <dgm:cxn modelId="{6FC9B8C1-D27C-4202-8AD3-0E37C352A999}" type="presParOf" srcId="{E9486B04-217D-4041-9529-5A0B8653BEB8}" destId="{98B9B959-2F7B-4D69-9A27-F01545DD6486}" srcOrd="19" destOrd="0" presId="urn:microsoft.com/office/officeart/2008/layout/PictureStrips"/>
    <dgm:cxn modelId="{382557AC-C367-49B1-83BF-9500420D4327}" type="presParOf" srcId="{E9486B04-217D-4041-9529-5A0B8653BEB8}" destId="{A687C333-2620-41BE-A3B5-5A2462A27C95}" srcOrd="20" destOrd="0" presId="urn:microsoft.com/office/officeart/2008/layout/PictureStrips"/>
    <dgm:cxn modelId="{A09671F1-C72F-4AAA-820D-FC1DB967F1A8}" type="presParOf" srcId="{A687C333-2620-41BE-A3B5-5A2462A27C95}" destId="{9724B010-B8CC-41D0-9375-EA50154B6AD0}" srcOrd="0" destOrd="0" presId="urn:microsoft.com/office/officeart/2008/layout/PictureStrips"/>
    <dgm:cxn modelId="{EA40DC91-2DA2-431A-B7B5-236A524519BE}" type="presParOf" srcId="{A687C333-2620-41BE-A3B5-5A2462A27C95}" destId="{03EBE865-BE9E-49D8-8AC8-D8E1DA23217E}" srcOrd="1" destOrd="0" presId="urn:microsoft.com/office/officeart/2008/layout/PictureStrips"/>
    <dgm:cxn modelId="{537B6EEC-9160-4D41-9E1D-7C0FF7F7DE38}" type="presParOf" srcId="{E9486B04-217D-4041-9529-5A0B8653BEB8}" destId="{B54FC862-085D-45C3-945B-5508AA094BE0}" srcOrd="21" destOrd="0" presId="urn:microsoft.com/office/officeart/2008/layout/PictureStrips"/>
    <dgm:cxn modelId="{BE281131-27B4-4948-AC77-D1589F0E9F4A}" type="presParOf" srcId="{E9486B04-217D-4041-9529-5A0B8653BEB8}" destId="{3DB58C72-172F-4D9B-A082-0EAE2F266F6C}" srcOrd="22" destOrd="0" presId="urn:microsoft.com/office/officeart/2008/layout/PictureStrips"/>
    <dgm:cxn modelId="{5A0849A9-60CA-445E-AB2A-4F681F55A2D0}" type="presParOf" srcId="{3DB58C72-172F-4D9B-A082-0EAE2F266F6C}" destId="{CED76DB8-1CAE-4A5C-99CC-DA4D8916BDEC}" srcOrd="0" destOrd="0" presId="urn:microsoft.com/office/officeart/2008/layout/PictureStrips"/>
    <dgm:cxn modelId="{9D98EC81-05F0-495C-BC9D-C0C954449C69}" type="presParOf" srcId="{3DB58C72-172F-4D9B-A082-0EAE2F266F6C}" destId="{41C48DDC-0B9A-4CCC-8033-06D1BE162F2C}" srcOrd="1" destOrd="0" presId="urn:microsoft.com/office/officeart/2008/layout/PictureStrips"/>
    <dgm:cxn modelId="{89D05A27-E081-4701-9348-8EFCEADB0B3D}" type="presParOf" srcId="{E9486B04-217D-4041-9529-5A0B8653BEB8}" destId="{44136741-4DAC-4DA4-8046-4948249E836D}" srcOrd="23" destOrd="0" presId="urn:microsoft.com/office/officeart/2008/layout/PictureStrips"/>
    <dgm:cxn modelId="{DC76B15C-4BA3-47AF-8716-BD73468E7B31}" type="presParOf" srcId="{E9486B04-217D-4041-9529-5A0B8653BEB8}" destId="{ECEA6132-AF21-49E3-B306-7788095BF38B}" srcOrd="24" destOrd="0" presId="urn:microsoft.com/office/officeart/2008/layout/PictureStrips"/>
    <dgm:cxn modelId="{A17F3018-F25B-40D9-A16F-E92E3C5FE2CC}" type="presParOf" srcId="{ECEA6132-AF21-49E3-B306-7788095BF38B}" destId="{0A181FFB-A750-4488-85A9-980934941D57}" srcOrd="0" destOrd="0" presId="urn:microsoft.com/office/officeart/2008/layout/PictureStrips"/>
    <dgm:cxn modelId="{D0914321-3225-4F65-AFE0-C0F91185E40D}" type="presParOf" srcId="{ECEA6132-AF21-49E3-B306-7788095BF38B}" destId="{F3DC912E-3FBA-46A1-B8B9-8435D19AF9EF}" srcOrd="1" destOrd="0" presId="urn:microsoft.com/office/officeart/2008/layout/PictureStrips"/>
    <dgm:cxn modelId="{C887C68A-6F61-4BA2-804F-63EF7A875339}" type="presParOf" srcId="{E9486B04-217D-4041-9529-5A0B8653BEB8}" destId="{804CAEF1-3F54-4715-AC71-ED9BE2F8D552}" srcOrd="25" destOrd="0" presId="urn:microsoft.com/office/officeart/2008/layout/PictureStrips"/>
    <dgm:cxn modelId="{4F9E51E8-5569-48E0-9D0F-450B03F4255C}" type="presParOf" srcId="{E9486B04-217D-4041-9529-5A0B8653BEB8}" destId="{096B88DC-8A06-479F-9455-4B8E8DB01ACC}" srcOrd="26" destOrd="0" presId="urn:microsoft.com/office/officeart/2008/layout/PictureStrips"/>
    <dgm:cxn modelId="{6F391B80-9A73-404A-91A7-5C5F6F2EBD7D}" type="presParOf" srcId="{096B88DC-8A06-479F-9455-4B8E8DB01ACC}" destId="{CB34BF5A-2E3A-4C75-AB12-CD5255791DEE}" srcOrd="0" destOrd="0" presId="urn:microsoft.com/office/officeart/2008/layout/PictureStrips"/>
    <dgm:cxn modelId="{B757D1CB-39AE-4D37-8494-61CB03F03A26}" type="presParOf" srcId="{096B88DC-8A06-479F-9455-4B8E8DB01ACC}" destId="{70F45416-27A9-4C3F-AB97-3D5DD3F5C48D}" srcOrd="1" destOrd="0" presId="urn:microsoft.com/office/officeart/2008/layout/PictureStrips"/>
    <dgm:cxn modelId="{26645DE9-453F-4264-87C9-9236C0D074FA}" type="presParOf" srcId="{E9486B04-217D-4041-9529-5A0B8653BEB8}" destId="{1F90A9FD-F011-431B-94ED-19E333F07C2C}" srcOrd="27" destOrd="0" presId="urn:microsoft.com/office/officeart/2008/layout/PictureStrips"/>
    <dgm:cxn modelId="{3FE1A950-9A74-408F-8C21-5DDA2D84188B}" type="presParOf" srcId="{E9486B04-217D-4041-9529-5A0B8653BEB8}" destId="{1FCD75FE-D0F3-4D4B-A362-5F2E19CA92B5}" srcOrd="28" destOrd="0" presId="urn:microsoft.com/office/officeart/2008/layout/PictureStrips"/>
    <dgm:cxn modelId="{81022D34-2EF1-42DB-BABC-477F449221A4}" type="presParOf" srcId="{1FCD75FE-D0F3-4D4B-A362-5F2E19CA92B5}" destId="{64BB4ECA-4EC2-43BD-9D59-2982CA370DA8}" srcOrd="0" destOrd="0" presId="urn:microsoft.com/office/officeart/2008/layout/PictureStrips"/>
    <dgm:cxn modelId="{C33084BF-9855-4FA4-B8BE-3E9A28FADFCA}" type="presParOf" srcId="{1FCD75FE-D0F3-4D4B-A362-5F2E19CA92B5}" destId="{1168183E-CDEE-49D8-B5E5-22111083624F}" srcOrd="1" destOrd="0" presId="urn:microsoft.com/office/officeart/2008/layout/PictureStrips"/>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831E1C3-D0BB-4406-9C3D-1BCBA77F4715}">
      <dsp:nvSpPr>
        <dsp:cNvPr id="0" name=""/>
        <dsp:cNvSpPr/>
      </dsp:nvSpPr>
      <dsp:spPr>
        <a:xfrm>
          <a:off x="357388" y="224819"/>
          <a:ext cx="2300453" cy="718891"/>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86929" tIns="41910" rIns="41910" bIns="41910" numCol="1" spcCol="1270" anchor="ctr" anchorCtr="0">
          <a:noAutofit/>
        </a:bodyPr>
        <a:lstStyle/>
        <a:p>
          <a:pPr marL="0" lvl="0" indent="0" algn="l" defTabSz="488950">
            <a:lnSpc>
              <a:spcPct val="90000"/>
            </a:lnSpc>
            <a:spcBef>
              <a:spcPct val="0"/>
            </a:spcBef>
            <a:spcAft>
              <a:spcPct val="35000"/>
            </a:spcAft>
            <a:buNone/>
          </a:pPr>
          <a:r>
            <a:rPr lang="es-CL" sz="1100" kern="1200" dirty="0"/>
            <a:t>Comisión Nacional de los Mercados y la Competencia (CNMC) - España</a:t>
          </a:r>
        </a:p>
      </dsp:txBody>
      <dsp:txXfrm>
        <a:off x="357388" y="224819"/>
        <a:ext cx="2300453" cy="718891"/>
      </dsp:txXfrm>
    </dsp:sp>
    <dsp:sp modelId="{B36D6CCC-2BCE-4FEC-8AEB-62F41E554262}">
      <dsp:nvSpPr>
        <dsp:cNvPr id="0" name=""/>
        <dsp:cNvSpPr/>
      </dsp:nvSpPr>
      <dsp:spPr>
        <a:xfrm>
          <a:off x="261536" y="120979"/>
          <a:ext cx="503224" cy="754836"/>
        </a:xfrm>
        <a:prstGeom prst="rect">
          <a:avLst/>
        </a:prstGeom>
        <a:blipFill dpi="0" rotWithShape="1">
          <a:blip xmlns:r="http://schemas.openxmlformats.org/officeDocument/2006/relationships" r:embed="rId1" cstate="print">
            <a:extLst>
              <a:ext uri="{28A0092B-C50C-407E-A947-70E740481C1C}">
                <a14:useLocalDpi xmlns:a14="http://schemas.microsoft.com/office/drawing/2010/main" val="0"/>
              </a:ext>
            </a:extLst>
          </a:blip>
          <a:srcRect/>
          <a:stretch>
            <a:fillRect t="23307" b="23307"/>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0BAAED4-DC57-4A07-8C28-4ED928DC4456}">
      <dsp:nvSpPr>
        <dsp:cNvPr id="0" name=""/>
        <dsp:cNvSpPr/>
      </dsp:nvSpPr>
      <dsp:spPr>
        <a:xfrm>
          <a:off x="2894143" y="224819"/>
          <a:ext cx="2300453" cy="718891"/>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86929" tIns="41910" rIns="41910" bIns="41910" numCol="1" spcCol="1270" anchor="ctr" anchorCtr="0">
          <a:noAutofit/>
        </a:bodyPr>
        <a:lstStyle/>
        <a:p>
          <a:pPr marL="0" lvl="0" indent="0" algn="l" defTabSz="488950">
            <a:lnSpc>
              <a:spcPct val="90000"/>
            </a:lnSpc>
            <a:spcBef>
              <a:spcPct val="0"/>
            </a:spcBef>
            <a:spcAft>
              <a:spcPct val="35000"/>
            </a:spcAft>
            <a:buNone/>
          </a:pPr>
          <a:r>
            <a:rPr lang="es-CL" sz="1100" kern="1200" dirty="0"/>
            <a:t>Comisión Reguladora de Energía  (CRE) – México</a:t>
          </a:r>
        </a:p>
      </dsp:txBody>
      <dsp:txXfrm>
        <a:off x="2894143" y="224819"/>
        <a:ext cx="2300453" cy="718891"/>
      </dsp:txXfrm>
    </dsp:sp>
    <dsp:sp modelId="{004B8966-AFA0-4439-909C-C1ECF0A54C4E}">
      <dsp:nvSpPr>
        <dsp:cNvPr id="0" name=""/>
        <dsp:cNvSpPr/>
      </dsp:nvSpPr>
      <dsp:spPr>
        <a:xfrm>
          <a:off x="2798291" y="120979"/>
          <a:ext cx="503224" cy="754836"/>
        </a:xfrm>
        <a:prstGeom prst="rect">
          <a:avLst/>
        </a:prstGeom>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t="32359" b="32359"/>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BBD62CB-10DC-48E9-8EB7-ABC1CA271F7E}">
      <dsp:nvSpPr>
        <dsp:cNvPr id="0" name=""/>
        <dsp:cNvSpPr/>
      </dsp:nvSpPr>
      <dsp:spPr>
        <a:xfrm>
          <a:off x="5430898" y="226397"/>
          <a:ext cx="2300453" cy="718891"/>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86929" tIns="41910" rIns="41910" bIns="41910" numCol="1" spcCol="1270" anchor="ctr" anchorCtr="0">
          <a:noAutofit/>
        </a:bodyPr>
        <a:lstStyle/>
        <a:p>
          <a:pPr marL="0" lvl="0" indent="0" algn="l" defTabSz="488950">
            <a:lnSpc>
              <a:spcPct val="90000"/>
            </a:lnSpc>
            <a:spcBef>
              <a:spcPct val="0"/>
            </a:spcBef>
            <a:spcAft>
              <a:spcPct val="35000"/>
            </a:spcAft>
            <a:buNone/>
          </a:pPr>
          <a:r>
            <a:rPr lang="es-CL" sz="1100" kern="1200" dirty="0"/>
            <a:t>Organismo Supervisor de Inversión en Energía y Minería (OSINERGMIN) – Perú</a:t>
          </a:r>
        </a:p>
      </dsp:txBody>
      <dsp:txXfrm>
        <a:off x="5430898" y="226397"/>
        <a:ext cx="2300453" cy="718891"/>
      </dsp:txXfrm>
    </dsp:sp>
    <dsp:sp modelId="{729F8CEF-38C1-45A6-997E-84D1BDF97C90}">
      <dsp:nvSpPr>
        <dsp:cNvPr id="0" name=""/>
        <dsp:cNvSpPr/>
      </dsp:nvSpPr>
      <dsp:spPr>
        <a:xfrm>
          <a:off x="5335046" y="119402"/>
          <a:ext cx="503224" cy="761146"/>
        </a:xfrm>
        <a:prstGeom prst="rect">
          <a:avLst/>
        </a:prstGeom>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t="19305" b="19305"/>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72C562F-9BD1-4A50-B757-EECE4EDDC507}">
      <dsp:nvSpPr>
        <dsp:cNvPr id="0" name=""/>
        <dsp:cNvSpPr/>
      </dsp:nvSpPr>
      <dsp:spPr>
        <a:xfrm>
          <a:off x="357388" y="1131402"/>
          <a:ext cx="2300453" cy="718891"/>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86929" tIns="41910" rIns="41910" bIns="41910" numCol="1" spcCol="1270" anchor="ctr" anchorCtr="0">
          <a:noAutofit/>
        </a:bodyPr>
        <a:lstStyle/>
        <a:p>
          <a:pPr marL="0" lvl="0" indent="0" algn="l" defTabSz="488950">
            <a:lnSpc>
              <a:spcPct val="90000"/>
            </a:lnSpc>
            <a:spcBef>
              <a:spcPct val="0"/>
            </a:spcBef>
            <a:spcAft>
              <a:spcPct val="35000"/>
            </a:spcAft>
            <a:buNone/>
          </a:pPr>
          <a:r>
            <a:rPr lang="es-CL" sz="1100" kern="1200" dirty="0"/>
            <a:t>Superintendencia de Electricidad (SIE) – Republica Dominicana</a:t>
          </a:r>
        </a:p>
      </dsp:txBody>
      <dsp:txXfrm>
        <a:off x="357388" y="1131402"/>
        <a:ext cx="2300453" cy="718891"/>
      </dsp:txXfrm>
    </dsp:sp>
    <dsp:sp modelId="{3D309B02-A021-45F8-B8B2-31EE9C5B833B}">
      <dsp:nvSpPr>
        <dsp:cNvPr id="0" name=""/>
        <dsp:cNvSpPr/>
      </dsp:nvSpPr>
      <dsp:spPr>
        <a:xfrm>
          <a:off x="261536" y="1027562"/>
          <a:ext cx="503224" cy="754836"/>
        </a:xfrm>
        <a:prstGeom prst="rect">
          <a:avLst/>
        </a:prstGeom>
        <a:blipFill dpi="0" rotWithShape="1">
          <a:blip xmlns:r="http://schemas.openxmlformats.org/officeDocument/2006/relationships" r:embed="rId4" cstate="print">
            <a:extLst>
              <a:ext uri="{28A0092B-C50C-407E-A947-70E740481C1C}">
                <a14:useLocalDpi xmlns:a14="http://schemas.microsoft.com/office/drawing/2010/main" val="0"/>
              </a:ext>
            </a:extLst>
          </a:blip>
          <a:srcRect/>
          <a:stretch>
            <a:fillRect t="32908" b="32908"/>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FC5B81B-49C0-49DD-B43D-E13FF5723DFD}">
      <dsp:nvSpPr>
        <dsp:cNvPr id="0" name=""/>
        <dsp:cNvSpPr/>
      </dsp:nvSpPr>
      <dsp:spPr>
        <a:xfrm>
          <a:off x="2894143" y="1131402"/>
          <a:ext cx="2300453" cy="718891"/>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86929" tIns="41910" rIns="41910" bIns="41910" numCol="1" spcCol="1270" anchor="ctr" anchorCtr="0">
          <a:noAutofit/>
        </a:bodyPr>
        <a:lstStyle/>
        <a:p>
          <a:pPr marL="0" lvl="0" indent="0" algn="l" defTabSz="488950">
            <a:lnSpc>
              <a:spcPct val="90000"/>
            </a:lnSpc>
            <a:spcBef>
              <a:spcPct val="0"/>
            </a:spcBef>
            <a:spcAft>
              <a:spcPct val="35000"/>
            </a:spcAft>
            <a:buNone/>
          </a:pPr>
          <a:r>
            <a:rPr lang="es-CL" sz="1100" kern="1200" dirty="0"/>
            <a:t>Autoridad Nacional de los Servicios Públicos (ASEP) – Panamá</a:t>
          </a:r>
        </a:p>
      </dsp:txBody>
      <dsp:txXfrm>
        <a:off x="2894143" y="1131402"/>
        <a:ext cx="2300453" cy="718891"/>
      </dsp:txXfrm>
    </dsp:sp>
    <dsp:sp modelId="{0298A42B-6974-4413-824A-550F36ABBCC5}">
      <dsp:nvSpPr>
        <dsp:cNvPr id="0" name=""/>
        <dsp:cNvSpPr/>
      </dsp:nvSpPr>
      <dsp:spPr>
        <a:xfrm>
          <a:off x="2798291" y="1027562"/>
          <a:ext cx="503224" cy="754836"/>
        </a:xfrm>
        <a:prstGeom prst="rect">
          <a:avLst/>
        </a:prstGeom>
        <a:blipFill dpi="0" rotWithShape="1">
          <a:blip xmlns:r="http://schemas.openxmlformats.org/officeDocument/2006/relationships" r:embed="rId5">
            <a:extLst>
              <a:ext uri="{28A0092B-C50C-407E-A947-70E740481C1C}">
                <a14:useLocalDpi xmlns:a14="http://schemas.microsoft.com/office/drawing/2010/main" val="0"/>
              </a:ext>
            </a:extLst>
          </a:blip>
          <a:srcRect/>
          <a:stretch>
            <a:fillRect t="16667" b="16667"/>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CEE85D2-A01B-468E-B488-3A61B2117763}">
      <dsp:nvSpPr>
        <dsp:cNvPr id="0" name=""/>
        <dsp:cNvSpPr/>
      </dsp:nvSpPr>
      <dsp:spPr>
        <a:xfrm>
          <a:off x="5430898" y="1131402"/>
          <a:ext cx="2300453" cy="718891"/>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86929" tIns="41910" rIns="41910" bIns="41910" numCol="1" spcCol="1270" anchor="ctr" anchorCtr="0">
          <a:noAutofit/>
        </a:bodyPr>
        <a:lstStyle/>
        <a:p>
          <a:pPr marL="0" lvl="0" indent="0" algn="l" defTabSz="488950">
            <a:lnSpc>
              <a:spcPct val="90000"/>
            </a:lnSpc>
            <a:spcBef>
              <a:spcPct val="0"/>
            </a:spcBef>
            <a:spcAft>
              <a:spcPct val="35000"/>
            </a:spcAft>
            <a:buNone/>
          </a:pPr>
          <a:r>
            <a:rPr lang="es-CL" sz="1100" kern="1200" dirty="0"/>
            <a:t>Autoridad de Fiscalización y Control Social de Electricidad (AE) – Bolivia.</a:t>
          </a:r>
        </a:p>
      </dsp:txBody>
      <dsp:txXfrm>
        <a:off x="5430898" y="1131402"/>
        <a:ext cx="2300453" cy="718891"/>
      </dsp:txXfrm>
    </dsp:sp>
    <dsp:sp modelId="{5DA78F21-9897-49AA-8E76-10DD89D2687D}">
      <dsp:nvSpPr>
        <dsp:cNvPr id="0" name=""/>
        <dsp:cNvSpPr/>
      </dsp:nvSpPr>
      <dsp:spPr>
        <a:xfrm>
          <a:off x="5335046" y="1027562"/>
          <a:ext cx="503224" cy="754836"/>
        </a:xfrm>
        <a:prstGeom prst="rect">
          <a:avLst/>
        </a:prstGeom>
        <a:blipFill dpi="0" rotWithShape="1">
          <a:blip xmlns:r="http://schemas.openxmlformats.org/officeDocument/2006/relationships" r:embed="rId6" cstate="print">
            <a:extLst>
              <a:ext uri="{28A0092B-C50C-407E-A947-70E740481C1C}">
                <a14:useLocalDpi xmlns:a14="http://schemas.microsoft.com/office/drawing/2010/main" val="0"/>
              </a:ext>
            </a:extLst>
          </a:blip>
          <a:srcRect/>
          <a:stretch>
            <a:fillRect t="26470" b="2647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ECCAEEB-1E32-410F-AD10-732DCCE7D8AD}">
      <dsp:nvSpPr>
        <dsp:cNvPr id="0" name=""/>
        <dsp:cNvSpPr/>
      </dsp:nvSpPr>
      <dsp:spPr>
        <a:xfrm>
          <a:off x="357388" y="2036406"/>
          <a:ext cx="2300453" cy="718891"/>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86929" tIns="41910" rIns="41910" bIns="41910" numCol="1" spcCol="1270" anchor="ctr" anchorCtr="0">
          <a:noAutofit/>
        </a:bodyPr>
        <a:lstStyle/>
        <a:p>
          <a:pPr marL="0" lvl="0" indent="0" algn="l" defTabSz="488950">
            <a:lnSpc>
              <a:spcPct val="90000"/>
            </a:lnSpc>
            <a:spcBef>
              <a:spcPct val="0"/>
            </a:spcBef>
            <a:spcAft>
              <a:spcPct val="35000"/>
            </a:spcAft>
            <a:buNone/>
          </a:pPr>
          <a:r>
            <a:rPr lang="es-CL" sz="1100" kern="1200" dirty="0"/>
            <a:t>Comisión Nacional de Energía (CNE) – Chile</a:t>
          </a:r>
        </a:p>
      </dsp:txBody>
      <dsp:txXfrm>
        <a:off x="357388" y="2036406"/>
        <a:ext cx="2300453" cy="718891"/>
      </dsp:txXfrm>
    </dsp:sp>
    <dsp:sp modelId="{B63241A1-DF5A-4B2C-BBDA-35116999D21B}">
      <dsp:nvSpPr>
        <dsp:cNvPr id="0" name=""/>
        <dsp:cNvSpPr/>
      </dsp:nvSpPr>
      <dsp:spPr>
        <a:xfrm>
          <a:off x="261536" y="1932566"/>
          <a:ext cx="503224" cy="754836"/>
        </a:xfrm>
        <a:prstGeom prst="rect">
          <a:avLst/>
        </a:prstGeom>
        <a:blipFill dpi="0" rotWithShape="1">
          <a:blip xmlns:r="http://schemas.openxmlformats.org/officeDocument/2006/relationships" r:embed="rId7" cstate="print">
            <a:extLst>
              <a:ext uri="{28A0092B-C50C-407E-A947-70E740481C1C}">
                <a14:useLocalDpi xmlns:a14="http://schemas.microsoft.com/office/drawing/2010/main" val="0"/>
              </a:ext>
            </a:extLst>
          </a:blip>
          <a:srcRect/>
          <a:stretch>
            <a:fillRect t="16667" b="16667"/>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6ED1522-1697-474E-B4D2-D49D342F9B77}">
      <dsp:nvSpPr>
        <dsp:cNvPr id="0" name=""/>
        <dsp:cNvSpPr/>
      </dsp:nvSpPr>
      <dsp:spPr>
        <a:xfrm>
          <a:off x="2894143" y="2036406"/>
          <a:ext cx="2300453" cy="718891"/>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86929" tIns="41910" rIns="41910" bIns="41910" numCol="1" spcCol="1270" anchor="ctr" anchorCtr="0">
          <a:noAutofit/>
        </a:bodyPr>
        <a:lstStyle/>
        <a:p>
          <a:pPr marL="0" lvl="0" indent="0" algn="l" defTabSz="488950">
            <a:lnSpc>
              <a:spcPct val="90000"/>
            </a:lnSpc>
            <a:spcBef>
              <a:spcPct val="0"/>
            </a:spcBef>
            <a:spcAft>
              <a:spcPct val="35000"/>
            </a:spcAft>
            <a:buNone/>
          </a:pPr>
          <a:r>
            <a:rPr lang="es-CL" sz="1100" kern="1200" dirty="0"/>
            <a:t>Comisión Nacional de Energía Eléctrica (CNEE) – Guatemala</a:t>
          </a:r>
        </a:p>
      </dsp:txBody>
      <dsp:txXfrm>
        <a:off x="2894143" y="2036406"/>
        <a:ext cx="2300453" cy="718891"/>
      </dsp:txXfrm>
    </dsp:sp>
    <dsp:sp modelId="{293188F4-A41E-49E2-AAB9-4ABAB8D90042}">
      <dsp:nvSpPr>
        <dsp:cNvPr id="0" name=""/>
        <dsp:cNvSpPr/>
      </dsp:nvSpPr>
      <dsp:spPr>
        <a:xfrm>
          <a:off x="2798291" y="1932566"/>
          <a:ext cx="503224" cy="754836"/>
        </a:xfrm>
        <a:prstGeom prst="rect">
          <a:avLst/>
        </a:prstGeom>
        <a:blipFill rotWithShape="1">
          <a:blip xmlns:r="http://schemas.openxmlformats.org/officeDocument/2006/relationships" r:embed="rId8"/>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68D013C-3EC3-4ACB-8834-499672A1B798}">
      <dsp:nvSpPr>
        <dsp:cNvPr id="0" name=""/>
        <dsp:cNvSpPr/>
      </dsp:nvSpPr>
      <dsp:spPr>
        <a:xfrm>
          <a:off x="5430898" y="2036406"/>
          <a:ext cx="2300453" cy="718891"/>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86929" tIns="41910" rIns="41910" bIns="41910" numCol="1" spcCol="1270" anchor="ctr" anchorCtr="0">
          <a:noAutofit/>
        </a:bodyPr>
        <a:lstStyle/>
        <a:p>
          <a:pPr marL="0" lvl="0" indent="0" algn="l" defTabSz="488950">
            <a:lnSpc>
              <a:spcPct val="90000"/>
            </a:lnSpc>
            <a:spcBef>
              <a:spcPct val="0"/>
            </a:spcBef>
            <a:spcAft>
              <a:spcPct val="35000"/>
            </a:spcAft>
            <a:buNone/>
          </a:pPr>
          <a:r>
            <a:rPr lang="es-CL" sz="1100" kern="1200" dirty="0"/>
            <a:t>Entidad reguladora dos </a:t>
          </a:r>
          <a:r>
            <a:rPr lang="es-CL" sz="1100" kern="1200" dirty="0" err="1"/>
            <a:t>Servicos</a:t>
          </a:r>
          <a:r>
            <a:rPr lang="es-CL" sz="1100" kern="1200" dirty="0"/>
            <a:t> </a:t>
          </a:r>
          <a:r>
            <a:rPr lang="es-CL" sz="1100" kern="1200" dirty="0" err="1"/>
            <a:t>Energeticos</a:t>
          </a:r>
          <a:r>
            <a:rPr lang="es-CL" sz="1100" kern="1200" dirty="0"/>
            <a:t> (ERSE) – Portugal</a:t>
          </a:r>
        </a:p>
      </dsp:txBody>
      <dsp:txXfrm>
        <a:off x="5430898" y="2036406"/>
        <a:ext cx="2300453" cy="718891"/>
      </dsp:txXfrm>
    </dsp:sp>
    <dsp:sp modelId="{08AABA81-7C6A-4102-A510-A752655EC71C}">
      <dsp:nvSpPr>
        <dsp:cNvPr id="0" name=""/>
        <dsp:cNvSpPr/>
      </dsp:nvSpPr>
      <dsp:spPr>
        <a:xfrm>
          <a:off x="5335046" y="1932566"/>
          <a:ext cx="503224" cy="754836"/>
        </a:xfrm>
        <a:prstGeom prst="rect">
          <a:avLst/>
        </a:prstGeom>
        <a:blipFill rotWithShape="1">
          <a:blip xmlns:r="http://schemas.openxmlformats.org/officeDocument/2006/relationships" r:embed="rId9"/>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02A9E21-5B76-4320-93EE-F6EE0741BB6A}">
      <dsp:nvSpPr>
        <dsp:cNvPr id="0" name=""/>
        <dsp:cNvSpPr/>
      </dsp:nvSpPr>
      <dsp:spPr>
        <a:xfrm>
          <a:off x="357388" y="2941411"/>
          <a:ext cx="2300453" cy="718891"/>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86929" tIns="41910" rIns="41910" bIns="41910" numCol="1" spcCol="1270" anchor="ctr" anchorCtr="0">
          <a:noAutofit/>
        </a:bodyPr>
        <a:lstStyle/>
        <a:p>
          <a:pPr marL="0" lvl="0" indent="0" algn="l" defTabSz="488950">
            <a:lnSpc>
              <a:spcPct val="90000"/>
            </a:lnSpc>
            <a:spcBef>
              <a:spcPct val="0"/>
            </a:spcBef>
            <a:spcAft>
              <a:spcPct val="35000"/>
            </a:spcAft>
            <a:buNone/>
          </a:pPr>
          <a:r>
            <a:rPr lang="es-CL" sz="1100" kern="1200" dirty="0"/>
            <a:t>Ente Regulador Nacional de Gas (ENARGAS) – Argentina</a:t>
          </a:r>
        </a:p>
      </dsp:txBody>
      <dsp:txXfrm>
        <a:off x="357388" y="2941411"/>
        <a:ext cx="2300453" cy="718891"/>
      </dsp:txXfrm>
    </dsp:sp>
    <dsp:sp modelId="{D4F2CC21-C551-4637-8297-8850A46D6DD9}">
      <dsp:nvSpPr>
        <dsp:cNvPr id="0" name=""/>
        <dsp:cNvSpPr/>
      </dsp:nvSpPr>
      <dsp:spPr>
        <a:xfrm>
          <a:off x="261536" y="2837571"/>
          <a:ext cx="503224" cy="754836"/>
        </a:xfrm>
        <a:prstGeom prst="rect">
          <a:avLst/>
        </a:prstGeom>
        <a:blipFill rotWithShape="1">
          <a:blip xmlns:r="http://schemas.openxmlformats.org/officeDocument/2006/relationships" r:embed="rId10"/>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724B010-B8CC-41D0-9375-EA50154B6AD0}">
      <dsp:nvSpPr>
        <dsp:cNvPr id="0" name=""/>
        <dsp:cNvSpPr/>
      </dsp:nvSpPr>
      <dsp:spPr>
        <a:xfrm>
          <a:off x="2894143" y="2941411"/>
          <a:ext cx="2300453" cy="718891"/>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86929" tIns="41910" rIns="41910" bIns="41910" numCol="1" spcCol="1270" anchor="ctr" anchorCtr="0">
          <a:noAutofit/>
        </a:bodyPr>
        <a:lstStyle/>
        <a:p>
          <a:pPr marL="0" lvl="0" indent="0" algn="l" defTabSz="488950">
            <a:lnSpc>
              <a:spcPct val="90000"/>
            </a:lnSpc>
            <a:spcBef>
              <a:spcPct val="0"/>
            </a:spcBef>
            <a:spcAft>
              <a:spcPct val="35000"/>
            </a:spcAft>
            <a:buNone/>
          </a:pPr>
          <a:r>
            <a:rPr lang="pt-BR" sz="1100" kern="1200" dirty="0"/>
            <a:t>Agência Nacional do Petróleo, Gás Natural e Biocombustíveis (ANP) – Brasil</a:t>
          </a:r>
          <a:endParaRPr lang="es-CL" sz="1100" kern="1200" dirty="0"/>
        </a:p>
      </dsp:txBody>
      <dsp:txXfrm>
        <a:off x="2894143" y="2941411"/>
        <a:ext cx="2300453" cy="718891"/>
      </dsp:txXfrm>
    </dsp:sp>
    <dsp:sp modelId="{03EBE865-BE9E-49D8-8AC8-D8E1DA23217E}">
      <dsp:nvSpPr>
        <dsp:cNvPr id="0" name=""/>
        <dsp:cNvSpPr/>
      </dsp:nvSpPr>
      <dsp:spPr>
        <a:xfrm>
          <a:off x="2798291" y="2837571"/>
          <a:ext cx="503224" cy="754836"/>
        </a:xfrm>
        <a:prstGeom prst="rect">
          <a:avLst/>
        </a:prstGeom>
        <a:blipFill rotWithShape="1">
          <a:blip xmlns:r="http://schemas.openxmlformats.org/officeDocument/2006/relationships" r:embed="rId11"/>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ED76DB8-1CAE-4A5C-99CC-DA4D8916BDEC}">
      <dsp:nvSpPr>
        <dsp:cNvPr id="0" name=""/>
        <dsp:cNvSpPr/>
      </dsp:nvSpPr>
      <dsp:spPr>
        <a:xfrm>
          <a:off x="5430898" y="2941411"/>
          <a:ext cx="2300453" cy="718891"/>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86929" tIns="41910" rIns="41910" bIns="41910" numCol="1" spcCol="1270" anchor="ctr" anchorCtr="0">
          <a:noAutofit/>
        </a:bodyPr>
        <a:lstStyle/>
        <a:p>
          <a:pPr marL="0" lvl="0" indent="0" algn="l" defTabSz="488950">
            <a:lnSpc>
              <a:spcPct val="90000"/>
            </a:lnSpc>
            <a:spcBef>
              <a:spcPct val="0"/>
            </a:spcBef>
            <a:spcAft>
              <a:spcPct val="35000"/>
            </a:spcAft>
            <a:buNone/>
          </a:pPr>
          <a:r>
            <a:rPr lang="es-CL" sz="1100" kern="1200" dirty="0"/>
            <a:t>Comisión de Regulación de Energía y Gas ( </a:t>
          </a:r>
          <a:r>
            <a:rPr lang="es-CL" sz="1100" kern="1200" dirty="0" err="1"/>
            <a:t>creg</a:t>
          </a:r>
          <a:r>
            <a:rPr lang="es-CL" sz="1100" kern="1200" dirty="0"/>
            <a:t>) – Colombia</a:t>
          </a:r>
        </a:p>
      </dsp:txBody>
      <dsp:txXfrm>
        <a:off x="5430898" y="2941411"/>
        <a:ext cx="2300453" cy="718891"/>
      </dsp:txXfrm>
    </dsp:sp>
    <dsp:sp modelId="{41C48DDC-0B9A-4CCC-8033-06D1BE162F2C}">
      <dsp:nvSpPr>
        <dsp:cNvPr id="0" name=""/>
        <dsp:cNvSpPr/>
      </dsp:nvSpPr>
      <dsp:spPr>
        <a:xfrm>
          <a:off x="5335046" y="2837571"/>
          <a:ext cx="503224" cy="754836"/>
        </a:xfrm>
        <a:prstGeom prst="rect">
          <a:avLst/>
        </a:prstGeom>
        <a:blipFill rotWithShape="1">
          <a:blip xmlns:r="http://schemas.openxmlformats.org/officeDocument/2006/relationships" r:embed="rId12"/>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A181FFB-A750-4488-85A9-980934941D57}">
      <dsp:nvSpPr>
        <dsp:cNvPr id="0" name=""/>
        <dsp:cNvSpPr/>
      </dsp:nvSpPr>
      <dsp:spPr>
        <a:xfrm>
          <a:off x="357388" y="3846416"/>
          <a:ext cx="2300453" cy="718891"/>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86929" tIns="41910" rIns="41910" bIns="41910" numCol="1" spcCol="1270" anchor="ctr" anchorCtr="0">
          <a:noAutofit/>
        </a:bodyPr>
        <a:lstStyle/>
        <a:p>
          <a:pPr marL="0" lvl="0" indent="0" algn="l" defTabSz="488950">
            <a:lnSpc>
              <a:spcPct val="90000"/>
            </a:lnSpc>
            <a:spcBef>
              <a:spcPct val="0"/>
            </a:spcBef>
            <a:spcAft>
              <a:spcPct val="35000"/>
            </a:spcAft>
            <a:buNone/>
          </a:pPr>
          <a:r>
            <a:rPr lang="es-CL" sz="1100" b="0" i="0" u="none" kern="1200" dirty="0"/>
            <a:t>Comisión de Energía de Puerto Rico</a:t>
          </a:r>
          <a:endParaRPr lang="es-CL" sz="1100" kern="1200" dirty="0"/>
        </a:p>
      </dsp:txBody>
      <dsp:txXfrm>
        <a:off x="357388" y="3846416"/>
        <a:ext cx="2300453" cy="718891"/>
      </dsp:txXfrm>
    </dsp:sp>
    <dsp:sp modelId="{F3DC912E-3FBA-46A1-B8B9-8435D19AF9EF}">
      <dsp:nvSpPr>
        <dsp:cNvPr id="0" name=""/>
        <dsp:cNvSpPr/>
      </dsp:nvSpPr>
      <dsp:spPr>
        <a:xfrm>
          <a:off x="261536" y="3742576"/>
          <a:ext cx="503224" cy="754836"/>
        </a:xfrm>
        <a:prstGeom prst="rect">
          <a:avLst/>
        </a:prstGeom>
        <a:blipFill rotWithShape="1">
          <a:blip xmlns:r="http://schemas.openxmlformats.org/officeDocument/2006/relationships" r:embed="rId13"/>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B34BF5A-2E3A-4C75-AB12-CD5255791DEE}">
      <dsp:nvSpPr>
        <dsp:cNvPr id="0" name=""/>
        <dsp:cNvSpPr/>
      </dsp:nvSpPr>
      <dsp:spPr>
        <a:xfrm>
          <a:off x="2894143" y="3846416"/>
          <a:ext cx="2300453" cy="718891"/>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86929" tIns="41910" rIns="41910" bIns="41910" numCol="1" spcCol="1270" anchor="ctr" anchorCtr="0">
          <a:noAutofit/>
        </a:bodyPr>
        <a:lstStyle/>
        <a:p>
          <a:pPr marL="0" lvl="0" indent="0" algn="l" defTabSz="488950">
            <a:lnSpc>
              <a:spcPct val="90000"/>
            </a:lnSpc>
            <a:spcBef>
              <a:spcPct val="0"/>
            </a:spcBef>
            <a:spcAft>
              <a:spcPct val="35000"/>
            </a:spcAft>
            <a:buNone/>
          </a:pPr>
          <a:r>
            <a:rPr lang="es-CL" sz="1100" b="0" i="0" u="none" kern="1200" dirty="0"/>
            <a:t>Unidad Reguladora de Servicios de Energía y Agua (URSEA) – Uruguay</a:t>
          </a:r>
          <a:endParaRPr lang="es-CL" sz="1100" kern="1200" dirty="0"/>
        </a:p>
      </dsp:txBody>
      <dsp:txXfrm>
        <a:off x="2894143" y="3846416"/>
        <a:ext cx="2300453" cy="718891"/>
      </dsp:txXfrm>
    </dsp:sp>
    <dsp:sp modelId="{70F45416-27A9-4C3F-AB97-3D5DD3F5C48D}">
      <dsp:nvSpPr>
        <dsp:cNvPr id="0" name=""/>
        <dsp:cNvSpPr/>
      </dsp:nvSpPr>
      <dsp:spPr>
        <a:xfrm>
          <a:off x="2798291" y="3742576"/>
          <a:ext cx="503224" cy="754836"/>
        </a:xfrm>
        <a:prstGeom prst="rect">
          <a:avLst/>
        </a:prstGeom>
        <a:blipFill rotWithShape="1">
          <a:blip xmlns:r="http://schemas.openxmlformats.org/officeDocument/2006/relationships" r:embed="rId14"/>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4BB4ECA-4EC2-43BD-9D59-2982CA370DA8}">
      <dsp:nvSpPr>
        <dsp:cNvPr id="0" name=""/>
        <dsp:cNvSpPr/>
      </dsp:nvSpPr>
      <dsp:spPr>
        <a:xfrm>
          <a:off x="5430898" y="3846416"/>
          <a:ext cx="2300453" cy="718891"/>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86929" tIns="41910" rIns="41910" bIns="41910" numCol="1" spcCol="1270" anchor="ctr" anchorCtr="0">
          <a:noAutofit/>
        </a:bodyPr>
        <a:lstStyle/>
        <a:p>
          <a:pPr marL="0" lvl="0" indent="0" algn="l" defTabSz="488950">
            <a:lnSpc>
              <a:spcPct val="90000"/>
            </a:lnSpc>
            <a:spcBef>
              <a:spcPct val="0"/>
            </a:spcBef>
            <a:spcAft>
              <a:spcPct val="35000"/>
            </a:spcAft>
            <a:buNone/>
          </a:pPr>
          <a:r>
            <a:rPr lang="es-CL" sz="1100" b="0" i="0" u="none" kern="1200" dirty="0"/>
            <a:t>Autoridad Reguladora de los Servicios Públicos (ARESEP) – Costa Rica</a:t>
          </a:r>
          <a:endParaRPr lang="es-CL" sz="1100" kern="1200" dirty="0"/>
        </a:p>
      </dsp:txBody>
      <dsp:txXfrm>
        <a:off x="5430898" y="3846416"/>
        <a:ext cx="2300453" cy="718891"/>
      </dsp:txXfrm>
    </dsp:sp>
    <dsp:sp modelId="{1168183E-CDEE-49D8-B5E5-22111083624F}">
      <dsp:nvSpPr>
        <dsp:cNvPr id="0" name=""/>
        <dsp:cNvSpPr/>
      </dsp:nvSpPr>
      <dsp:spPr>
        <a:xfrm>
          <a:off x="5335046" y="3742576"/>
          <a:ext cx="503224" cy="754836"/>
        </a:xfrm>
        <a:prstGeom prst="rect">
          <a:avLst/>
        </a:prstGeom>
        <a:blipFill rotWithShape="1">
          <a:blip xmlns:r="http://schemas.openxmlformats.org/officeDocument/2006/relationships" r:embed="rId15"/>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s-CL"/>
          </a:p>
        </p:txBody>
      </p:sp>
      <p:sp>
        <p:nvSpPr>
          <p:cNvPr id="3" name="2 Marcador de fecha"/>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462D7BC3-B079-438B-8EB8-2907E2C2ACC7}" type="datetimeFigureOut">
              <a:rPr lang="es-CL" smtClean="0"/>
              <a:t>09-12-2020</a:t>
            </a:fld>
            <a:endParaRPr lang="es-CL"/>
          </a:p>
        </p:txBody>
      </p:sp>
      <p:sp>
        <p:nvSpPr>
          <p:cNvPr id="4" name="3 Marcador de pie de página"/>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s-CL"/>
          </a:p>
        </p:txBody>
      </p:sp>
      <p:sp>
        <p:nvSpPr>
          <p:cNvPr id="5" name="4 Marcador de número de diapositiva"/>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17DDE6EE-A44F-43EC-A3B8-929AA21F0F01}" type="slidenum">
              <a:rPr lang="es-CL" smtClean="0"/>
              <a:t>‹Nº›</a:t>
            </a:fld>
            <a:endParaRPr lang="es-CL"/>
          </a:p>
        </p:txBody>
      </p:sp>
    </p:spTree>
    <p:extLst>
      <p:ext uri="{BB962C8B-B14F-4D97-AF65-F5344CB8AC3E}">
        <p14:creationId xmlns:p14="http://schemas.microsoft.com/office/powerpoint/2010/main" val="33515179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3038604" cy="465266"/>
          </a:xfrm>
          <a:prstGeom prst="rect">
            <a:avLst/>
          </a:prstGeom>
        </p:spPr>
        <p:txBody>
          <a:bodyPr vert="horz" lIns="91440" tIns="45720" rIns="91440" bIns="45720" rtlCol="0"/>
          <a:lstStyle>
            <a:lvl1pPr algn="l" eaLnBrk="1" fontAlgn="auto" hangingPunct="1">
              <a:spcBef>
                <a:spcPts val="0"/>
              </a:spcBef>
              <a:spcAft>
                <a:spcPts val="0"/>
              </a:spcAft>
              <a:defRPr sz="1200">
                <a:latin typeface="+mn-lt"/>
                <a:cs typeface="+mn-cs"/>
              </a:defRPr>
            </a:lvl1pPr>
          </a:lstStyle>
          <a:p>
            <a:pPr>
              <a:defRPr/>
            </a:pPr>
            <a:endParaRPr lang="en-US"/>
          </a:p>
        </p:txBody>
      </p:sp>
      <p:sp>
        <p:nvSpPr>
          <p:cNvPr id="3" name="2 Marcador de fecha"/>
          <p:cNvSpPr>
            <a:spLocks noGrp="1"/>
          </p:cNvSpPr>
          <p:nvPr>
            <p:ph type="dt" idx="1"/>
          </p:nvPr>
        </p:nvSpPr>
        <p:spPr>
          <a:xfrm>
            <a:off x="3970159" y="0"/>
            <a:ext cx="3038604" cy="465266"/>
          </a:xfrm>
          <a:prstGeom prst="rect">
            <a:avLst/>
          </a:prstGeom>
        </p:spPr>
        <p:txBody>
          <a:bodyPr vert="horz" lIns="91440" tIns="45720" rIns="91440" bIns="45720" rtlCol="0"/>
          <a:lstStyle>
            <a:lvl1pPr algn="r" eaLnBrk="1" fontAlgn="auto" hangingPunct="1">
              <a:spcBef>
                <a:spcPts val="0"/>
              </a:spcBef>
              <a:spcAft>
                <a:spcPts val="0"/>
              </a:spcAft>
              <a:defRPr sz="1200">
                <a:latin typeface="+mn-lt"/>
                <a:cs typeface="+mn-cs"/>
              </a:defRPr>
            </a:lvl1pPr>
          </a:lstStyle>
          <a:p>
            <a:pPr>
              <a:defRPr/>
            </a:pPr>
            <a:fld id="{85E71527-585E-4E42-A50D-ECFA831F4423}" type="datetimeFigureOut">
              <a:rPr lang="en-US"/>
              <a:pPr>
                <a:defRPr/>
              </a:pPr>
              <a:t>12/9/2020</a:t>
            </a:fld>
            <a:endParaRPr lang="en-US"/>
          </a:p>
        </p:txBody>
      </p:sp>
      <p:sp>
        <p:nvSpPr>
          <p:cNvPr id="4" name="3 Marcador de imagen de diapositiva"/>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4 Marcador de notas"/>
          <p:cNvSpPr>
            <a:spLocks noGrp="1"/>
          </p:cNvSpPr>
          <p:nvPr>
            <p:ph type="body" sz="quarter" idx="3"/>
          </p:nvPr>
        </p:nvSpPr>
        <p:spPr>
          <a:xfrm>
            <a:off x="700713" y="4416311"/>
            <a:ext cx="5608975" cy="4182934"/>
          </a:xfrm>
          <a:prstGeom prst="rect">
            <a:avLst/>
          </a:prstGeom>
        </p:spPr>
        <p:txBody>
          <a:bodyPr vert="horz" lIns="91440" tIns="45720" rIns="91440" bIns="45720" rtlCol="0"/>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a:p>
            <a:pPr lvl="4"/>
            <a:r>
              <a:rPr lang="es-ES" noProof="0"/>
              <a:t>Quinto nivel</a:t>
            </a:r>
            <a:endParaRPr lang="en-US" noProof="0"/>
          </a:p>
        </p:txBody>
      </p:sp>
      <p:sp>
        <p:nvSpPr>
          <p:cNvPr id="6" name="5 Marcador de pie de página"/>
          <p:cNvSpPr>
            <a:spLocks noGrp="1"/>
          </p:cNvSpPr>
          <p:nvPr>
            <p:ph type="ftr" sz="quarter" idx="4"/>
          </p:nvPr>
        </p:nvSpPr>
        <p:spPr>
          <a:xfrm>
            <a:off x="0" y="8829648"/>
            <a:ext cx="3038604" cy="465266"/>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cs typeface="+mn-cs"/>
              </a:defRPr>
            </a:lvl1pPr>
          </a:lstStyle>
          <a:p>
            <a:pPr>
              <a:defRPr/>
            </a:pPr>
            <a:endParaRPr lang="en-US"/>
          </a:p>
        </p:txBody>
      </p:sp>
      <p:sp>
        <p:nvSpPr>
          <p:cNvPr id="7" name="6 Marcador de número de diapositiva"/>
          <p:cNvSpPr>
            <a:spLocks noGrp="1"/>
          </p:cNvSpPr>
          <p:nvPr>
            <p:ph type="sldNum" sz="quarter" idx="5"/>
          </p:nvPr>
        </p:nvSpPr>
        <p:spPr>
          <a:xfrm>
            <a:off x="3970159" y="8829648"/>
            <a:ext cx="3038604" cy="465266"/>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pPr>
              <a:defRPr/>
            </a:pPr>
            <a:fld id="{184EE884-97D2-4259-97A4-7F2728C1909E}" type="slidenum">
              <a:rPr lang="en-US" altLang="es-ES"/>
              <a:pPr>
                <a:defRPr/>
              </a:pPr>
              <a:t>‹Nº›</a:t>
            </a:fld>
            <a:endParaRPr lang="en-US" altLang="es-ES"/>
          </a:p>
        </p:txBody>
      </p:sp>
    </p:spTree>
    <p:extLst>
      <p:ext uri="{BB962C8B-B14F-4D97-AF65-F5344CB8AC3E}">
        <p14:creationId xmlns:p14="http://schemas.microsoft.com/office/powerpoint/2010/main" val="26569675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1 Marcador de imagen de diapositiva"/>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267" name="2 Marcador de notas"/>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s-ES" altLang="es-CL" dirty="0"/>
          </a:p>
        </p:txBody>
      </p:sp>
      <p:sp>
        <p:nvSpPr>
          <p:cNvPr id="11268" name="3 Marcador de número de diapositiva"/>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fld id="{C19DBD1C-447F-436B-9287-BB82BB6B5B25}" type="slidenum">
              <a:rPr lang="en-US" altLang="es-ES" smtClean="0">
                <a:solidFill>
                  <a:srgbClr val="000000"/>
                </a:solidFill>
              </a:rPr>
              <a:pPr/>
              <a:t>1</a:t>
            </a:fld>
            <a:endParaRPr lang="en-US" altLang="es-ES" dirty="0">
              <a:solidFill>
                <a:srgbClr val="000000"/>
              </a:solidFill>
            </a:endParaRPr>
          </a:p>
        </p:txBody>
      </p:sp>
    </p:spTree>
    <p:extLst>
      <p:ext uri="{BB962C8B-B14F-4D97-AF65-F5344CB8AC3E}">
        <p14:creationId xmlns:p14="http://schemas.microsoft.com/office/powerpoint/2010/main" val="3267108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Marcador de imagen de diapositiva 1">
            <a:extLst>
              <a:ext uri="{FF2B5EF4-FFF2-40B4-BE49-F238E27FC236}">
                <a16:creationId xmlns:a16="http://schemas.microsoft.com/office/drawing/2014/main" id="{6CD37C67-5327-4F7C-9769-DA9EEC737B99}"/>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Marcador de notas 2">
            <a:extLst>
              <a:ext uri="{FF2B5EF4-FFF2-40B4-BE49-F238E27FC236}">
                <a16:creationId xmlns:a16="http://schemas.microsoft.com/office/drawing/2014/main" id="{B84867F7-6556-46D4-BF3A-7EE003D0A4AB}"/>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CL" altLang="es-CL"/>
          </a:p>
        </p:txBody>
      </p:sp>
      <p:sp>
        <p:nvSpPr>
          <p:cNvPr id="8196" name="Marcador de número de diapositiva 3">
            <a:extLst>
              <a:ext uri="{FF2B5EF4-FFF2-40B4-BE49-F238E27FC236}">
                <a16:creationId xmlns:a16="http://schemas.microsoft.com/office/drawing/2014/main" id="{A093E872-3348-4264-AAF9-403B3F86AA78}"/>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fld id="{1D312485-08D9-466B-9411-B52F833B5482}" type="slidenum">
              <a:rPr lang="en-US" altLang="es-ES_tradnl"/>
              <a:pPr/>
              <a:t>2</a:t>
            </a:fld>
            <a:endParaRPr lang="en-US" altLang="es-ES_tradnl"/>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Marcador de imagen de diapositiva 1">
            <a:extLst>
              <a:ext uri="{FF2B5EF4-FFF2-40B4-BE49-F238E27FC236}">
                <a16:creationId xmlns:a16="http://schemas.microsoft.com/office/drawing/2014/main" id="{ED22AD7F-EF67-4A96-9730-50570E5760F7}"/>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9" name="Marcador de notas 2">
            <a:extLst>
              <a:ext uri="{FF2B5EF4-FFF2-40B4-BE49-F238E27FC236}">
                <a16:creationId xmlns:a16="http://schemas.microsoft.com/office/drawing/2014/main" id="{D75B792C-49C3-4AC4-9A43-80BA46C54ECD}"/>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s-CL" altLang="es-CL"/>
              <a:t>Ahora bien, ¿por qué blockchain en energía? ¿por qué blockchain en la CNE? </a:t>
            </a:r>
          </a:p>
        </p:txBody>
      </p:sp>
      <p:sp>
        <p:nvSpPr>
          <p:cNvPr id="14340" name="Marcador de número de diapositiva 3">
            <a:extLst>
              <a:ext uri="{FF2B5EF4-FFF2-40B4-BE49-F238E27FC236}">
                <a16:creationId xmlns:a16="http://schemas.microsoft.com/office/drawing/2014/main" id="{8C6F09F0-8E1F-4324-B3E4-9822E5FB1C51}"/>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B26E8A8-0A92-4557-88F0-E8536970BD30}" type="slidenum">
              <a:rPr kumimoji="0" lang="en-US" altLang="es-CL"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altLang="es-CL"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Marcador de imagen de diapositiva 1">
            <a:extLst>
              <a:ext uri="{FF2B5EF4-FFF2-40B4-BE49-F238E27FC236}">
                <a16:creationId xmlns:a16="http://schemas.microsoft.com/office/drawing/2014/main" id="{ED22AD7F-EF67-4A96-9730-50570E5760F7}"/>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9" name="Marcador de notas 2">
            <a:extLst>
              <a:ext uri="{FF2B5EF4-FFF2-40B4-BE49-F238E27FC236}">
                <a16:creationId xmlns:a16="http://schemas.microsoft.com/office/drawing/2014/main" id="{D75B792C-49C3-4AC4-9A43-80BA46C54ECD}"/>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s-CL" altLang="es-CL"/>
              <a:t>Ahora bien, ¿por qué blockchain en energía? ¿por qué blockchain en la CNE? </a:t>
            </a:r>
          </a:p>
        </p:txBody>
      </p:sp>
      <p:sp>
        <p:nvSpPr>
          <p:cNvPr id="14340" name="Marcador de número de diapositiva 3">
            <a:extLst>
              <a:ext uri="{FF2B5EF4-FFF2-40B4-BE49-F238E27FC236}">
                <a16:creationId xmlns:a16="http://schemas.microsoft.com/office/drawing/2014/main" id="{8C6F09F0-8E1F-4324-B3E4-9822E5FB1C51}"/>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B26E8A8-0A92-4557-88F0-E8536970BD30}" type="slidenum">
              <a:rPr kumimoji="0" lang="en-US" altLang="es-CL"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US" altLang="es-CL"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26960596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1 Marcador de imagen de diapositiva"/>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91" name="2 Marcador de notas"/>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s-ES" altLang="es-CL"/>
          </a:p>
        </p:txBody>
      </p:sp>
      <p:sp>
        <p:nvSpPr>
          <p:cNvPr id="12292" name="3 Marcador de número de diapositiva"/>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fld id="{2C3DD866-45D8-43D7-AA64-7729ED54D5BF}" type="slidenum">
              <a:rPr lang="en-US" altLang="es-ES" smtClean="0">
                <a:solidFill>
                  <a:srgbClr val="000000"/>
                </a:solidFill>
              </a:rPr>
              <a:pPr/>
              <a:t>13</a:t>
            </a:fld>
            <a:endParaRPr lang="en-US" altLang="es-ES">
              <a:solidFill>
                <a:srgbClr val="000000"/>
              </a:solidFill>
            </a:endParaRPr>
          </a:p>
        </p:txBody>
      </p:sp>
    </p:spTree>
    <p:extLst>
      <p:ext uri="{BB962C8B-B14F-4D97-AF65-F5344CB8AC3E}">
        <p14:creationId xmlns:p14="http://schemas.microsoft.com/office/powerpoint/2010/main" val="13555540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2130425"/>
            <a:ext cx="7772400" cy="1470025"/>
          </a:xfrm>
        </p:spPr>
        <p:txBody>
          <a:bodyPr/>
          <a:lstStyle/>
          <a:p>
            <a:r>
              <a:rPr lang="es-ES"/>
              <a:t>Haga clic para modificar el estilo de título del patrón</a:t>
            </a:r>
            <a:endParaRPr lang="en-US"/>
          </a:p>
        </p:txBody>
      </p:sp>
      <p:sp>
        <p:nvSpPr>
          <p:cNvPr id="3" name="2 Subtítulo"/>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endParaRPr lang="en-US"/>
          </a:p>
        </p:txBody>
      </p:sp>
      <p:sp>
        <p:nvSpPr>
          <p:cNvPr id="4" name="3 Marcador de fecha"/>
          <p:cNvSpPr>
            <a:spLocks noGrp="1"/>
          </p:cNvSpPr>
          <p:nvPr>
            <p:ph type="dt" sz="half" idx="10"/>
          </p:nvPr>
        </p:nvSpPr>
        <p:spPr/>
        <p:txBody>
          <a:bodyPr/>
          <a:lstStyle>
            <a:lvl1pPr>
              <a:defRPr/>
            </a:lvl1pPr>
          </a:lstStyle>
          <a:p>
            <a:pPr>
              <a:defRPr/>
            </a:pPr>
            <a:fld id="{A1468EEA-66B6-48FD-9AEF-CB1B7A41E332}" type="datetimeFigureOut">
              <a:rPr lang="en-US"/>
              <a:pPr>
                <a:defRPr/>
              </a:pPr>
              <a:t>12/9/2020</a:t>
            </a:fld>
            <a:endParaRPr lang="en-US"/>
          </a:p>
        </p:txBody>
      </p:sp>
      <p:sp>
        <p:nvSpPr>
          <p:cNvPr id="5" name="4 Marcador de pie de página"/>
          <p:cNvSpPr>
            <a:spLocks noGrp="1"/>
          </p:cNvSpPr>
          <p:nvPr>
            <p:ph type="ftr" sz="quarter" idx="11"/>
          </p:nvPr>
        </p:nvSpPr>
        <p:spPr/>
        <p:txBody>
          <a:bodyPr/>
          <a:lstStyle>
            <a:lvl1pPr>
              <a:defRPr/>
            </a:lvl1pPr>
          </a:lstStyle>
          <a:p>
            <a:pPr>
              <a:defRPr/>
            </a:pPr>
            <a:endParaRPr lang="en-US"/>
          </a:p>
        </p:txBody>
      </p:sp>
      <p:sp>
        <p:nvSpPr>
          <p:cNvPr id="6" name="5 Marcador de número de diapositiva"/>
          <p:cNvSpPr>
            <a:spLocks noGrp="1"/>
          </p:cNvSpPr>
          <p:nvPr>
            <p:ph type="sldNum" sz="quarter" idx="12"/>
          </p:nvPr>
        </p:nvSpPr>
        <p:spPr/>
        <p:txBody>
          <a:bodyPr/>
          <a:lstStyle>
            <a:lvl1pPr>
              <a:defRPr/>
            </a:lvl1pPr>
          </a:lstStyle>
          <a:p>
            <a:pPr>
              <a:defRPr/>
            </a:pPr>
            <a:fld id="{034CB50B-C2EA-436B-A2A2-0975F167FF9E}" type="slidenum">
              <a:rPr lang="en-US" altLang="es-ES"/>
              <a:pPr>
                <a:defRPr/>
              </a:pPr>
              <a:t>‹Nº›</a:t>
            </a:fld>
            <a:endParaRPr lang="en-US" altLang="es-ES"/>
          </a:p>
        </p:txBody>
      </p:sp>
    </p:spTree>
    <p:extLst>
      <p:ext uri="{BB962C8B-B14F-4D97-AF65-F5344CB8AC3E}">
        <p14:creationId xmlns:p14="http://schemas.microsoft.com/office/powerpoint/2010/main" val="3753027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n-US"/>
          </a:p>
        </p:txBody>
      </p:sp>
      <p:sp>
        <p:nvSpPr>
          <p:cNvPr id="3" name="2 Marcador de texto vertical"/>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3 Marcador de fecha"/>
          <p:cNvSpPr>
            <a:spLocks noGrp="1"/>
          </p:cNvSpPr>
          <p:nvPr>
            <p:ph type="dt" sz="half" idx="10"/>
          </p:nvPr>
        </p:nvSpPr>
        <p:spPr/>
        <p:txBody>
          <a:bodyPr/>
          <a:lstStyle>
            <a:lvl1pPr>
              <a:defRPr/>
            </a:lvl1pPr>
          </a:lstStyle>
          <a:p>
            <a:pPr>
              <a:defRPr/>
            </a:pPr>
            <a:fld id="{18F161A6-6082-40A7-842D-3947F5DED1F8}" type="datetimeFigureOut">
              <a:rPr lang="en-US"/>
              <a:pPr>
                <a:defRPr/>
              </a:pPr>
              <a:t>12/9/2020</a:t>
            </a:fld>
            <a:endParaRPr lang="en-US"/>
          </a:p>
        </p:txBody>
      </p:sp>
      <p:sp>
        <p:nvSpPr>
          <p:cNvPr id="5" name="4 Marcador de pie de página"/>
          <p:cNvSpPr>
            <a:spLocks noGrp="1"/>
          </p:cNvSpPr>
          <p:nvPr>
            <p:ph type="ftr" sz="quarter" idx="11"/>
          </p:nvPr>
        </p:nvSpPr>
        <p:spPr/>
        <p:txBody>
          <a:bodyPr/>
          <a:lstStyle>
            <a:lvl1pPr>
              <a:defRPr/>
            </a:lvl1pPr>
          </a:lstStyle>
          <a:p>
            <a:pPr>
              <a:defRPr/>
            </a:pPr>
            <a:endParaRPr lang="en-US"/>
          </a:p>
        </p:txBody>
      </p:sp>
      <p:sp>
        <p:nvSpPr>
          <p:cNvPr id="6" name="5 Marcador de número de diapositiva"/>
          <p:cNvSpPr>
            <a:spLocks noGrp="1"/>
          </p:cNvSpPr>
          <p:nvPr>
            <p:ph type="sldNum" sz="quarter" idx="12"/>
          </p:nvPr>
        </p:nvSpPr>
        <p:spPr/>
        <p:txBody>
          <a:bodyPr/>
          <a:lstStyle>
            <a:lvl1pPr>
              <a:defRPr/>
            </a:lvl1pPr>
          </a:lstStyle>
          <a:p>
            <a:pPr>
              <a:defRPr/>
            </a:pPr>
            <a:fld id="{905B59E1-CFAE-4372-BE13-F8049FF76E41}" type="slidenum">
              <a:rPr lang="en-US" altLang="es-ES"/>
              <a:pPr>
                <a:defRPr/>
              </a:pPr>
              <a:t>‹Nº›</a:t>
            </a:fld>
            <a:endParaRPr lang="en-US" altLang="es-ES"/>
          </a:p>
        </p:txBody>
      </p:sp>
    </p:spTree>
    <p:extLst>
      <p:ext uri="{BB962C8B-B14F-4D97-AF65-F5344CB8AC3E}">
        <p14:creationId xmlns:p14="http://schemas.microsoft.com/office/powerpoint/2010/main" val="8064529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274638"/>
            <a:ext cx="2057400" cy="5851525"/>
          </a:xfrm>
        </p:spPr>
        <p:txBody>
          <a:bodyPr vert="eaVert"/>
          <a:lstStyle/>
          <a:p>
            <a:r>
              <a:rPr lang="es-ES"/>
              <a:t>Haga clic para modificar el estilo de título del patrón</a:t>
            </a:r>
            <a:endParaRPr lang="en-US"/>
          </a:p>
        </p:txBody>
      </p:sp>
      <p:sp>
        <p:nvSpPr>
          <p:cNvPr id="3" name="2 Marcador de texto vertical"/>
          <p:cNvSpPr>
            <a:spLocks noGrp="1"/>
          </p:cNvSpPr>
          <p:nvPr>
            <p:ph type="body" orient="vert" idx="1"/>
          </p:nvPr>
        </p:nvSpPr>
        <p:spPr>
          <a:xfrm>
            <a:off x="457200" y="274638"/>
            <a:ext cx="6019800" cy="5851525"/>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3 Marcador de fecha"/>
          <p:cNvSpPr>
            <a:spLocks noGrp="1"/>
          </p:cNvSpPr>
          <p:nvPr>
            <p:ph type="dt" sz="half" idx="10"/>
          </p:nvPr>
        </p:nvSpPr>
        <p:spPr/>
        <p:txBody>
          <a:bodyPr/>
          <a:lstStyle>
            <a:lvl1pPr>
              <a:defRPr/>
            </a:lvl1pPr>
          </a:lstStyle>
          <a:p>
            <a:pPr>
              <a:defRPr/>
            </a:pPr>
            <a:fld id="{01A84ABF-2477-4497-933E-E1D4CE07C9B9}" type="datetimeFigureOut">
              <a:rPr lang="en-US"/>
              <a:pPr>
                <a:defRPr/>
              </a:pPr>
              <a:t>12/9/2020</a:t>
            </a:fld>
            <a:endParaRPr lang="en-US"/>
          </a:p>
        </p:txBody>
      </p:sp>
      <p:sp>
        <p:nvSpPr>
          <p:cNvPr id="5" name="4 Marcador de pie de página"/>
          <p:cNvSpPr>
            <a:spLocks noGrp="1"/>
          </p:cNvSpPr>
          <p:nvPr>
            <p:ph type="ftr" sz="quarter" idx="11"/>
          </p:nvPr>
        </p:nvSpPr>
        <p:spPr/>
        <p:txBody>
          <a:bodyPr/>
          <a:lstStyle>
            <a:lvl1pPr>
              <a:defRPr/>
            </a:lvl1pPr>
          </a:lstStyle>
          <a:p>
            <a:pPr>
              <a:defRPr/>
            </a:pPr>
            <a:endParaRPr lang="en-US"/>
          </a:p>
        </p:txBody>
      </p:sp>
      <p:sp>
        <p:nvSpPr>
          <p:cNvPr id="6" name="5 Marcador de número de diapositiva"/>
          <p:cNvSpPr>
            <a:spLocks noGrp="1"/>
          </p:cNvSpPr>
          <p:nvPr>
            <p:ph type="sldNum" sz="quarter" idx="12"/>
          </p:nvPr>
        </p:nvSpPr>
        <p:spPr/>
        <p:txBody>
          <a:bodyPr/>
          <a:lstStyle>
            <a:lvl1pPr>
              <a:defRPr/>
            </a:lvl1pPr>
          </a:lstStyle>
          <a:p>
            <a:pPr>
              <a:defRPr/>
            </a:pPr>
            <a:fld id="{88A33019-0FBE-4B65-B2D5-10A1EDE00A02}" type="slidenum">
              <a:rPr lang="en-US" altLang="es-ES"/>
              <a:pPr>
                <a:defRPr/>
              </a:pPr>
              <a:t>‹Nº›</a:t>
            </a:fld>
            <a:endParaRPr lang="en-US" altLang="es-ES"/>
          </a:p>
        </p:txBody>
      </p:sp>
    </p:spTree>
    <p:extLst>
      <p:ext uri="{BB962C8B-B14F-4D97-AF65-F5344CB8AC3E}">
        <p14:creationId xmlns:p14="http://schemas.microsoft.com/office/powerpoint/2010/main" val="29503691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2130581"/>
            <a:ext cx="7772400" cy="1470025"/>
          </a:xfrm>
        </p:spPr>
        <p:txBody>
          <a:bodyPr/>
          <a:lstStyle/>
          <a:p>
            <a:r>
              <a:rPr lang="es-ES"/>
              <a:t>Haga clic para modificar el estilo de título del patrón</a:t>
            </a:r>
            <a:endParaRPr lang="en-US"/>
          </a:p>
        </p:txBody>
      </p:sp>
      <p:sp>
        <p:nvSpPr>
          <p:cNvPr id="3" name="2 Subtítulo"/>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endParaRPr lang="en-US"/>
          </a:p>
        </p:txBody>
      </p:sp>
      <p:sp>
        <p:nvSpPr>
          <p:cNvPr id="4" name="3 Marcador de fecha"/>
          <p:cNvSpPr>
            <a:spLocks noGrp="1"/>
          </p:cNvSpPr>
          <p:nvPr>
            <p:ph type="dt" sz="half" idx="10"/>
          </p:nvPr>
        </p:nvSpPr>
        <p:spPr/>
        <p:txBody>
          <a:bodyPr/>
          <a:lstStyle>
            <a:lvl1pPr>
              <a:defRPr/>
            </a:lvl1pPr>
          </a:lstStyle>
          <a:p>
            <a:pPr>
              <a:defRPr/>
            </a:pPr>
            <a:fld id="{EFFC0407-6F24-4B2B-9FD5-B65D177B6AE0}" type="datetimeFigureOut">
              <a:rPr lang="en-US"/>
              <a:pPr>
                <a:defRPr/>
              </a:pPr>
              <a:t>12/9/2020</a:t>
            </a:fld>
            <a:endParaRPr lang="en-US"/>
          </a:p>
        </p:txBody>
      </p:sp>
      <p:sp>
        <p:nvSpPr>
          <p:cNvPr id="5" name="4 Marcador de pie de página"/>
          <p:cNvSpPr>
            <a:spLocks noGrp="1"/>
          </p:cNvSpPr>
          <p:nvPr>
            <p:ph type="ftr" sz="quarter" idx="11"/>
          </p:nvPr>
        </p:nvSpPr>
        <p:spPr/>
        <p:txBody>
          <a:bodyPr/>
          <a:lstStyle>
            <a:lvl1pPr>
              <a:defRPr/>
            </a:lvl1pPr>
          </a:lstStyle>
          <a:p>
            <a:pPr>
              <a:defRPr/>
            </a:pPr>
            <a:endParaRPr lang="en-US"/>
          </a:p>
        </p:txBody>
      </p:sp>
      <p:sp>
        <p:nvSpPr>
          <p:cNvPr id="6" name="5 Marcador de número de diapositiva"/>
          <p:cNvSpPr>
            <a:spLocks noGrp="1"/>
          </p:cNvSpPr>
          <p:nvPr>
            <p:ph type="sldNum" sz="quarter" idx="12"/>
          </p:nvPr>
        </p:nvSpPr>
        <p:spPr/>
        <p:txBody>
          <a:bodyPr/>
          <a:lstStyle>
            <a:lvl1pPr>
              <a:defRPr/>
            </a:lvl1pPr>
          </a:lstStyle>
          <a:p>
            <a:pPr>
              <a:defRPr/>
            </a:pPr>
            <a:fld id="{1DA8AB6B-16AC-4970-ADF6-948AEA236661}" type="slidenum">
              <a:rPr lang="en-US" altLang="es-ES"/>
              <a:pPr>
                <a:defRPr/>
              </a:pPr>
              <a:t>‹Nº›</a:t>
            </a:fld>
            <a:endParaRPr lang="en-US" altLang="es-ES"/>
          </a:p>
        </p:txBody>
      </p:sp>
    </p:spTree>
    <p:extLst>
      <p:ext uri="{BB962C8B-B14F-4D97-AF65-F5344CB8AC3E}">
        <p14:creationId xmlns:p14="http://schemas.microsoft.com/office/powerpoint/2010/main" val="4503058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2130583"/>
            <a:ext cx="7772400" cy="1470025"/>
          </a:xfrm>
        </p:spPr>
        <p:txBody>
          <a:bodyPr/>
          <a:lstStyle/>
          <a:p>
            <a:r>
              <a:rPr lang="es-ES"/>
              <a:t>Haga clic para modificar el estilo de título del patrón</a:t>
            </a:r>
            <a:endParaRPr lang="en-US"/>
          </a:p>
        </p:txBody>
      </p:sp>
      <p:sp>
        <p:nvSpPr>
          <p:cNvPr id="3" name="2 Subtítulo"/>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s-ES"/>
              <a:t>Haga clic para modificar el estilo de subtítulo del patrón</a:t>
            </a:r>
            <a:endParaRPr lang="en-US"/>
          </a:p>
        </p:txBody>
      </p:sp>
      <p:sp>
        <p:nvSpPr>
          <p:cNvPr id="4" name="3 Marcador de fecha">
            <a:extLst>
              <a:ext uri="{FF2B5EF4-FFF2-40B4-BE49-F238E27FC236}">
                <a16:creationId xmlns:a16="http://schemas.microsoft.com/office/drawing/2014/main" id="{AB537877-A239-42DA-8450-9F59E816B94D}"/>
              </a:ext>
            </a:extLst>
          </p:cNvPr>
          <p:cNvSpPr>
            <a:spLocks noGrp="1"/>
          </p:cNvSpPr>
          <p:nvPr>
            <p:ph type="dt" sz="half" idx="10"/>
          </p:nvPr>
        </p:nvSpPr>
        <p:spPr/>
        <p:txBody>
          <a:bodyPr/>
          <a:lstStyle>
            <a:lvl1pPr>
              <a:defRPr/>
            </a:lvl1pPr>
          </a:lstStyle>
          <a:p>
            <a:pPr>
              <a:defRPr/>
            </a:pPr>
            <a:fld id="{0EA7914C-3FDC-4422-8812-1EDC7C256BE1}" type="datetimeFigureOut">
              <a:rPr lang="en-US"/>
              <a:pPr>
                <a:defRPr/>
              </a:pPr>
              <a:t>12/9/2020</a:t>
            </a:fld>
            <a:endParaRPr lang="en-US" dirty="0"/>
          </a:p>
        </p:txBody>
      </p:sp>
      <p:sp>
        <p:nvSpPr>
          <p:cNvPr id="5" name="4 Marcador de pie de página">
            <a:extLst>
              <a:ext uri="{FF2B5EF4-FFF2-40B4-BE49-F238E27FC236}">
                <a16:creationId xmlns:a16="http://schemas.microsoft.com/office/drawing/2014/main" id="{E3430204-6355-4B0F-BF5B-49F5789E1D97}"/>
              </a:ext>
            </a:extLst>
          </p:cNvPr>
          <p:cNvSpPr>
            <a:spLocks noGrp="1"/>
          </p:cNvSpPr>
          <p:nvPr>
            <p:ph type="ftr" sz="quarter" idx="11"/>
          </p:nvPr>
        </p:nvSpPr>
        <p:spPr/>
        <p:txBody>
          <a:bodyPr/>
          <a:lstStyle>
            <a:lvl1pPr>
              <a:defRPr/>
            </a:lvl1pPr>
          </a:lstStyle>
          <a:p>
            <a:pPr>
              <a:defRPr/>
            </a:pPr>
            <a:endParaRPr lang="en-US"/>
          </a:p>
        </p:txBody>
      </p:sp>
      <p:sp>
        <p:nvSpPr>
          <p:cNvPr id="6" name="5 Marcador de número de diapositiva">
            <a:extLst>
              <a:ext uri="{FF2B5EF4-FFF2-40B4-BE49-F238E27FC236}">
                <a16:creationId xmlns:a16="http://schemas.microsoft.com/office/drawing/2014/main" id="{D947B2B7-71B9-490B-AC1B-64D840DBAE2C}"/>
              </a:ext>
            </a:extLst>
          </p:cNvPr>
          <p:cNvSpPr>
            <a:spLocks noGrp="1"/>
          </p:cNvSpPr>
          <p:nvPr>
            <p:ph type="sldNum" sz="quarter" idx="12"/>
          </p:nvPr>
        </p:nvSpPr>
        <p:spPr/>
        <p:txBody>
          <a:bodyPr/>
          <a:lstStyle>
            <a:lvl1pPr>
              <a:defRPr/>
            </a:lvl1pPr>
          </a:lstStyle>
          <a:p>
            <a:pPr>
              <a:defRPr/>
            </a:pPr>
            <a:fld id="{228987B2-40E4-4F82-AE76-CA02820E2F65}" type="slidenum">
              <a:rPr lang="en-US" altLang="es-CL"/>
              <a:pPr>
                <a:defRPr/>
              </a:pPr>
              <a:t>‹Nº›</a:t>
            </a:fld>
            <a:endParaRPr lang="en-US" altLang="es-CL"/>
          </a:p>
        </p:txBody>
      </p:sp>
    </p:spTree>
    <p:extLst>
      <p:ext uri="{BB962C8B-B14F-4D97-AF65-F5344CB8AC3E}">
        <p14:creationId xmlns:p14="http://schemas.microsoft.com/office/powerpoint/2010/main" val="20955911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n-US"/>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3 Marcador de fecha">
            <a:extLst>
              <a:ext uri="{FF2B5EF4-FFF2-40B4-BE49-F238E27FC236}">
                <a16:creationId xmlns:a16="http://schemas.microsoft.com/office/drawing/2014/main" id="{317CB662-9A28-4F7F-9BBA-D65AF055806E}"/>
              </a:ext>
            </a:extLst>
          </p:cNvPr>
          <p:cNvSpPr>
            <a:spLocks noGrp="1"/>
          </p:cNvSpPr>
          <p:nvPr>
            <p:ph type="dt" sz="half" idx="10"/>
          </p:nvPr>
        </p:nvSpPr>
        <p:spPr/>
        <p:txBody>
          <a:bodyPr/>
          <a:lstStyle>
            <a:lvl1pPr>
              <a:defRPr/>
            </a:lvl1pPr>
          </a:lstStyle>
          <a:p>
            <a:pPr>
              <a:defRPr/>
            </a:pPr>
            <a:fld id="{7AE3AC8D-8242-4D92-A968-EEF1EF7E844B}" type="datetimeFigureOut">
              <a:rPr lang="en-US"/>
              <a:pPr>
                <a:defRPr/>
              </a:pPr>
              <a:t>12/9/2020</a:t>
            </a:fld>
            <a:endParaRPr lang="en-US" dirty="0"/>
          </a:p>
        </p:txBody>
      </p:sp>
      <p:sp>
        <p:nvSpPr>
          <p:cNvPr id="5" name="4 Marcador de pie de página">
            <a:extLst>
              <a:ext uri="{FF2B5EF4-FFF2-40B4-BE49-F238E27FC236}">
                <a16:creationId xmlns:a16="http://schemas.microsoft.com/office/drawing/2014/main" id="{BE2B3988-1509-458E-83C2-88BA3FEC1EE4}"/>
              </a:ext>
            </a:extLst>
          </p:cNvPr>
          <p:cNvSpPr>
            <a:spLocks noGrp="1"/>
          </p:cNvSpPr>
          <p:nvPr>
            <p:ph type="ftr" sz="quarter" idx="11"/>
          </p:nvPr>
        </p:nvSpPr>
        <p:spPr/>
        <p:txBody>
          <a:bodyPr/>
          <a:lstStyle>
            <a:lvl1pPr>
              <a:defRPr/>
            </a:lvl1pPr>
          </a:lstStyle>
          <a:p>
            <a:pPr>
              <a:defRPr/>
            </a:pPr>
            <a:endParaRPr lang="en-US"/>
          </a:p>
        </p:txBody>
      </p:sp>
      <p:sp>
        <p:nvSpPr>
          <p:cNvPr id="6" name="5 Marcador de número de diapositiva">
            <a:extLst>
              <a:ext uri="{FF2B5EF4-FFF2-40B4-BE49-F238E27FC236}">
                <a16:creationId xmlns:a16="http://schemas.microsoft.com/office/drawing/2014/main" id="{3428B3ED-599A-442F-9CB4-54D84EC43E13}"/>
              </a:ext>
            </a:extLst>
          </p:cNvPr>
          <p:cNvSpPr>
            <a:spLocks noGrp="1"/>
          </p:cNvSpPr>
          <p:nvPr>
            <p:ph type="sldNum" sz="quarter" idx="12"/>
          </p:nvPr>
        </p:nvSpPr>
        <p:spPr/>
        <p:txBody>
          <a:bodyPr/>
          <a:lstStyle>
            <a:lvl1pPr>
              <a:defRPr/>
            </a:lvl1pPr>
          </a:lstStyle>
          <a:p>
            <a:pPr>
              <a:defRPr/>
            </a:pPr>
            <a:fld id="{4272DE69-2DFC-41E1-B0FE-23B2A7F3E5C1}" type="slidenum">
              <a:rPr lang="en-US" altLang="es-CL"/>
              <a:pPr>
                <a:defRPr/>
              </a:pPr>
              <a:t>‹Nº›</a:t>
            </a:fld>
            <a:endParaRPr lang="en-US" altLang="es-CL"/>
          </a:p>
        </p:txBody>
      </p:sp>
    </p:spTree>
    <p:extLst>
      <p:ext uri="{BB962C8B-B14F-4D97-AF65-F5344CB8AC3E}">
        <p14:creationId xmlns:p14="http://schemas.microsoft.com/office/powerpoint/2010/main" val="42597675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4407058"/>
            <a:ext cx="7772400" cy="1362075"/>
          </a:xfrm>
        </p:spPr>
        <p:txBody>
          <a:bodyPr anchor="t"/>
          <a:lstStyle>
            <a:lvl1pPr algn="l">
              <a:defRPr sz="3000" b="1" cap="all"/>
            </a:lvl1pPr>
          </a:lstStyle>
          <a:p>
            <a:r>
              <a:rPr lang="es-ES"/>
              <a:t>Haga clic para modificar el estilo de título del patrón</a:t>
            </a:r>
            <a:endParaRPr lang="en-US"/>
          </a:p>
        </p:txBody>
      </p:sp>
      <p:sp>
        <p:nvSpPr>
          <p:cNvPr id="3" name="2 Marcador de texto"/>
          <p:cNvSpPr>
            <a:spLocks noGrp="1"/>
          </p:cNvSpPr>
          <p:nvPr>
            <p:ph type="body" idx="1"/>
          </p:nvPr>
        </p:nvSpPr>
        <p:spPr>
          <a:xfrm>
            <a:off x="722313" y="2906713"/>
            <a:ext cx="7772400" cy="1500187"/>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s-ES"/>
              <a:t>Haga clic para modificar el estilo de texto del patrón</a:t>
            </a:r>
          </a:p>
        </p:txBody>
      </p:sp>
      <p:sp>
        <p:nvSpPr>
          <p:cNvPr id="4" name="3 Marcador de fecha">
            <a:extLst>
              <a:ext uri="{FF2B5EF4-FFF2-40B4-BE49-F238E27FC236}">
                <a16:creationId xmlns:a16="http://schemas.microsoft.com/office/drawing/2014/main" id="{E7F77FCE-1AE6-493A-A241-8E42C58C665E}"/>
              </a:ext>
            </a:extLst>
          </p:cNvPr>
          <p:cNvSpPr>
            <a:spLocks noGrp="1"/>
          </p:cNvSpPr>
          <p:nvPr>
            <p:ph type="dt" sz="half" idx="10"/>
          </p:nvPr>
        </p:nvSpPr>
        <p:spPr/>
        <p:txBody>
          <a:bodyPr/>
          <a:lstStyle>
            <a:lvl1pPr>
              <a:defRPr/>
            </a:lvl1pPr>
          </a:lstStyle>
          <a:p>
            <a:pPr>
              <a:defRPr/>
            </a:pPr>
            <a:fld id="{9FBE849D-7D4C-4DA4-A1B6-4DAAED0C50AD}" type="datetimeFigureOut">
              <a:rPr lang="en-US"/>
              <a:pPr>
                <a:defRPr/>
              </a:pPr>
              <a:t>12/9/2020</a:t>
            </a:fld>
            <a:endParaRPr lang="en-US" dirty="0"/>
          </a:p>
        </p:txBody>
      </p:sp>
      <p:sp>
        <p:nvSpPr>
          <p:cNvPr id="5" name="4 Marcador de pie de página">
            <a:extLst>
              <a:ext uri="{FF2B5EF4-FFF2-40B4-BE49-F238E27FC236}">
                <a16:creationId xmlns:a16="http://schemas.microsoft.com/office/drawing/2014/main" id="{3ED2B83D-135C-4F48-B698-61804B219F81}"/>
              </a:ext>
            </a:extLst>
          </p:cNvPr>
          <p:cNvSpPr>
            <a:spLocks noGrp="1"/>
          </p:cNvSpPr>
          <p:nvPr>
            <p:ph type="ftr" sz="quarter" idx="11"/>
          </p:nvPr>
        </p:nvSpPr>
        <p:spPr/>
        <p:txBody>
          <a:bodyPr/>
          <a:lstStyle>
            <a:lvl1pPr>
              <a:defRPr/>
            </a:lvl1pPr>
          </a:lstStyle>
          <a:p>
            <a:pPr>
              <a:defRPr/>
            </a:pPr>
            <a:endParaRPr lang="en-US"/>
          </a:p>
        </p:txBody>
      </p:sp>
      <p:sp>
        <p:nvSpPr>
          <p:cNvPr id="6" name="5 Marcador de número de diapositiva">
            <a:extLst>
              <a:ext uri="{FF2B5EF4-FFF2-40B4-BE49-F238E27FC236}">
                <a16:creationId xmlns:a16="http://schemas.microsoft.com/office/drawing/2014/main" id="{9DC2B62E-D178-4DDE-95BE-B63903CC55BD}"/>
              </a:ext>
            </a:extLst>
          </p:cNvPr>
          <p:cNvSpPr>
            <a:spLocks noGrp="1"/>
          </p:cNvSpPr>
          <p:nvPr>
            <p:ph type="sldNum" sz="quarter" idx="12"/>
          </p:nvPr>
        </p:nvSpPr>
        <p:spPr/>
        <p:txBody>
          <a:bodyPr/>
          <a:lstStyle>
            <a:lvl1pPr>
              <a:defRPr/>
            </a:lvl1pPr>
          </a:lstStyle>
          <a:p>
            <a:pPr>
              <a:defRPr/>
            </a:pPr>
            <a:fld id="{B3BE9CA5-3B29-422B-BEC1-C8D91549FF97}" type="slidenum">
              <a:rPr lang="en-US" altLang="es-CL"/>
              <a:pPr>
                <a:defRPr/>
              </a:pPr>
              <a:t>‹Nº›</a:t>
            </a:fld>
            <a:endParaRPr lang="en-US" altLang="es-CL"/>
          </a:p>
        </p:txBody>
      </p:sp>
    </p:spTree>
    <p:extLst>
      <p:ext uri="{BB962C8B-B14F-4D97-AF65-F5344CB8AC3E}">
        <p14:creationId xmlns:p14="http://schemas.microsoft.com/office/powerpoint/2010/main" val="41227806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n-US"/>
          </a:p>
        </p:txBody>
      </p:sp>
      <p:sp>
        <p:nvSpPr>
          <p:cNvPr id="3" name="2 Marcador de contenido"/>
          <p:cNvSpPr>
            <a:spLocks noGrp="1"/>
          </p:cNvSpPr>
          <p:nvPr>
            <p:ph sz="half" idx="1"/>
          </p:nvPr>
        </p:nvSpPr>
        <p:spPr>
          <a:xfrm>
            <a:off x="457200" y="1600206"/>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3 Marcador de contenido"/>
          <p:cNvSpPr>
            <a:spLocks noGrp="1"/>
          </p:cNvSpPr>
          <p:nvPr>
            <p:ph sz="half" idx="2"/>
          </p:nvPr>
        </p:nvSpPr>
        <p:spPr>
          <a:xfrm>
            <a:off x="4648200" y="1600206"/>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5" name="3 Marcador de fecha">
            <a:extLst>
              <a:ext uri="{FF2B5EF4-FFF2-40B4-BE49-F238E27FC236}">
                <a16:creationId xmlns:a16="http://schemas.microsoft.com/office/drawing/2014/main" id="{E7C9CDC1-28DA-423A-927D-C7C7C0C0ACAD}"/>
              </a:ext>
            </a:extLst>
          </p:cNvPr>
          <p:cNvSpPr>
            <a:spLocks noGrp="1"/>
          </p:cNvSpPr>
          <p:nvPr>
            <p:ph type="dt" sz="half" idx="10"/>
          </p:nvPr>
        </p:nvSpPr>
        <p:spPr/>
        <p:txBody>
          <a:bodyPr/>
          <a:lstStyle>
            <a:lvl1pPr>
              <a:defRPr/>
            </a:lvl1pPr>
          </a:lstStyle>
          <a:p>
            <a:pPr>
              <a:defRPr/>
            </a:pPr>
            <a:fld id="{4388AD2E-A5E6-4158-B715-DD3EF84E80FD}" type="datetimeFigureOut">
              <a:rPr lang="en-US"/>
              <a:pPr>
                <a:defRPr/>
              </a:pPr>
              <a:t>12/9/2020</a:t>
            </a:fld>
            <a:endParaRPr lang="en-US" dirty="0"/>
          </a:p>
        </p:txBody>
      </p:sp>
      <p:sp>
        <p:nvSpPr>
          <p:cNvPr id="6" name="4 Marcador de pie de página">
            <a:extLst>
              <a:ext uri="{FF2B5EF4-FFF2-40B4-BE49-F238E27FC236}">
                <a16:creationId xmlns:a16="http://schemas.microsoft.com/office/drawing/2014/main" id="{FA4924C3-145C-4C6B-B405-6AB885642863}"/>
              </a:ext>
            </a:extLst>
          </p:cNvPr>
          <p:cNvSpPr>
            <a:spLocks noGrp="1"/>
          </p:cNvSpPr>
          <p:nvPr>
            <p:ph type="ftr" sz="quarter" idx="11"/>
          </p:nvPr>
        </p:nvSpPr>
        <p:spPr/>
        <p:txBody>
          <a:bodyPr/>
          <a:lstStyle>
            <a:lvl1pPr>
              <a:defRPr/>
            </a:lvl1pPr>
          </a:lstStyle>
          <a:p>
            <a:pPr>
              <a:defRPr/>
            </a:pPr>
            <a:endParaRPr lang="en-US"/>
          </a:p>
        </p:txBody>
      </p:sp>
      <p:sp>
        <p:nvSpPr>
          <p:cNvPr id="7" name="5 Marcador de número de diapositiva">
            <a:extLst>
              <a:ext uri="{FF2B5EF4-FFF2-40B4-BE49-F238E27FC236}">
                <a16:creationId xmlns:a16="http://schemas.microsoft.com/office/drawing/2014/main" id="{BC7EC295-4D4A-4F0C-B3BD-E7FAD2D3CC95}"/>
              </a:ext>
            </a:extLst>
          </p:cNvPr>
          <p:cNvSpPr>
            <a:spLocks noGrp="1"/>
          </p:cNvSpPr>
          <p:nvPr>
            <p:ph type="sldNum" sz="quarter" idx="12"/>
          </p:nvPr>
        </p:nvSpPr>
        <p:spPr/>
        <p:txBody>
          <a:bodyPr/>
          <a:lstStyle>
            <a:lvl1pPr>
              <a:defRPr/>
            </a:lvl1pPr>
          </a:lstStyle>
          <a:p>
            <a:pPr>
              <a:defRPr/>
            </a:pPr>
            <a:fld id="{2C2710F5-D928-4511-AC49-DE37FB0E6B4F}" type="slidenum">
              <a:rPr lang="en-US" altLang="es-CL"/>
              <a:pPr>
                <a:defRPr/>
              </a:pPr>
              <a:t>‹Nº›</a:t>
            </a:fld>
            <a:endParaRPr lang="en-US" altLang="es-CL"/>
          </a:p>
        </p:txBody>
      </p:sp>
    </p:spTree>
    <p:extLst>
      <p:ext uri="{BB962C8B-B14F-4D97-AF65-F5344CB8AC3E}">
        <p14:creationId xmlns:p14="http://schemas.microsoft.com/office/powerpoint/2010/main" val="32560230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a:t>Haga clic para modificar el estilo de título del patrón</a:t>
            </a:r>
            <a:endParaRPr lang="en-US"/>
          </a:p>
        </p:txBody>
      </p:sp>
      <p:sp>
        <p:nvSpPr>
          <p:cNvPr id="3" name="2 Marcador de texto"/>
          <p:cNvSpPr>
            <a:spLocks noGrp="1"/>
          </p:cNvSpPr>
          <p:nvPr>
            <p:ph type="body" idx="1"/>
          </p:nvPr>
        </p:nvSpPr>
        <p:spPr>
          <a:xfrm>
            <a:off x="457200" y="1535113"/>
            <a:ext cx="4040188"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s-ES"/>
              <a:t>Haga clic para modificar el estilo de texto del patrón</a:t>
            </a:r>
          </a:p>
        </p:txBody>
      </p:sp>
      <p:sp>
        <p:nvSpPr>
          <p:cNvPr id="4" name="3 Marcador de contenido"/>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5" name="4 Marcador de texto"/>
          <p:cNvSpPr>
            <a:spLocks noGrp="1"/>
          </p:cNvSpPr>
          <p:nvPr>
            <p:ph type="body" sz="quarter" idx="3"/>
          </p:nvPr>
        </p:nvSpPr>
        <p:spPr>
          <a:xfrm>
            <a:off x="4645104" y="1535113"/>
            <a:ext cx="4041775"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s-ES"/>
              <a:t>Haga clic para modificar el estilo de texto del patrón</a:t>
            </a:r>
          </a:p>
        </p:txBody>
      </p:sp>
      <p:sp>
        <p:nvSpPr>
          <p:cNvPr id="6" name="5 Marcador de contenido"/>
          <p:cNvSpPr>
            <a:spLocks noGrp="1"/>
          </p:cNvSpPr>
          <p:nvPr>
            <p:ph sz="quarter" idx="4"/>
          </p:nvPr>
        </p:nvSpPr>
        <p:spPr>
          <a:xfrm>
            <a:off x="4645104"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7" name="3 Marcador de fecha">
            <a:extLst>
              <a:ext uri="{FF2B5EF4-FFF2-40B4-BE49-F238E27FC236}">
                <a16:creationId xmlns:a16="http://schemas.microsoft.com/office/drawing/2014/main" id="{CB0B8600-012A-4ECA-B471-DDEE5BB72310}"/>
              </a:ext>
            </a:extLst>
          </p:cNvPr>
          <p:cNvSpPr>
            <a:spLocks noGrp="1"/>
          </p:cNvSpPr>
          <p:nvPr>
            <p:ph type="dt" sz="half" idx="10"/>
          </p:nvPr>
        </p:nvSpPr>
        <p:spPr/>
        <p:txBody>
          <a:bodyPr/>
          <a:lstStyle>
            <a:lvl1pPr>
              <a:defRPr/>
            </a:lvl1pPr>
          </a:lstStyle>
          <a:p>
            <a:pPr>
              <a:defRPr/>
            </a:pPr>
            <a:fld id="{D14A863A-B5B9-410F-8D0D-2AE796F1436E}" type="datetimeFigureOut">
              <a:rPr lang="en-US"/>
              <a:pPr>
                <a:defRPr/>
              </a:pPr>
              <a:t>12/9/2020</a:t>
            </a:fld>
            <a:endParaRPr lang="en-US" dirty="0"/>
          </a:p>
        </p:txBody>
      </p:sp>
      <p:sp>
        <p:nvSpPr>
          <p:cNvPr id="8" name="4 Marcador de pie de página">
            <a:extLst>
              <a:ext uri="{FF2B5EF4-FFF2-40B4-BE49-F238E27FC236}">
                <a16:creationId xmlns:a16="http://schemas.microsoft.com/office/drawing/2014/main" id="{05409BDF-32D0-4CF5-AF2F-20C2FE2B7432}"/>
              </a:ext>
            </a:extLst>
          </p:cNvPr>
          <p:cNvSpPr>
            <a:spLocks noGrp="1"/>
          </p:cNvSpPr>
          <p:nvPr>
            <p:ph type="ftr" sz="quarter" idx="11"/>
          </p:nvPr>
        </p:nvSpPr>
        <p:spPr/>
        <p:txBody>
          <a:bodyPr/>
          <a:lstStyle>
            <a:lvl1pPr>
              <a:defRPr/>
            </a:lvl1pPr>
          </a:lstStyle>
          <a:p>
            <a:pPr>
              <a:defRPr/>
            </a:pPr>
            <a:endParaRPr lang="en-US"/>
          </a:p>
        </p:txBody>
      </p:sp>
      <p:sp>
        <p:nvSpPr>
          <p:cNvPr id="9" name="5 Marcador de número de diapositiva">
            <a:extLst>
              <a:ext uri="{FF2B5EF4-FFF2-40B4-BE49-F238E27FC236}">
                <a16:creationId xmlns:a16="http://schemas.microsoft.com/office/drawing/2014/main" id="{73F4FC85-54B7-452E-8BAE-427E25B264DA}"/>
              </a:ext>
            </a:extLst>
          </p:cNvPr>
          <p:cNvSpPr>
            <a:spLocks noGrp="1"/>
          </p:cNvSpPr>
          <p:nvPr>
            <p:ph type="sldNum" sz="quarter" idx="12"/>
          </p:nvPr>
        </p:nvSpPr>
        <p:spPr/>
        <p:txBody>
          <a:bodyPr/>
          <a:lstStyle>
            <a:lvl1pPr>
              <a:defRPr/>
            </a:lvl1pPr>
          </a:lstStyle>
          <a:p>
            <a:pPr>
              <a:defRPr/>
            </a:pPr>
            <a:fld id="{3C2F7781-1E93-47CF-9EAD-1FC50BCA8D1C}" type="slidenum">
              <a:rPr lang="en-US" altLang="es-CL"/>
              <a:pPr>
                <a:defRPr/>
              </a:pPr>
              <a:t>‹Nº›</a:t>
            </a:fld>
            <a:endParaRPr lang="en-US" altLang="es-CL"/>
          </a:p>
        </p:txBody>
      </p:sp>
    </p:spTree>
    <p:extLst>
      <p:ext uri="{BB962C8B-B14F-4D97-AF65-F5344CB8AC3E}">
        <p14:creationId xmlns:p14="http://schemas.microsoft.com/office/powerpoint/2010/main" val="22296320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n-US"/>
          </a:p>
        </p:txBody>
      </p:sp>
      <p:sp>
        <p:nvSpPr>
          <p:cNvPr id="3" name="3 Marcador de fecha">
            <a:extLst>
              <a:ext uri="{FF2B5EF4-FFF2-40B4-BE49-F238E27FC236}">
                <a16:creationId xmlns:a16="http://schemas.microsoft.com/office/drawing/2014/main" id="{FCEE9ABA-35A4-49FD-8C91-6FCA0C3B4572}"/>
              </a:ext>
            </a:extLst>
          </p:cNvPr>
          <p:cNvSpPr>
            <a:spLocks noGrp="1"/>
          </p:cNvSpPr>
          <p:nvPr>
            <p:ph type="dt" sz="half" idx="10"/>
          </p:nvPr>
        </p:nvSpPr>
        <p:spPr/>
        <p:txBody>
          <a:bodyPr/>
          <a:lstStyle>
            <a:lvl1pPr>
              <a:defRPr/>
            </a:lvl1pPr>
          </a:lstStyle>
          <a:p>
            <a:pPr>
              <a:defRPr/>
            </a:pPr>
            <a:fld id="{75A167AC-EBDE-4B05-9DB2-B71AEC4BF090}" type="datetimeFigureOut">
              <a:rPr lang="en-US"/>
              <a:pPr>
                <a:defRPr/>
              </a:pPr>
              <a:t>12/9/2020</a:t>
            </a:fld>
            <a:endParaRPr lang="en-US" dirty="0"/>
          </a:p>
        </p:txBody>
      </p:sp>
      <p:sp>
        <p:nvSpPr>
          <p:cNvPr id="4" name="4 Marcador de pie de página">
            <a:extLst>
              <a:ext uri="{FF2B5EF4-FFF2-40B4-BE49-F238E27FC236}">
                <a16:creationId xmlns:a16="http://schemas.microsoft.com/office/drawing/2014/main" id="{D16A51AD-7499-433A-B0D5-6A01F795B09A}"/>
              </a:ext>
            </a:extLst>
          </p:cNvPr>
          <p:cNvSpPr>
            <a:spLocks noGrp="1"/>
          </p:cNvSpPr>
          <p:nvPr>
            <p:ph type="ftr" sz="quarter" idx="11"/>
          </p:nvPr>
        </p:nvSpPr>
        <p:spPr/>
        <p:txBody>
          <a:bodyPr/>
          <a:lstStyle>
            <a:lvl1pPr>
              <a:defRPr/>
            </a:lvl1pPr>
          </a:lstStyle>
          <a:p>
            <a:pPr>
              <a:defRPr/>
            </a:pPr>
            <a:endParaRPr lang="en-US"/>
          </a:p>
        </p:txBody>
      </p:sp>
      <p:sp>
        <p:nvSpPr>
          <p:cNvPr id="5" name="5 Marcador de número de diapositiva">
            <a:extLst>
              <a:ext uri="{FF2B5EF4-FFF2-40B4-BE49-F238E27FC236}">
                <a16:creationId xmlns:a16="http://schemas.microsoft.com/office/drawing/2014/main" id="{9369762F-27F6-4793-ABF1-49DDA46D7F7E}"/>
              </a:ext>
            </a:extLst>
          </p:cNvPr>
          <p:cNvSpPr>
            <a:spLocks noGrp="1"/>
          </p:cNvSpPr>
          <p:nvPr>
            <p:ph type="sldNum" sz="quarter" idx="12"/>
          </p:nvPr>
        </p:nvSpPr>
        <p:spPr/>
        <p:txBody>
          <a:bodyPr/>
          <a:lstStyle>
            <a:lvl1pPr>
              <a:defRPr/>
            </a:lvl1pPr>
          </a:lstStyle>
          <a:p>
            <a:pPr>
              <a:defRPr/>
            </a:pPr>
            <a:fld id="{188928A4-46A2-473C-9E45-D3D414435F02}" type="slidenum">
              <a:rPr lang="en-US" altLang="es-CL"/>
              <a:pPr>
                <a:defRPr/>
              </a:pPr>
              <a:t>‹Nº›</a:t>
            </a:fld>
            <a:endParaRPr lang="en-US" altLang="es-CL"/>
          </a:p>
        </p:txBody>
      </p:sp>
    </p:spTree>
    <p:extLst>
      <p:ext uri="{BB962C8B-B14F-4D97-AF65-F5344CB8AC3E}">
        <p14:creationId xmlns:p14="http://schemas.microsoft.com/office/powerpoint/2010/main" val="17497684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3 Marcador de fecha">
            <a:extLst>
              <a:ext uri="{FF2B5EF4-FFF2-40B4-BE49-F238E27FC236}">
                <a16:creationId xmlns:a16="http://schemas.microsoft.com/office/drawing/2014/main" id="{CF06DD56-5311-4687-85C0-49B77654EC3C}"/>
              </a:ext>
            </a:extLst>
          </p:cNvPr>
          <p:cNvSpPr>
            <a:spLocks noGrp="1"/>
          </p:cNvSpPr>
          <p:nvPr>
            <p:ph type="dt" sz="half" idx="10"/>
          </p:nvPr>
        </p:nvSpPr>
        <p:spPr/>
        <p:txBody>
          <a:bodyPr/>
          <a:lstStyle>
            <a:lvl1pPr>
              <a:defRPr/>
            </a:lvl1pPr>
          </a:lstStyle>
          <a:p>
            <a:pPr>
              <a:defRPr/>
            </a:pPr>
            <a:fld id="{1C4CC75E-22A9-4A20-AD8E-02FEB2A4491C}" type="datetimeFigureOut">
              <a:rPr lang="en-US"/>
              <a:pPr>
                <a:defRPr/>
              </a:pPr>
              <a:t>12/9/2020</a:t>
            </a:fld>
            <a:endParaRPr lang="en-US" dirty="0"/>
          </a:p>
        </p:txBody>
      </p:sp>
      <p:sp>
        <p:nvSpPr>
          <p:cNvPr id="3" name="4 Marcador de pie de página">
            <a:extLst>
              <a:ext uri="{FF2B5EF4-FFF2-40B4-BE49-F238E27FC236}">
                <a16:creationId xmlns:a16="http://schemas.microsoft.com/office/drawing/2014/main" id="{F67B5242-1A8F-4499-9CC5-D2193E9B3666}"/>
              </a:ext>
            </a:extLst>
          </p:cNvPr>
          <p:cNvSpPr>
            <a:spLocks noGrp="1"/>
          </p:cNvSpPr>
          <p:nvPr>
            <p:ph type="ftr" sz="quarter" idx="11"/>
          </p:nvPr>
        </p:nvSpPr>
        <p:spPr/>
        <p:txBody>
          <a:bodyPr/>
          <a:lstStyle>
            <a:lvl1pPr>
              <a:defRPr/>
            </a:lvl1pPr>
          </a:lstStyle>
          <a:p>
            <a:pPr>
              <a:defRPr/>
            </a:pPr>
            <a:endParaRPr lang="en-US"/>
          </a:p>
        </p:txBody>
      </p:sp>
      <p:sp>
        <p:nvSpPr>
          <p:cNvPr id="4" name="5 Marcador de número de diapositiva">
            <a:extLst>
              <a:ext uri="{FF2B5EF4-FFF2-40B4-BE49-F238E27FC236}">
                <a16:creationId xmlns:a16="http://schemas.microsoft.com/office/drawing/2014/main" id="{C3B60117-0A0B-4B0E-AD9A-E80F27D892FF}"/>
              </a:ext>
            </a:extLst>
          </p:cNvPr>
          <p:cNvSpPr>
            <a:spLocks noGrp="1"/>
          </p:cNvSpPr>
          <p:nvPr>
            <p:ph type="sldNum" sz="quarter" idx="12"/>
          </p:nvPr>
        </p:nvSpPr>
        <p:spPr/>
        <p:txBody>
          <a:bodyPr/>
          <a:lstStyle>
            <a:lvl1pPr>
              <a:defRPr/>
            </a:lvl1pPr>
          </a:lstStyle>
          <a:p>
            <a:pPr>
              <a:defRPr/>
            </a:pPr>
            <a:fld id="{99F375C5-4127-43AE-81B7-9411048178AC}" type="slidenum">
              <a:rPr lang="en-US" altLang="es-CL"/>
              <a:pPr>
                <a:defRPr/>
              </a:pPr>
              <a:t>‹Nº›</a:t>
            </a:fld>
            <a:endParaRPr lang="en-US" altLang="es-CL"/>
          </a:p>
        </p:txBody>
      </p:sp>
    </p:spTree>
    <p:extLst>
      <p:ext uri="{BB962C8B-B14F-4D97-AF65-F5344CB8AC3E}">
        <p14:creationId xmlns:p14="http://schemas.microsoft.com/office/powerpoint/2010/main" val="30931808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n-US"/>
          </a:p>
        </p:txBody>
      </p:sp>
      <p:sp>
        <p:nvSpPr>
          <p:cNvPr id="3" name="2 Marcador de contenido"/>
          <p:cNvSpPr>
            <a:spLocks noGrp="1"/>
          </p:cNvSpPr>
          <p:nvPr>
            <p:ph idx="1"/>
          </p:nvPr>
        </p:nvSpPr>
        <p:spPr/>
        <p:txBody>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3 Marcador de fecha"/>
          <p:cNvSpPr>
            <a:spLocks noGrp="1"/>
          </p:cNvSpPr>
          <p:nvPr>
            <p:ph type="dt" sz="half" idx="10"/>
          </p:nvPr>
        </p:nvSpPr>
        <p:spPr/>
        <p:txBody>
          <a:bodyPr/>
          <a:lstStyle>
            <a:lvl1pPr>
              <a:defRPr/>
            </a:lvl1pPr>
          </a:lstStyle>
          <a:p>
            <a:pPr>
              <a:defRPr/>
            </a:pPr>
            <a:fld id="{1BFB9178-2B2E-4B28-98B9-73F8E164F5A8}" type="datetimeFigureOut">
              <a:rPr lang="en-US"/>
              <a:pPr>
                <a:defRPr/>
              </a:pPr>
              <a:t>12/9/2020</a:t>
            </a:fld>
            <a:endParaRPr lang="en-US"/>
          </a:p>
        </p:txBody>
      </p:sp>
      <p:sp>
        <p:nvSpPr>
          <p:cNvPr id="5" name="4 Marcador de pie de página"/>
          <p:cNvSpPr>
            <a:spLocks noGrp="1"/>
          </p:cNvSpPr>
          <p:nvPr>
            <p:ph type="ftr" sz="quarter" idx="11"/>
          </p:nvPr>
        </p:nvSpPr>
        <p:spPr/>
        <p:txBody>
          <a:bodyPr/>
          <a:lstStyle>
            <a:lvl1pPr>
              <a:defRPr/>
            </a:lvl1pPr>
          </a:lstStyle>
          <a:p>
            <a:pPr>
              <a:defRPr/>
            </a:pPr>
            <a:endParaRPr lang="en-US"/>
          </a:p>
        </p:txBody>
      </p:sp>
      <p:sp>
        <p:nvSpPr>
          <p:cNvPr id="6" name="5 Marcador de número de diapositiva"/>
          <p:cNvSpPr>
            <a:spLocks noGrp="1"/>
          </p:cNvSpPr>
          <p:nvPr>
            <p:ph type="sldNum" sz="quarter" idx="12"/>
          </p:nvPr>
        </p:nvSpPr>
        <p:spPr/>
        <p:txBody>
          <a:bodyPr/>
          <a:lstStyle>
            <a:lvl1pPr>
              <a:defRPr/>
            </a:lvl1pPr>
          </a:lstStyle>
          <a:p>
            <a:pPr>
              <a:defRPr/>
            </a:pPr>
            <a:fld id="{AF0093A5-69F1-42DA-9900-C7B932277B50}" type="slidenum">
              <a:rPr lang="en-US" altLang="es-ES"/>
              <a:pPr>
                <a:defRPr/>
              </a:pPr>
              <a:t>‹Nº›</a:t>
            </a:fld>
            <a:endParaRPr lang="en-US" altLang="es-ES"/>
          </a:p>
        </p:txBody>
      </p:sp>
    </p:spTree>
    <p:extLst>
      <p:ext uri="{BB962C8B-B14F-4D97-AF65-F5344CB8AC3E}">
        <p14:creationId xmlns:p14="http://schemas.microsoft.com/office/powerpoint/2010/main" val="1675398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2" y="273050"/>
            <a:ext cx="3008313" cy="1162050"/>
          </a:xfrm>
        </p:spPr>
        <p:txBody>
          <a:bodyPr anchor="b"/>
          <a:lstStyle>
            <a:lvl1pPr algn="l">
              <a:defRPr sz="1500" b="1"/>
            </a:lvl1pPr>
          </a:lstStyle>
          <a:p>
            <a:r>
              <a:rPr lang="es-ES"/>
              <a:t>Haga clic para modificar el estilo de título del patrón</a:t>
            </a:r>
            <a:endParaRPr lang="en-US"/>
          </a:p>
        </p:txBody>
      </p:sp>
      <p:sp>
        <p:nvSpPr>
          <p:cNvPr id="3" name="2 Marcador de contenido"/>
          <p:cNvSpPr>
            <a:spLocks noGrp="1"/>
          </p:cNvSpPr>
          <p:nvPr>
            <p:ph idx="1"/>
          </p:nvPr>
        </p:nvSpPr>
        <p:spPr>
          <a:xfrm>
            <a:off x="3575050" y="273146"/>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3 Marcador de texto"/>
          <p:cNvSpPr>
            <a:spLocks noGrp="1"/>
          </p:cNvSpPr>
          <p:nvPr>
            <p:ph type="body" sz="half" idx="2"/>
          </p:nvPr>
        </p:nvSpPr>
        <p:spPr>
          <a:xfrm>
            <a:off x="457202" y="1435103"/>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s-ES"/>
              <a:t>Haga clic para modificar el estilo de texto del patrón</a:t>
            </a:r>
          </a:p>
        </p:txBody>
      </p:sp>
      <p:sp>
        <p:nvSpPr>
          <p:cNvPr id="5" name="3 Marcador de fecha">
            <a:extLst>
              <a:ext uri="{FF2B5EF4-FFF2-40B4-BE49-F238E27FC236}">
                <a16:creationId xmlns:a16="http://schemas.microsoft.com/office/drawing/2014/main" id="{2BBEE7E8-47F8-48A0-98C2-3EB3B5D3085F}"/>
              </a:ext>
            </a:extLst>
          </p:cNvPr>
          <p:cNvSpPr>
            <a:spLocks noGrp="1"/>
          </p:cNvSpPr>
          <p:nvPr>
            <p:ph type="dt" sz="half" idx="10"/>
          </p:nvPr>
        </p:nvSpPr>
        <p:spPr/>
        <p:txBody>
          <a:bodyPr/>
          <a:lstStyle>
            <a:lvl1pPr>
              <a:defRPr/>
            </a:lvl1pPr>
          </a:lstStyle>
          <a:p>
            <a:pPr>
              <a:defRPr/>
            </a:pPr>
            <a:fld id="{DAB8EE5A-2456-4EBE-9DC6-88523B334254}" type="datetimeFigureOut">
              <a:rPr lang="en-US"/>
              <a:pPr>
                <a:defRPr/>
              </a:pPr>
              <a:t>12/9/2020</a:t>
            </a:fld>
            <a:endParaRPr lang="en-US" dirty="0"/>
          </a:p>
        </p:txBody>
      </p:sp>
      <p:sp>
        <p:nvSpPr>
          <p:cNvPr id="6" name="4 Marcador de pie de página">
            <a:extLst>
              <a:ext uri="{FF2B5EF4-FFF2-40B4-BE49-F238E27FC236}">
                <a16:creationId xmlns:a16="http://schemas.microsoft.com/office/drawing/2014/main" id="{CCEB5F4C-E6CD-4D97-94E6-97E72E19CA9D}"/>
              </a:ext>
            </a:extLst>
          </p:cNvPr>
          <p:cNvSpPr>
            <a:spLocks noGrp="1"/>
          </p:cNvSpPr>
          <p:nvPr>
            <p:ph type="ftr" sz="quarter" idx="11"/>
          </p:nvPr>
        </p:nvSpPr>
        <p:spPr/>
        <p:txBody>
          <a:bodyPr/>
          <a:lstStyle>
            <a:lvl1pPr>
              <a:defRPr/>
            </a:lvl1pPr>
          </a:lstStyle>
          <a:p>
            <a:pPr>
              <a:defRPr/>
            </a:pPr>
            <a:endParaRPr lang="en-US"/>
          </a:p>
        </p:txBody>
      </p:sp>
      <p:sp>
        <p:nvSpPr>
          <p:cNvPr id="7" name="5 Marcador de número de diapositiva">
            <a:extLst>
              <a:ext uri="{FF2B5EF4-FFF2-40B4-BE49-F238E27FC236}">
                <a16:creationId xmlns:a16="http://schemas.microsoft.com/office/drawing/2014/main" id="{BA67FE31-2986-4609-9EF1-FCDFA2CB3FE0}"/>
              </a:ext>
            </a:extLst>
          </p:cNvPr>
          <p:cNvSpPr>
            <a:spLocks noGrp="1"/>
          </p:cNvSpPr>
          <p:nvPr>
            <p:ph type="sldNum" sz="quarter" idx="12"/>
          </p:nvPr>
        </p:nvSpPr>
        <p:spPr/>
        <p:txBody>
          <a:bodyPr/>
          <a:lstStyle>
            <a:lvl1pPr>
              <a:defRPr/>
            </a:lvl1pPr>
          </a:lstStyle>
          <a:p>
            <a:pPr>
              <a:defRPr/>
            </a:pPr>
            <a:fld id="{BF6C0C86-DB30-4849-9290-4A3D7AF30825}" type="slidenum">
              <a:rPr lang="en-US" altLang="es-CL"/>
              <a:pPr>
                <a:defRPr/>
              </a:pPr>
              <a:t>‹Nº›</a:t>
            </a:fld>
            <a:endParaRPr lang="en-US" altLang="es-CL"/>
          </a:p>
        </p:txBody>
      </p:sp>
    </p:spTree>
    <p:extLst>
      <p:ext uri="{BB962C8B-B14F-4D97-AF65-F5344CB8AC3E}">
        <p14:creationId xmlns:p14="http://schemas.microsoft.com/office/powerpoint/2010/main" val="3074678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4800600"/>
            <a:ext cx="5486400" cy="566738"/>
          </a:xfrm>
        </p:spPr>
        <p:txBody>
          <a:bodyPr anchor="b"/>
          <a:lstStyle>
            <a:lvl1pPr algn="l">
              <a:defRPr sz="1500" b="1"/>
            </a:lvl1pPr>
          </a:lstStyle>
          <a:p>
            <a:r>
              <a:rPr lang="es-ES"/>
              <a:t>Haga clic para modificar el estilo de título del patrón</a:t>
            </a:r>
            <a:endParaRPr lang="en-US"/>
          </a:p>
        </p:txBody>
      </p:sp>
      <p:sp>
        <p:nvSpPr>
          <p:cNvPr id="3" name="2 Marcador de posición de imagen"/>
          <p:cNvSpPr>
            <a:spLocks noGrp="1"/>
          </p:cNvSpPr>
          <p:nvPr>
            <p:ph type="pic" idx="1"/>
          </p:nvPr>
        </p:nvSpPr>
        <p:spPr>
          <a:xfrm>
            <a:off x="1792288" y="612775"/>
            <a:ext cx="5486400" cy="4114800"/>
          </a:xfrm>
        </p:spPr>
        <p:txBody>
          <a:bodyPr rtlCol="0">
            <a:normAutofit/>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n-US" noProof="0" dirty="0"/>
          </a:p>
        </p:txBody>
      </p:sp>
      <p:sp>
        <p:nvSpPr>
          <p:cNvPr id="4" name="3 Marcador de texto"/>
          <p:cNvSpPr>
            <a:spLocks noGrp="1"/>
          </p:cNvSpPr>
          <p:nvPr>
            <p:ph type="body" sz="half" idx="2"/>
          </p:nvPr>
        </p:nvSpPr>
        <p:spPr>
          <a:xfrm>
            <a:off x="1792288"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s-ES"/>
              <a:t>Haga clic para modificar el estilo de texto del patrón</a:t>
            </a:r>
          </a:p>
        </p:txBody>
      </p:sp>
      <p:sp>
        <p:nvSpPr>
          <p:cNvPr id="5" name="3 Marcador de fecha">
            <a:extLst>
              <a:ext uri="{FF2B5EF4-FFF2-40B4-BE49-F238E27FC236}">
                <a16:creationId xmlns:a16="http://schemas.microsoft.com/office/drawing/2014/main" id="{7ECF6869-8B68-435D-A640-8BB8C8A1C356}"/>
              </a:ext>
            </a:extLst>
          </p:cNvPr>
          <p:cNvSpPr>
            <a:spLocks noGrp="1"/>
          </p:cNvSpPr>
          <p:nvPr>
            <p:ph type="dt" sz="half" idx="10"/>
          </p:nvPr>
        </p:nvSpPr>
        <p:spPr/>
        <p:txBody>
          <a:bodyPr/>
          <a:lstStyle>
            <a:lvl1pPr>
              <a:defRPr/>
            </a:lvl1pPr>
          </a:lstStyle>
          <a:p>
            <a:pPr>
              <a:defRPr/>
            </a:pPr>
            <a:fld id="{C9AF1959-2C6B-42B0-9A7B-EF3BE05F9C81}" type="datetimeFigureOut">
              <a:rPr lang="en-US"/>
              <a:pPr>
                <a:defRPr/>
              </a:pPr>
              <a:t>12/9/2020</a:t>
            </a:fld>
            <a:endParaRPr lang="en-US" dirty="0"/>
          </a:p>
        </p:txBody>
      </p:sp>
      <p:sp>
        <p:nvSpPr>
          <p:cNvPr id="6" name="4 Marcador de pie de página">
            <a:extLst>
              <a:ext uri="{FF2B5EF4-FFF2-40B4-BE49-F238E27FC236}">
                <a16:creationId xmlns:a16="http://schemas.microsoft.com/office/drawing/2014/main" id="{DE378694-1DA8-4988-A349-9A6713DB3ABA}"/>
              </a:ext>
            </a:extLst>
          </p:cNvPr>
          <p:cNvSpPr>
            <a:spLocks noGrp="1"/>
          </p:cNvSpPr>
          <p:nvPr>
            <p:ph type="ftr" sz="quarter" idx="11"/>
          </p:nvPr>
        </p:nvSpPr>
        <p:spPr/>
        <p:txBody>
          <a:bodyPr/>
          <a:lstStyle>
            <a:lvl1pPr>
              <a:defRPr/>
            </a:lvl1pPr>
          </a:lstStyle>
          <a:p>
            <a:pPr>
              <a:defRPr/>
            </a:pPr>
            <a:endParaRPr lang="en-US"/>
          </a:p>
        </p:txBody>
      </p:sp>
      <p:sp>
        <p:nvSpPr>
          <p:cNvPr id="7" name="5 Marcador de número de diapositiva">
            <a:extLst>
              <a:ext uri="{FF2B5EF4-FFF2-40B4-BE49-F238E27FC236}">
                <a16:creationId xmlns:a16="http://schemas.microsoft.com/office/drawing/2014/main" id="{AFF4511C-29DA-4AFA-B43C-E9FDCF8CC7B5}"/>
              </a:ext>
            </a:extLst>
          </p:cNvPr>
          <p:cNvSpPr>
            <a:spLocks noGrp="1"/>
          </p:cNvSpPr>
          <p:nvPr>
            <p:ph type="sldNum" sz="quarter" idx="12"/>
          </p:nvPr>
        </p:nvSpPr>
        <p:spPr/>
        <p:txBody>
          <a:bodyPr/>
          <a:lstStyle>
            <a:lvl1pPr>
              <a:defRPr/>
            </a:lvl1pPr>
          </a:lstStyle>
          <a:p>
            <a:pPr>
              <a:defRPr/>
            </a:pPr>
            <a:fld id="{D7345A51-C0D2-475F-B11E-58DDA2763E0B}" type="slidenum">
              <a:rPr lang="en-US" altLang="es-CL"/>
              <a:pPr>
                <a:defRPr/>
              </a:pPr>
              <a:t>‹Nº›</a:t>
            </a:fld>
            <a:endParaRPr lang="en-US" altLang="es-CL"/>
          </a:p>
        </p:txBody>
      </p:sp>
    </p:spTree>
    <p:extLst>
      <p:ext uri="{BB962C8B-B14F-4D97-AF65-F5344CB8AC3E}">
        <p14:creationId xmlns:p14="http://schemas.microsoft.com/office/powerpoint/2010/main" val="39256800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n-US"/>
          </a:p>
        </p:txBody>
      </p:sp>
      <p:sp>
        <p:nvSpPr>
          <p:cNvPr id="3" name="2 Marcador de texto vertical"/>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3 Marcador de fecha">
            <a:extLst>
              <a:ext uri="{FF2B5EF4-FFF2-40B4-BE49-F238E27FC236}">
                <a16:creationId xmlns:a16="http://schemas.microsoft.com/office/drawing/2014/main" id="{424047B7-ACD2-4E3A-9204-D2711A61059F}"/>
              </a:ext>
            </a:extLst>
          </p:cNvPr>
          <p:cNvSpPr>
            <a:spLocks noGrp="1"/>
          </p:cNvSpPr>
          <p:nvPr>
            <p:ph type="dt" sz="half" idx="10"/>
          </p:nvPr>
        </p:nvSpPr>
        <p:spPr/>
        <p:txBody>
          <a:bodyPr/>
          <a:lstStyle>
            <a:lvl1pPr>
              <a:defRPr/>
            </a:lvl1pPr>
          </a:lstStyle>
          <a:p>
            <a:pPr>
              <a:defRPr/>
            </a:pPr>
            <a:fld id="{9C0211C9-B4BE-4897-88D5-1C06204412B3}" type="datetimeFigureOut">
              <a:rPr lang="en-US"/>
              <a:pPr>
                <a:defRPr/>
              </a:pPr>
              <a:t>12/9/2020</a:t>
            </a:fld>
            <a:endParaRPr lang="en-US" dirty="0"/>
          </a:p>
        </p:txBody>
      </p:sp>
      <p:sp>
        <p:nvSpPr>
          <p:cNvPr id="5" name="4 Marcador de pie de página">
            <a:extLst>
              <a:ext uri="{FF2B5EF4-FFF2-40B4-BE49-F238E27FC236}">
                <a16:creationId xmlns:a16="http://schemas.microsoft.com/office/drawing/2014/main" id="{E253F930-4B48-4970-994F-9239CEE8BC0E}"/>
              </a:ext>
            </a:extLst>
          </p:cNvPr>
          <p:cNvSpPr>
            <a:spLocks noGrp="1"/>
          </p:cNvSpPr>
          <p:nvPr>
            <p:ph type="ftr" sz="quarter" idx="11"/>
          </p:nvPr>
        </p:nvSpPr>
        <p:spPr/>
        <p:txBody>
          <a:bodyPr/>
          <a:lstStyle>
            <a:lvl1pPr>
              <a:defRPr/>
            </a:lvl1pPr>
          </a:lstStyle>
          <a:p>
            <a:pPr>
              <a:defRPr/>
            </a:pPr>
            <a:endParaRPr lang="en-US"/>
          </a:p>
        </p:txBody>
      </p:sp>
      <p:sp>
        <p:nvSpPr>
          <p:cNvPr id="6" name="5 Marcador de número de diapositiva">
            <a:extLst>
              <a:ext uri="{FF2B5EF4-FFF2-40B4-BE49-F238E27FC236}">
                <a16:creationId xmlns:a16="http://schemas.microsoft.com/office/drawing/2014/main" id="{EDF22A5F-AF2E-43B9-8459-D660C9D8CF69}"/>
              </a:ext>
            </a:extLst>
          </p:cNvPr>
          <p:cNvSpPr>
            <a:spLocks noGrp="1"/>
          </p:cNvSpPr>
          <p:nvPr>
            <p:ph type="sldNum" sz="quarter" idx="12"/>
          </p:nvPr>
        </p:nvSpPr>
        <p:spPr/>
        <p:txBody>
          <a:bodyPr/>
          <a:lstStyle>
            <a:lvl1pPr>
              <a:defRPr/>
            </a:lvl1pPr>
          </a:lstStyle>
          <a:p>
            <a:pPr>
              <a:defRPr/>
            </a:pPr>
            <a:fld id="{4B404BCB-D88A-47C2-A7C0-4A6548020E6E}" type="slidenum">
              <a:rPr lang="en-US" altLang="es-CL"/>
              <a:pPr>
                <a:defRPr/>
              </a:pPr>
              <a:t>‹Nº›</a:t>
            </a:fld>
            <a:endParaRPr lang="en-US" altLang="es-CL"/>
          </a:p>
        </p:txBody>
      </p:sp>
    </p:spTree>
    <p:extLst>
      <p:ext uri="{BB962C8B-B14F-4D97-AF65-F5344CB8AC3E}">
        <p14:creationId xmlns:p14="http://schemas.microsoft.com/office/powerpoint/2010/main" val="24955758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274733"/>
            <a:ext cx="2057400" cy="5851525"/>
          </a:xfrm>
        </p:spPr>
        <p:txBody>
          <a:bodyPr vert="eaVert"/>
          <a:lstStyle/>
          <a:p>
            <a:r>
              <a:rPr lang="es-ES"/>
              <a:t>Haga clic para modificar el estilo de título del patrón</a:t>
            </a:r>
            <a:endParaRPr lang="en-US"/>
          </a:p>
        </p:txBody>
      </p:sp>
      <p:sp>
        <p:nvSpPr>
          <p:cNvPr id="3" name="2 Marcador de texto vertical"/>
          <p:cNvSpPr>
            <a:spLocks noGrp="1"/>
          </p:cNvSpPr>
          <p:nvPr>
            <p:ph type="body" orient="vert" idx="1"/>
          </p:nvPr>
        </p:nvSpPr>
        <p:spPr>
          <a:xfrm>
            <a:off x="457200" y="274733"/>
            <a:ext cx="6019800" cy="5851525"/>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3 Marcador de fecha">
            <a:extLst>
              <a:ext uri="{FF2B5EF4-FFF2-40B4-BE49-F238E27FC236}">
                <a16:creationId xmlns:a16="http://schemas.microsoft.com/office/drawing/2014/main" id="{7885B414-20E8-4AB2-BF3F-4322009A86A3}"/>
              </a:ext>
            </a:extLst>
          </p:cNvPr>
          <p:cNvSpPr>
            <a:spLocks noGrp="1"/>
          </p:cNvSpPr>
          <p:nvPr>
            <p:ph type="dt" sz="half" idx="10"/>
          </p:nvPr>
        </p:nvSpPr>
        <p:spPr/>
        <p:txBody>
          <a:bodyPr/>
          <a:lstStyle>
            <a:lvl1pPr>
              <a:defRPr/>
            </a:lvl1pPr>
          </a:lstStyle>
          <a:p>
            <a:pPr>
              <a:defRPr/>
            </a:pPr>
            <a:fld id="{AC77CFC1-78CA-406C-8F36-8585A980F81A}" type="datetimeFigureOut">
              <a:rPr lang="en-US"/>
              <a:pPr>
                <a:defRPr/>
              </a:pPr>
              <a:t>12/9/2020</a:t>
            </a:fld>
            <a:endParaRPr lang="en-US" dirty="0"/>
          </a:p>
        </p:txBody>
      </p:sp>
      <p:sp>
        <p:nvSpPr>
          <p:cNvPr id="5" name="4 Marcador de pie de página">
            <a:extLst>
              <a:ext uri="{FF2B5EF4-FFF2-40B4-BE49-F238E27FC236}">
                <a16:creationId xmlns:a16="http://schemas.microsoft.com/office/drawing/2014/main" id="{D63A824E-D7C7-406B-96EC-DFD872BEE252}"/>
              </a:ext>
            </a:extLst>
          </p:cNvPr>
          <p:cNvSpPr>
            <a:spLocks noGrp="1"/>
          </p:cNvSpPr>
          <p:nvPr>
            <p:ph type="ftr" sz="quarter" idx="11"/>
          </p:nvPr>
        </p:nvSpPr>
        <p:spPr/>
        <p:txBody>
          <a:bodyPr/>
          <a:lstStyle>
            <a:lvl1pPr>
              <a:defRPr/>
            </a:lvl1pPr>
          </a:lstStyle>
          <a:p>
            <a:pPr>
              <a:defRPr/>
            </a:pPr>
            <a:endParaRPr lang="en-US"/>
          </a:p>
        </p:txBody>
      </p:sp>
      <p:sp>
        <p:nvSpPr>
          <p:cNvPr id="6" name="5 Marcador de número de diapositiva">
            <a:extLst>
              <a:ext uri="{FF2B5EF4-FFF2-40B4-BE49-F238E27FC236}">
                <a16:creationId xmlns:a16="http://schemas.microsoft.com/office/drawing/2014/main" id="{30811C08-51E4-4195-A828-BEF73697711A}"/>
              </a:ext>
            </a:extLst>
          </p:cNvPr>
          <p:cNvSpPr>
            <a:spLocks noGrp="1"/>
          </p:cNvSpPr>
          <p:nvPr>
            <p:ph type="sldNum" sz="quarter" idx="12"/>
          </p:nvPr>
        </p:nvSpPr>
        <p:spPr/>
        <p:txBody>
          <a:bodyPr/>
          <a:lstStyle>
            <a:lvl1pPr>
              <a:defRPr/>
            </a:lvl1pPr>
          </a:lstStyle>
          <a:p>
            <a:pPr>
              <a:defRPr/>
            </a:pPr>
            <a:fld id="{4A1565FB-7891-48AB-9478-49AD02862788}" type="slidenum">
              <a:rPr lang="en-US" altLang="es-CL"/>
              <a:pPr>
                <a:defRPr/>
              </a:pPr>
              <a:t>‹Nº›</a:t>
            </a:fld>
            <a:endParaRPr lang="en-US" altLang="es-CL"/>
          </a:p>
        </p:txBody>
      </p:sp>
    </p:spTree>
    <p:extLst>
      <p:ext uri="{BB962C8B-B14F-4D97-AF65-F5344CB8AC3E}">
        <p14:creationId xmlns:p14="http://schemas.microsoft.com/office/powerpoint/2010/main" val="32189659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2130583"/>
            <a:ext cx="7772400" cy="1470025"/>
          </a:xfrm>
        </p:spPr>
        <p:txBody>
          <a:bodyPr/>
          <a:lstStyle/>
          <a:p>
            <a:r>
              <a:rPr lang="es-ES"/>
              <a:t>Haga clic para modificar el estilo de título del patrón</a:t>
            </a:r>
            <a:endParaRPr lang="en-US"/>
          </a:p>
        </p:txBody>
      </p:sp>
      <p:sp>
        <p:nvSpPr>
          <p:cNvPr id="3" name="2 Subtítulo"/>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s-ES"/>
              <a:t>Haga clic para modificar el estilo de subtítulo del patrón</a:t>
            </a:r>
            <a:endParaRPr lang="en-US"/>
          </a:p>
        </p:txBody>
      </p:sp>
      <p:sp>
        <p:nvSpPr>
          <p:cNvPr id="4" name="3 Marcador de fecha">
            <a:extLst>
              <a:ext uri="{FF2B5EF4-FFF2-40B4-BE49-F238E27FC236}">
                <a16:creationId xmlns:a16="http://schemas.microsoft.com/office/drawing/2014/main" id="{3B52034E-134D-4C56-8EB9-C1E7866D60E9}"/>
              </a:ext>
            </a:extLst>
          </p:cNvPr>
          <p:cNvSpPr>
            <a:spLocks noGrp="1"/>
          </p:cNvSpPr>
          <p:nvPr>
            <p:ph type="dt" sz="half" idx="10"/>
          </p:nvPr>
        </p:nvSpPr>
        <p:spPr/>
        <p:txBody>
          <a:bodyPr/>
          <a:lstStyle>
            <a:lvl1pPr>
              <a:defRPr/>
            </a:lvl1pPr>
          </a:lstStyle>
          <a:p>
            <a:pPr>
              <a:defRPr/>
            </a:pPr>
            <a:fld id="{D477E609-10D5-4199-9861-26C470B20D74}" type="datetimeFigureOut">
              <a:rPr lang="en-US"/>
              <a:pPr>
                <a:defRPr/>
              </a:pPr>
              <a:t>12/9/2020</a:t>
            </a:fld>
            <a:endParaRPr lang="en-US" dirty="0"/>
          </a:p>
        </p:txBody>
      </p:sp>
      <p:sp>
        <p:nvSpPr>
          <p:cNvPr id="5" name="4 Marcador de pie de página">
            <a:extLst>
              <a:ext uri="{FF2B5EF4-FFF2-40B4-BE49-F238E27FC236}">
                <a16:creationId xmlns:a16="http://schemas.microsoft.com/office/drawing/2014/main" id="{3FB0FE76-4A6E-4CA4-9EC2-B9C09EDEFA33}"/>
              </a:ext>
            </a:extLst>
          </p:cNvPr>
          <p:cNvSpPr>
            <a:spLocks noGrp="1"/>
          </p:cNvSpPr>
          <p:nvPr>
            <p:ph type="ftr" sz="quarter" idx="11"/>
          </p:nvPr>
        </p:nvSpPr>
        <p:spPr/>
        <p:txBody>
          <a:bodyPr/>
          <a:lstStyle>
            <a:lvl1pPr>
              <a:defRPr/>
            </a:lvl1pPr>
          </a:lstStyle>
          <a:p>
            <a:pPr>
              <a:defRPr/>
            </a:pPr>
            <a:endParaRPr lang="en-US"/>
          </a:p>
        </p:txBody>
      </p:sp>
      <p:sp>
        <p:nvSpPr>
          <p:cNvPr id="6" name="5 Marcador de número de diapositiva">
            <a:extLst>
              <a:ext uri="{FF2B5EF4-FFF2-40B4-BE49-F238E27FC236}">
                <a16:creationId xmlns:a16="http://schemas.microsoft.com/office/drawing/2014/main" id="{3E349483-9ADF-46E3-9126-27796E343333}"/>
              </a:ext>
            </a:extLst>
          </p:cNvPr>
          <p:cNvSpPr>
            <a:spLocks noGrp="1"/>
          </p:cNvSpPr>
          <p:nvPr>
            <p:ph type="sldNum" sz="quarter" idx="12"/>
          </p:nvPr>
        </p:nvSpPr>
        <p:spPr/>
        <p:txBody>
          <a:bodyPr/>
          <a:lstStyle>
            <a:lvl1pPr>
              <a:defRPr/>
            </a:lvl1pPr>
          </a:lstStyle>
          <a:p>
            <a:pPr>
              <a:defRPr/>
            </a:pPr>
            <a:fld id="{7AFE0405-F675-40D2-8907-A0B2FB2AB51A}" type="slidenum">
              <a:rPr lang="en-US" altLang="es-CL"/>
              <a:pPr>
                <a:defRPr/>
              </a:pPr>
              <a:t>‹Nº›</a:t>
            </a:fld>
            <a:endParaRPr lang="en-US" altLang="es-CL"/>
          </a:p>
        </p:txBody>
      </p:sp>
    </p:spTree>
    <p:extLst>
      <p:ext uri="{BB962C8B-B14F-4D97-AF65-F5344CB8AC3E}">
        <p14:creationId xmlns:p14="http://schemas.microsoft.com/office/powerpoint/2010/main" val="32955267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4406900"/>
            <a:ext cx="7772400" cy="1362075"/>
          </a:xfrm>
        </p:spPr>
        <p:txBody>
          <a:bodyPr anchor="t"/>
          <a:lstStyle>
            <a:lvl1pPr algn="l">
              <a:defRPr sz="4000" b="1" cap="all"/>
            </a:lvl1pPr>
          </a:lstStyle>
          <a:p>
            <a:r>
              <a:rPr lang="es-ES"/>
              <a:t>Haga clic para modificar el estilo de título del patrón</a:t>
            </a:r>
            <a:endParaRPr lang="en-US"/>
          </a:p>
        </p:txBody>
      </p:sp>
      <p:sp>
        <p:nvSpPr>
          <p:cNvPr id="3" name="2 Marcador de texto"/>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a:t>Haga clic para modificar el estilo de texto del patrón</a:t>
            </a:r>
          </a:p>
        </p:txBody>
      </p:sp>
      <p:sp>
        <p:nvSpPr>
          <p:cNvPr id="4" name="3 Marcador de fecha"/>
          <p:cNvSpPr>
            <a:spLocks noGrp="1"/>
          </p:cNvSpPr>
          <p:nvPr>
            <p:ph type="dt" sz="half" idx="10"/>
          </p:nvPr>
        </p:nvSpPr>
        <p:spPr/>
        <p:txBody>
          <a:bodyPr/>
          <a:lstStyle>
            <a:lvl1pPr>
              <a:defRPr/>
            </a:lvl1pPr>
          </a:lstStyle>
          <a:p>
            <a:pPr>
              <a:defRPr/>
            </a:pPr>
            <a:fld id="{61A6159E-2613-4D93-BAFF-E49DD57050C8}" type="datetimeFigureOut">
              <a:rPr lang="en-US"/>
              <a:pPr>
                <a:defRPr/>
              </a:pPr>
              <a:t>12/9/2020</a:t>
            </a:fld>
            <a:endParaRPr lang="en-US"/>
          </a:p>
        </p:txBody>
      </p:sp>
      <p:sp>
        <p:nvSpPr>
          <p:cNvPr id="5" name="4 Marcador de pie de página"/>
          <p:cNvSpPr>
            <a:spLocks noGrp="1"/>
          </p:cNvSpPr>
          <p:nvPr>
            <p:ph type="ftr" sz="quarter" idx="11"/>
          </p:nvPr>
        </p:nvSpPr>
        <p:spPr/>
        <p:txBody>
          <a:bodyPr/>
          <a:lstStyle>
            <a:lvl1pPr>
              <a:defRPr/>
            </a:lvl1pPr>
          </a:lstStyle>
          <a:p>
            <a:pPr>
              <a:defRPr/>
            </a:pPr>
            <a:endParaRPr lang="en-US"/>
          </a:p>
        </p:txBody>
      </p:sp>
      <p:sp>
        <p:nvSpPr>
          <p:cNvPr id="6" name="5 Marcador de número de diapositiva"/>
          <p:cNvSpPr>
            <a:spLocks noGrp="1"/>
          </p:cNvSpPr>
          <p:nvPr>
            <p:ph type="sldNum" sz="quarter" idx="12"/>
          </p:nvPr>
        </p:nvSpPr>
        <p:spPr/>
        <p:txBody>
          <a:bodyPr/>
          <a:lstStyle>
            <a:lvl1pPr>
              <a:defRPr/>
            </a:lvl1pPr>
          </a:lstStyle>
          <a:p>
            <a:pPr>
              <a:defRPr/>
            </a:pPr>
            <a:fld id="{F3185D0C-B5A7-4BF2-81D7-8E3381917964}" type="slidenum">
              <a:rPr lang="en-US" altLang="es-ES"/>
              <a:pPr>
                <a:defRPr/>
              </a:pPr>
              <a:t>‹Nº›</a:t>
            </a:fld>
            <a:endParaRPr lang="en-US" altLang="es-ES"/>
          </a:p>
        </p:txBody>
      </p:sp>
    </p:spTree>
    <p:extLst>
      <p:ext uri="{BB962C8B-B14F-4D97-AF65-F5344CB8AC3E}">
        <p14:creationId xmlns:p14="http://schemas.microsoft.com/office/powerpoint/2010/main" val="5430463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n-US"/>
          </a:p>
        </p:txBody>
      </p:sp>
      <p:sp>
        <p:nvSpPr>
          <p:cNvPr id="3" name="2 Marcador de contenido"/>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3 Marcador de contenido"/>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5" name="3 Marcador de fecha"/>
          <p:cNvSpPr>
            <a:spLocks noGrp="1"/>
          </p:cNvSpPr>
          <p:nvPr>
            <p:ph type="dt" sz="half" idx="10"/>
          </p:nvPr>
        </p:nvSpPr>
        <p:spPr/>
        <p:txBody>
          <a:bodyPr/>
          <a:lstStyle>
            <a:lvl1pPr>
              <a:defRPr/>
            </a:lvl1pPr>
          </a:lstStyle>
          <a:p>
            <a:pPr>
              <a:defRPr/>
            </a:pPr>
            <a:fld id="{63BC60C9-7F59-4521-BD8B-62D6F3E6B46B}" type="datetimeFigureOut">
              <a:rPr lang="en-US"/>
              <a:pPr>
                <a:defRPr/>
              </a:pPr>
              <a:t>12/9/2020</a:t>
            </a:fld>
            <a:endParaRPr lang="en-US"/>
          </a:p>
        </p:txBody>
      </p:sp>
      <p:sp>
        <p:nvSpPr>
          <p:cNvPr id="6" name="4 Marcador de pie de página"/>
          <p:cNvSpPr>
            <a:spLocks noGrp="1"/>
          </p:cNvSpPr>
          <p:nvPr>
            <p:ph type="ftr" sz="quarter" idx="11"/>
          </p:nvPr>
        </p:nvSpPr>
        <p:spPr/>
        <p:txBody>
          <a:bodyPr/>
          <a:lstStyle>
            <a:lvl1pPr>
              <a:defRPr/>
            </a:lvl1pPr>
          </a:lstStyle>
          <a:p>
            <a:pPr>
              <a:defRPr/>
            </a:pPr>
            <a:endParaRPr lang="en-US"/>
          </a:p>
        </p:txBody>
      </p:sp>
      <p:sp>
        <p:nvSpPr>
          <p:cNvPr id="7" name="5 Marcador de número de diapositiva"/>
          <p:cNvSpPr>
            <a:spLocks noGrp="1"/>
          </p:cNvSpPr>
          <p:nvPr>
            <p:ph type="sldNum" sz="quarter" idx="12"/>
          </p:nvPr>
        </p:nvSpPr>
        <p:spPr/>
        <p:txBody>
          <a:bodyPr/>
          <a:lstStyle>
            <a:lvl1pPr>
              <a:defRPr/>
            </a:lvl1pPr>
          </a:lstStyle>
          <a:p>
            <a:pPr>
              <a:defRPr/>
            </a:pPr>
            <a:fld id="{CEC2947C-9A8B-4E3C-8819-416D3B6BF7E7}" type="slidenum">
              <a:rPr lang="en-US" altLang="es-ES"/>
              <a:pPr>
                <a:defRPr/>
              </a:pPr>
              <a:t>‹Nº›</a:t>
            </a:fld>
            <a:endParaRPr lang="en-US" altLang="es-ES"/>
          </a:p>
        </p:txBody>
      </p:sp>
    </p:spTree>
    <p:extLst>
      <p:ext uri="{BB962C8B-B14F-4D97-AF65-F5344CB8AC3E}">
        <p14:creationId xmlns:p14="http://schemas.microsoft.com/office/powerpoint/2010/main" val="30988660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a:t>Haga clic para modificar el estilo de título del patrón</a:t>
            </a:r>
            <a:endParaRPr lang="en-US"/>
          </a:p>
        </p:txBody>
      </p:sp>
      <p:sp>
        <p:nvSpPr>
          <p:cNvPr id="3" name="2 Marcador de texto"/>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4" name="3 Marcador de contenido"/>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5" name="4 Marcador de texto"/>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6" name="5 Marcador de contenido"/>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7" name="3 Marcador de fecha"/>
          <p:cNvSpPr>
            <a:spLocks noGrp="1"/>
          </p:cNvSpPr>
          <p:nvPr>
            <p:ph type="dt" sz="half" idx="10"/>
          </p:nvPr>
        </p:nvSpPr>
        <p:spPr/>
        <p:txBody>
          <a:bodyPr/>
          <a:lstStyle>
            <a:lvl1pPr>
              <a:defRPr/>
            </a:lvl1pPr>
          </a:lstStyle>
          <a:p>
            <a:pPr>
              <a:defRPr/>
            </a:pPr>
            <a:fld id="{D54ED031-2C73-4005-8A2C-EA2BF54B80AE}" type="datetimeFigureOut">
              <a:rPr lang="en-US"/>
              <a:pPr>
                <a:defRPr/>
              </a:pPr>
              <a:t>12/9/2020</a:t>
            </a:fld>
            <a:endParaRPr lang="en-US"/>
          </a:p>
        </p:txBody>
      </p:sp>
      <p:sp>
        <p:nvSpPr>
          <p:cNvPr id="8" name="4 Marcador de pie de página"/>
          <p:cNvSpPr>
            <a:spLocks noGrp="1"/>
          </p:cNvSpPr>
          <p:nvPr>
            <p:ph type="ftr" sz="quarter" idx="11"/>
          </p:nvPr>
        </p:nvSpPr>
        <p:spPr/>
        <p:txBody>
          <a:bodyPr/>
          <a:lstStyle>
            <a:lvl1pPr>
              <a:defRPr/>
            </a:lvl1pPr>
          </a:lstStyle>
          <a:p>
            <a:pPr>
              <a:defRPr/>
            </a:pPr>
            <a:endParaRPr lang="en-US"/>
          </a:p>
        </p:txBody>
      </p:sp>
      <p:sp>
        <p:nvSpPr>
          <p:cNvPr id="9" name="5 Marcador de número de diapositiva"/>
          <p:cNvSpPr>
            <a:spLocks noGrp="1"/>
          </p:cNvSpPr>
          <p:nvPr>
            <p:ph type="sldNum" sz="quarter" idx="12"/>
          </p:nvPr>
        </p:nvSpPr>
        <p:spPr/>
        <p:txBody>
          <a:bodyPr/>
          <a:lstStyle>
            <a:lvl1pPr>
              <a:defRPr/>
            </a:lvl1pPr>
          </a:lstStyle>
          <a:p>
            <a:pPr>
              <a:defRPr/>
            </a:pPr>
            <a:fld id="{3A8002BF-2DBC-40DD-BEE2-4D1AE924B98D}" type="slidenum">
              <a:rPr lang="en-US" altLang="es-ES"/>
              <a:pPr>
                <a:defRPr/>
              </a:pPr>
              <a:t>‹Nº›</a:t>
            </a:fld>
            <a:endParaRPr lang="en-US" altLang="es-ES"/>
          </a:p>
        </p:txBody>
      </p:sp>
    </p:spTree>
    <p:extLst>
      <p:ext uri="{BB962C8B-B14F-4D97-AF65-F5344CB8AC3E}">
        <p14:creationId xmlns:p14="http://schemas.microsoft.com/office/powerpoint/2010/main" val="31498783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n-US"/>
          </a:p>
        </p:txBody>
      </p:sp>
      <p:sp>
        <p:nvSpPr>
          <p:cNvPr id="3" name="3 Marcador de fecha"/>
          <p:cNvSpPr>
            <a:spLocks noGrp="1"/>
          </p:cNvSpPr>
          <p:nvPr>
            <p:ph type="dt" sz="half" idx="10"/>
          </p:nvPr>
        </p:nvSpPr>
        <p:spPr/>
        <p:txBody>
          <a:bodyPr/>
          <a:lstStyle>
            <a:lvl1pPr>
              <a:defRPr/>
            </a:lvl1pPr>
          </a:lstStyle>
          <a:p>
            <a:pPr>
              <a:defRPr/>
            </a:pPr>
            <a:fld id="{4A0AAA29-1AD2-4A2F-91B8-EEBD0E13D912}" type="datetimeFigureOut">
              <a:rPr lang="en-US"/>
              <a:pPr>
                <a:defRPr/>
              </a:pPr>
              <a:t>12/9/2020</a:t>
            </a:fld>
            <a:endParaRPr lang="en-US"/>
          </a:p>
        </p:txBody>
      </p:sp>
      <p:sp>
        <p:nvSpPr>
          <p:cNvPr id="4" name="4 Marcador de pie de página"/>
          <p:cNvSpPr>
            <a:spLocks noGrp="1"/>
          </p:cNvSpPr>
          <p:nvPr>
            <p:ph type="ftr" sz="quarter" idx="11"/>
          </p:nvPr>
        </p:nvSpPr>
        <p:spPr/>
        <p:txBody>
          <a:bodyPr/>
          <a:lstStyle>
            <a:lvl1pPr>
              <a:defRPr/>
            </a:lvl1pPr>
          </a:lstStyle>
          <a:p>
            <a:pPr>
              <a:defRPr/>
            </a:pPr>
            <a:endParaRPr lang="en-US"/>
          </a:p>
        </p:txBody>
      </p:sp>
      <p:sp>
        <p:nvSpPr>
          <p:cNvPr id="5" name="5 Marcador de número de diapositiva"/>
          <p:cNvSpPr>
            <a:spLocks noGrp="1"/>
          </p:cNvSpPr>
          <p:nvPr>
            <p:ph type="sldNum" sz="quarter" idx="12"/>
          </p:nvPr>
        </p:nvSpPr>
        <p:spPr/>
        <p:txBody>
          <a:bodyPr/>
          <a:lstStyle>
            <a:lvl1pPr>
              <a:defRPr/>
            </a:lvl1pPr>
          </a:lstStyle>
          <a:p>
            <a:pPr>
              <a:defRPr/>
            </a:pPr>
            <a:fld id="{E96B8588-685B-4225-8C98-C3C6630CA370}" type="slidenum">
              <a:rPr lang="en-US" altLang="es-ES"/>
              <a:pPr>
                <a:defRPr/>
              </a:pPr>
              <a:t>‹Nº›</a:t>
            </a:fld>
            <a:endParaRPr lang="en-US" altLang="es-ES"/>
          </a:p>
        </p:txBody>
      </p:sp>
    </p:spTree>
    <p:extLst>
      <p:ext uri="{BB962C8B-B14F-4D97-AF65-F5344CB8AC3E}">
        <p14:creationId xmlns:p14="http://schemas.microsoft.com/office/powerpoint/2010/main" val="25023406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3 Marcador de fecha"/>
          <p:cNvSpPr>
            <a:spLocks noGrp="1"/>
          </p:cNvSpPr>
          <p:nvPr>
            <p:ph type="dt" sz="half" idx="10"/>
          </p:nvPr>
        </p:nvSpPr>
        <p:spPr/>
        <p:txBody>
          <a:bodyPr/>
          <a:lstStyle>
            <a:lvl1pPr>
              <a:defRPr/>
            </a:lvl1pPr>
          </a:lstStyle>
          <a:p>
            <a:pPr>
              <a:defRPr/>
            </a:pPr>
            <a:fld id="{B82BA1EC-D4C3-4908-9312-62A17E9E60E7}" type="datetimeFigureOut">
              <a:rPr lang="en-US"/>
              <a:pPr>
                <a:defRPr/>
              </a:pPr>
              <a:t>12/9/2020</a:t>
            </a:fld>
            <a:endParaRPr lang="en-US"/>
          </a:p>
        </p:txBody>
      </p:sp>
      <p:sp>
        <p:nvSpPr>
          <p:cNvPr id="3" name="4 Marcador de pie de página"/>
          <p:cNvSpPr>
            <a:spLocks noGrp="1"/>
          </p:cNvSpPr>
          <p:nvPr>
            <p:ph type="ftr" sz="quarter" idx="11"/>
          </p:nvPr>
        </p:nvSpPr>
        <p:spPr/>
        <p:txBody>
          <a:bodyPr/>
          <a:lstStyle>
            <a:lvl1pPr>
              <a:defRPr/>
            </a:lvl1pPr>
          </a:lstStyle>
          <a:p>
            <a:pPr>
              <a:defRPr/>
            </a:pPr>
            <a:endParaRPr lang="en-US"/>
          </a:p>
        </p:txBody>
      </p:sp>
      <p:sp>
        <p:nvSpPr>
          <p:cNvPr id="4" name="5 Marcador de número de diapositiva"/>
          <p:cNvSpPr>
            <a:spLocks noGrp="1"/>
          </p:cNvSpPr>
          <p:nvPr>
            <p:ph type="sldNum" sz="quarter" idx="12"/>
          </p:nvPr>
        </p:nvSpPr>
        <p:spPr/>
        <p:txBody>
          <a:bodyPr/>
          <a:lstStyle>
            <a:lvl1pPr>
              <a:defRPr/>
            </a:lvl1pPr>
          </a:lstStyle>
          <a:p>
            <a:pPr>
              <a:defRPr/>
            </a:pPr>
            <a:fld id="{BADAEB1D-D3D6-4095-9880-043C2B69A370}" type="slidenum">
              <a:rPr lang="en-US" altLang="es-ES"/>
              <a:pPr>
                <a:defRPr/>
              </a:pPr>
              <a:t>‹Nº›</a:t>
            </a:fld>
            <a:endParaRPr lang="en-US" altLang="es-ES"/>
          </a:p>
        </p:txBody>
      </p:sp>
    </p:spTree>
    <p:extLst>
      <p:ext uri="{BB962C8B-B14F-4D97-AF65-F5344CB8AC3E}">
        <p14:creationId xmlns:p14="http://schemas.microsoft.com/office/powerpoint/2010/main" val="30656164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3050"/>
            <a:ext cx="3008313" cy="1162050"/>
          </a:xfrm>
        </p:spPr>
        <p:txBody>
          <a:bodyPr anchor="b"/>
          <a:lstStyle>
            <a:lvl1pPr algn="l">
              <a:defRPr sz="2000" b="1"/>
            </a:lvl1pPr>
          </a:lstStyle>
          <a:p>
            <a:r>
              <a:rPr lang="es-ES"/>
              <a:t>Haga clic para modificar el estilo de título del patrón</a:t>
            </a:r>
            <a:endParaRPr lang="en-US"/>
          </a:p>
        </p:txBody>
      </p:sp>
      <p:sp>
        <p:nvSpPr>
          <p:cNvPr id="3" name="2 Marcador de contenido"/>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3 Marcador de texto"/>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a:t>Haga clic para modificar el estilo de texto del patrón</a:t>
            </a:r>
          </a:p>
        </p:txBody>
      </p:sp>
      <p:sp>
        <p:nvSpPr>
          <p:cNvPr id="5" name="3 Marcador de fecha"/>
          <p:cNvSpPr>
            <a:spLocks noGrp="1"/>
          </p:cNvSpPr>
          <p:nvPr>
            <p:ph type="dt" sz="half" idx="10"/>
          </p:nvPr>
        </p:nvSpPr>
        <p:spPr/>
        <p:txBody>
          <a:bodyPr/>
          <a:lstStyle>
            <a:lvl1pPr>
              <a:defRPr/>
            </a:lvl1pPr>
          </a:lstStyle>
          <a:p>
            <a:pPr>
              <a:defRPr/>
            </a:pPr>
            <a:fld id="{E42714E4-7CEB-4818-837D-3B1F0E850E34}" type="datetimeFigureOut">
              <a:rPr lang="en-US"/>
              <a:pPr>
                <a:defRPr/>
              </a:pPr>
              <a:t>12/9/2020</a:t>
            </a:fld>
            <a:endParaRPr lang="en-US"/>
          </a:p>
        </p:txBody>
      </p:sp>
      <p:sp>
        <p:nvSpPr>
          <p:cNvPr id="6" name="4 Marcador de pie de página"/>
          <p:cNvSpPr>
            <a:spLocks noGrp="1"/>
          </p:cNvSpPr>
          <p:nvPr>
            <p:ph type="ftr" sz="quarter" idx="11"/>
          </p:nvPr>
        </p:nvSpPr>
        <p:spPr/>
        <p:txBody>
          <a:bodyPr/>
          <a:lstStyle>
            <a:lvl1pPr>
              <a:defRPr/>
            </a:lvl1pPr>
          </a:lstStyle>
          <a:p>
            <a:pPr>
              <a:defRPr/>
            </a:pPr>
            <a:endParaRPr lang="en-US"/>
          </a:p>
        </p:txBody>
      </p:sp>
      <p:sp>
        <p:nvSpPr>
          <p:cNvPr id="7" name="5 Marcador de número de diapositiva"/>
          <p:cNvSpPr>
            <a:spLocks noGrp="1"/>
          </p:cNvSpPr>
          <p:nvPr>
            <p:ph type="sldNum" sz="quarter" idx="12"/>
          </p:nvPr>
        </p:nvSpPr>
        <p:spPr/>
        <p:txBody>
          <a:bodyPr/>
          <a:lstStyle>
            <a:lvl1pPr>
              <a:defRPr/>
            </a:lvl1pPr>
          </a:lstStyle>
          <a:p>
            <a:pPr>
              <a:defRPr/>
            </a:pPr>
            <a:fld id="{F1BE8CD9-C61F-4B60-A27D-DE1859F7A5E8}" type="slidenum">
              <a:rPr lang="en-US" altLang="es-ES"/>
              <a:pPr>
                <a:defRPr/>
              </a:pPr>
              <a:t>‹Nº›</a:t>
            </a:fld>
            <a:endParaRPr lang="en-US" altLang="es-ES"/>
          </a:p>
        </p:txBody>
      </p:sp>
    </p:spTree>
    <p:extLst>
      <p:ext uri="{BB962C8B-B14F-4D97-AF65-F5344CB8AC3E}">
        <p14:creationId xmlns:p14="http://schemas.microsoft.com/office/powerpoint/2010/main" val="32916417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4800600"/>
            <a:ext cx="5486400" cy="566738"/>
          </a:xfrm>
        </p:spPr>
        <p:txBody>
          <a:bodyPr anchor="b"/>
          <a:lstStyle>
            <a:lvl1pPr algn="l">
              <a:defRPr sz="2000" b="1"/>
            </a:lvl1pPr>
          </a:lstStyle>
          <a:p>
            <a:r>
              <a:rPr lang="es-ES"/>
              <a:t>Haga clic para modificar el estilo de título del patrón</a:t>
            </a:r>
            <a:endParaRPr lang="en-US"/>
          </a:p>
        </p:txBody>
      </p:sp>
      <p:sp>
        <p:nvSpPr>
          <p:cNvPr id="3" name="2 Marcador de posición de imagen"/>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3 Marcador de texto"/>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a:t>Haga clic para modificar el estilo de texto del patrón</a:t>
            </a:r>
          </a:p>
        </p:txBody>
      </p:sp>
      <p:sp>
        <p:nvSpPr>
          <p:cNvPr id="5" name="3 Marcador de fecha"/>
          <p:cNvSpPr>
            <a:spLocks noGrp="1"/>
          </p:cNvSpPr>
          <p:nvPr>
            <p:ph type="dt" sz="half" idx="10"/>
          </p:nvPr>
        </p:nvSpPr>
        <p:spPr/>
        <p:txBody>
          <a:bodyPr/>
          <a:lstStyle>
            <a:lvl1pPr>
              <a:defRPr/>
            </a:lvl1pPr>
          </a:lstStyle>
          <a:p>
            <a:pPr>
              <a:defRPr/>
            </a:pPr>
            <a:fld id="{C52E430F-8CC7-42AB-AAA0-9A765F2B62BE}" type="datetimeFigureOut">
              <a:rPr lang="en-US"/>
              <a:pPr>
                <a:defRPr/>
              </a:pPr>
              <a:t>12/9/2020</a:t>
            </a:fld>
            <a:endParaRPr lang="en-US"/>
          </a:p>
        </p:txBody>
      </p:sp>
      <p:sp>
        <p:nvSpPr>
          <p:cNvPr id="6" name="4 Marcador de pie de página"/>
          <p:cNvSpPr>
            <a:spLocks noGrp="1"/>
          </p:cNvSpPr>
          <p:nvPr>
            <p:ph type="ftr" sz="quarter" idx="11"/>
          </p:nvPr>
        </p:nvSpPr>
        <p:spPr/>
        <p:txBody>
          <a:bodyPr/>
          <a:lstStyle>
            <a:lvl1pPr>
              <a:defRPr/>
            </a:lvl1pPr>
          </a:lstStyle>
          <a:p>
            <a:pPr>
              <a:defRPr/>
            </a:pPr>
            <a:endParaRPr lang="en-US"/>
          </a:p>
        </p:txBody>
      </p:sp>
      <p:sp>
        <p:nvSpPr>
          <p:cNvPr id="7" name="5 Marcador de número de diapositiva"/>
          <p:cNvSpPr>
            <a:spLocks noGrp="1"/>
          </p:cNvSpPr>
          <p:nvPr>
            <p:ph type="sldNum" sz="quarter" idx="12"/>
          </p:nvPr>
        </p:nvSpPr>
        <p:spPr/>
        <p:txBody>
          <a:bodyPr/>
          <a:lstStyle>
            <a:lvl1pPr>
              <a:defRPr/>
            </a:lvl1pPr>
          </a:lstStyle>
          <a:p>
            <a:pPr>
              <a:defRPr/>
            </a:pPr>
            <a:fld id="{42E52C3B-0452-48D5-A1D0-EB1AF9BE4D0C}" type="slidenum">
              <a:rPr lang="en-US" altLang="es-ES"/>
              <a:pPr>
                <a:defRPr/>
              </a:pPr>
              <a:t>‹Nº›</a:t>
            </a:fld>
            <a:endParaRPr lang="en-US" altLang="es-ES"/>
          </a:p>
        </p:txBody>
      </p:sp>
    </p:spTree>
    <p:extLst>
      <p:ext uri="{BB962C8B-B14F-4D97-AF65-F5344CB8AC3E}">
        <p14:creationId xmlns:p14="http://schemas.microsoft.com/office/powerpoint/2010/main" val="4113350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1.emf"/><Relationship Id="rId2" Type="http://schemas.openxmlformats.org/officeDocument/2006/relationships/slideLayout" Target="../slideLayouts/slideLayout14.xml"/><Relationship Id="rId16" Type="http://schemas.openxmlformats.org/officeDocument/2006/relationships/oleObject" Target="../embeddings/oleObject1.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2.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1 Marcador de título"/>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s-ES" altLang="es-CL"/>
              <a:t>Haga clic para modificar el estilo de título del patrón</a:t>
            </a:r>
            <a:endParaRPr lang="en-US" altLang="es-CL"/>
          </a:p>
        </p:txBody>
      </p:sp>
      <p:sp>
        <p:nvSpPr>
          <p:cNvPr id="1027" name="2 Marcador de texto"/>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 altLang="es-CL"/>
              <a:t>Haga clic para modificar el estilo de texto del patrón</a:t>
            </a:r>
          </a:p>
          <a:p>
            <a:pPr lvl="1"/>
            <a:r>
              <a:rPr lang="es-ES" altLang="es-CL"/>
              <a:t>Segundo nivel</a:t>
            </a:r>
          </a:p>
          <a:p>
            <a:pPr lvl="2"/>
            <a:r>
              <a:rPr lang="es-ES" altLang="es-CL"/>
              <a:t>Tercer nivel</a:t>
            </a:r>
          </a:p>
          <a:p>
            <a:pPr lvl="3"/>
            <a:r>
              <a:rPr lang="es-ES" altLang="es-CL"/>
              <a:t>Cuarto nivel</a:t>
            </a:r>
          </a:p>
          <a:p>
            <a:pPr lvl="4"/>
            <a:r>
              <a:rPr lang="es-ES" altLang="es-CL"/>
              <a:t>Quinto nivel</a:t>
            </a:r>
            <a:endParaRPr lang="en-US" altLang="es-CL"/>
          </a:p>
        </p:txBody>
      </p:sp>
      <p:sp>
        <p:nvSpPr>
          <p:cNvPr id="4" name="3 Marcador de fecha"/>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cs typeface="+mn-cs"/>
              </a:defRPr>
            </a:lvl1pPr>
          </a:lstStyle>
          <a:p>
            <a:pPr>
              <a:defRPr/>
            </a:pPr>
            <a:fld id="{87E111EE-A157-470A-BE67-BC9F8586F365}" type="datetimeFigureOut">
              <a:rPr lang="en-US"/>
              <a:pPr>
                <a:defRPr/>
              </a:pPr>
              <a:t>12/9/2020</a:t>
            </a:fld>
            <a:endParaRPr lang="en-US"/>
          </a:p>
        </p:txBody>
      </p:sp>
      <p:sp>
        <p:nvSpPr>
          <p:cNvPr id="5" name="4 Marcador de pie de página"/>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cs typeface="+mn-cs"/>
              </a:defRPr>
            </a:lvl1pPr>
          </a:lstStyle>
          <a:p>
            <a:pPr>
              <a:defRPr/>
            </a:pPr>
            <a:endParaRPr lang="en-US"/>
          </a:p>
        </p:txBody>
      </p:sp>
      <p:sp>
        <p:nvSpPr>
          <p:cNvPr id="6" name="5 Marcador de número de diapositiva"/>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pPr>
              <a:defRPr/>
            </a:pPr>
            <a:fld id="{323C6428-342E-4533-AF5C-8B0E811EE57A}" type="slidenum">
              <a:rPr lang="en-US" altLang="es-ES"/>
              <a:pPr>
                <a:defRPr/>
              </a:pPr>
              <a:t>‹Nº›</a:t>
            </a:fld>
            <a:endParaRPr lang="en-US" altLang="es-E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098" name="6 Objeto" hidden="1">
            <a:extLst>
              <a:ext uri="{FF2B5EF4-FFF2-40B4-BE49-F238E27FC236}">
                <a16:creationId xmlns:a16="http://schemas.microsoft.com/office/drawing/2014/main" id="{CBA94AAD-7365-47C5-A680-91A281E83443}"/>
              </a:ext>
            </a:extLst>
          </p:cNvPr>
          <p:cNvGraphicFramePr>
            <a:graphicFrameLocks noChangeAspect="1"/>
          </p:cNvGraphicFramePr>
          <p:nvPr userDrawn="1">
            <p:custDataLst>
              <p:tags r:id="rId14"/>
            </p:custDataLst>
          </p:nvPr>
        </p:nvGraphicFramePr>
        <p:xfrm>
          <a:off x="1192" y="1589"/>
          <a:ext cx="2381" cy="1587"/>
        </p:xfrm>
        <a:graphic>
          <a:graphicData uri="http://schemas.openxmlformats.org/presentationml/2006/ole">
            <mc:AlternateContent xmlns:mc="http://schemas.openxmlformats.org/markup-compatibility/2006">
              <mc:Choice xmlns:v="urn:schemas-microsoft-com:vml" Requires="v">
                <p:oleObj name="Diapositiva de think-cell" r:id="rId16" imgW="38100" imgH="38100" progId="TCLayout.ActiveDocument.1">
                  <p:embed/>
                </p:oleObj>
              </mc:Choice>
              <mc:Fallback>
                <p:oleObj name="Diapositiva de think-cell" r:id="rId16" imgW="38100" imgH="38100" progId="TCLayout.ActiveDocument.1">
                  <p:embed/>
                  <p:pic>
                    <p:nvPicPr>
                      <p:cNvPr id="4098" name="6 Objeto" hidden="1">
                        <a:extLst>
                          <a:ext uri="{FF2B5EF4-FFF2-40B4-BE49-F238E27FC236}">
                            <a16:creationId xmlns:a16="http://schemas.microsoft.com/office/drawing/2014/main" id="{CBA94AAD-7365-47C5-A680-91A281E83443}"/>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192" y="1589"/>
                        <a:ext cx="2381"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tángulo 1" hidden="1">
            <a:extLst>
              <a:ext uri="{FF2B5EF4-FFF2-40B4-BE49-F238E27FC236}">
                <a16:creationId xmlns:a16="http://schemas.microsoft.com/office/drawing/2014/main" id="{3B0A999E-CD19-491C-9367-A8A632B62FD3}"/>
              </a:ext>
            </a:extLst>
          </p:cNvPr>
          <p:cNvSpPr/>
          <p:nvPr userDrawn="1">
            <p:custDataLst>
              <p:tags r:id="rId15"/>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defRPr/>
            </a:pPr>
            <a:endParaRPr lang="es-ES" sz="3300" dirty="0">
              <a:ea typeface="+mj-ea"/>
              <a:cs typeface="+mj-cs"/>
              <a:sym typeface="Arial" panose="020B0604020202020204" pitchFamily="34" charset="0"/>
            </a:endParaRPr>
          </a:p>
        </p:txBody>
      </p:sp>
      <p:sp>
        <p:nvSpPr>
          <p:cNvPr id="4100" name="1 Marcador de título">
            <a:extLst>
              <a:ext uri="{FF2B5EF4-FFF2-40B4-BE49-F238E27FC236}">
                <a16:creationId xmlns:a16="http://schemas.microsoft.com/office/drawing/2014/main" id="{F0CFC793-FFAE-4E7A-B9C1-01E9004276EE}"/>
              </a:ext>
            </a:extLst>
          </p:cNvPr>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s-ES" altLang="es-CL"/>
              <a:t>Haga clic para modificar el estilo de título del patrón</a:t>
            </a:r>
            <a:endParaRPr lang="en-US" altLang="es-CL"/>
          </a:p>
        </p:txBody>
      </p:sp>
      <p:sp>
        <p:nvSpPr>
          <p:cNvPr id="4101" name="2 Marcador de texto">
            <a:extLst>
              <a:ext uri="{FF2B5EF4-FFF2-40B4-BE49-F238E27FC236}">
                <a16:creationId xmlns:a16="http://schemas.microsoft.com/office/drawing/2014/main" id="{42676DE1-6E18-4BA3-8C88-3FB54852C545}"/>
              </a:ext>
            </a:extLst>
          </p:cNvPr>
          <p:cNvSpPr>
            <a:spLocks noGrp="1"/>
          </p:cNvSpPr>
          <p:nvPr>
            <p:ph type="body" idx="1"/>
          </p:nvPr>
        </p:nvSpPr>
        <p:spPr bwMode="auto">
          <a:xfrm>
            <a:off x="457200" y="1600201"/>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 altLang="es-CL"/>
              <a:t>Haga clic para modificar el estilo de texto del patrón</a:t>
            </a:r>
          </a:p>
          <a:p>
            <a:pPr lvl="1"/>
            <a:r>
              <a:rPr lang="es-ES" altLang="es-CL"/>
              <a:t>Segundo nivel</a:t>
            </a:r>
          </a:p>
          <a:p>
            <a:pPr lvl="2"/>
            <a:r>
              <a:rPr lang="es-ES" altLang="es-CL"/>
              <a:t>Tercer nivel</a:t>
            </a:r>
          </a:p>
          <a:p>
            <a:pPr lvl="3"/>
            <a:r>
              <a:rPr lang="es-ES" altLang="es-CL"/>
              <a:t>Cuarto nivel</a:t>
            </a:r>
          </a:p>
          <a:p>
            <a:pPr lvl="4"/>
            <a:r>
              <a:rPr lang="es-ES" altLang="es-CL"/>
              <a:t>Quinto nivel</a:t>
            </a:r>
            <a:endParaRPr lang="en-US" altLang="es-CL"/>
          </a:p>
        </p:txBody>
      </p:sp>
      <p:sp>
        <p:nvSpPr>
          <p:cNvPr id="4" name="3 Marcador de fecha">
            <a:extLst>
              <a:ext uri="{FF2B5EF4-FFF2-40B4-BE49-F238E27FC236}">
                <a16:creationId xmlns:a16="http://schemas.microsoft.com/office/drawing/2014/main" id="{E24C3807-1B91-4F90-AA30-8AC00145DD61}"/>
              </a:ext>
            </a:extLst>
          </p:cNvPr>
          <p:cNvSpPr>
            <a:spLocks noGrp="1"/>
          </p:cNvSpPr>
          <p:nvPr>
            <p:ph type="dt" sz="half" idx="2"/>
          </p:nvPr>
        </p:nvSpPr>
        <p:spPr>
          <a:xfrm>
            <a:off x="457200" y="6356351"/>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900">
                <a:solidFill>
                  <a:srgbClr val="333333">
                    <a:tint val="75000"/>
                  </a:srgbClr>
                </a:solidFill>
                <a:latin typeface="+mn-lt"/>
                <a:cs typeface="+mn-cs"/>
              </a:defRPr>
            </a:lvl1pPr>
          </a:lstStyle>
          <a:p>
            <a:pPr>
              <a:defRPr/>
            </a:pPr>
            <a:fld id="{7A366B84-706B-4CE3-A537-88D8D103A6EA}" type="datetimeFigureOut">
              <a:rPr lang="en-US"/>
              <a:pPr>
                <a:defRPr/>
              </a:pPr>
              <a:t>12/9/2020</a:t>
            </a:fld>
            <a:endParaRPr lang="en-US" dirty="0"/>
          </a:p>
        </p:txBody>
      </p:sp>
      <p:sp>
        <p:nvSpPr>
          <p:cNvPr id="5" name="4 Marcador de pie de página">
            <a:extLst>
              <a:ext uri="{FF2B5EF4-FFF2-40B4-BE49-F238E27FC236}">
                <a16:creationId xmlns:a16="http://schemas.microsoft.com/office/drawing/2014/main" id="{13B85187-0E79-4EE8-AF84-17E110A810CB}"/>
              </a:ext>
            </a:extLst>
          </p:cNvPr>
          <p:cNvSpPr>
            <a:spLocks noGrp="1"/>
          </p:cNvSpPr>
          <p:nvPr>
            <p:ph type="ftr" sz="quarter" idx="3"/>
          </p:nvPr>
        </p:nvSpPr>
        <p:spPr>
          <a:xfrm>
            <a:off x="3124200" y="6356351"/>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900">
                <a:solidFill>
                  <a:srgbClr val="333333">
                    <a:tint val="75000"/>
                  </a:srgbClr>
                </a:solidFill>
                <a:latin typeface="+mn-lt"/>
                <a:cs typeface="+mn-cs"/>
              </a:defRPr>
            </a:lvl1pPr>
          </a:lstStyle>
          <a:p>
            <a:pPr>
              <a:defRPr/>
            </a:pPr>
            <a:endParaRPr lang="en-US"/>
          </a:p>
        </p:txBody>
      </p:sp>
      <p:sp>
        <p:nvSpPr>
          <p:cNvPr id="6" name="5 Marcador de número de diapositiva">
            <a:extLst>
              <a:ext uri="{FF2B5EF4-FFF2-40B4-BE49-F238E27FC236}">
                <a16:creationId xmlns:a16="http://schemas.microsoft.com/office/drawing/2014/main" id="{EE25BF73-B163-4656-AF2F-0821C121FDA3}"/>
              </a:ext>
            </a:extLst>
          </p:cNvPr>
          <p:cNvSpPr>
            <a:spLocks noGrp="1"/>
          </p:cNvSpPr>
          <p:nvPr>
            <p:ph type="sldNum" sz="quarter" idx="4"/>
          </p:nvPr>
        </p:nvSpPr>
        <p:spPr>
          <a:xfrm>
            <a:off x="6553200" y="6356351"/>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900">
                <a:solidFill>
                  <a:srgbClr val="8F8F8F"/>
                </a:solidFill>
                <a:latin typeface="Arial" panose="020B0604020202020204" pitchFamily="34" charset="0"/>
              </a:defRPr>
            </a:lvl1pPr>
          </a:lstStyle>
          <a:p>
            <a:pPr>
              <a:defRPr/>
            </a:pPr>
            <a:fld id="{363F2C06-18AF-465A-86A2-003CCCE08E57}" type="slidenum">
              <a:rPr lang="en-US" altLang="es-CL"/>
              <a:pPr>
                <a:defRPr/>
              </a:pPr>
              <a:t>‹Nº›</a:t>
            </a:fld>
            <a:endParaRPr lang="en-US" altLang="es-CL"/>
          </a:p>
        </p:txBody>
      </p:sp>
    </p:spTree>
    <p:extLst>
      <p:ext uri="{BB962C8B-B14F-4D97-AF65-F5344CB8AC3E}">
        <p14:creationId xmlns:p14="http://schemas.microsoft.com/office/powerpoint/2010/main" val="394020910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Lst>
  <p:txStyles>
    <p:titleStyle>
      <a:lvl1pPr algn="ctr" rtl="0" eaLnBrk="0" fontAlgn="base" hangingPunct="0">
        <a:spcBef>
          <a:spcPct val="0"/>
        </a:spcBef>
        <a:spcAft>
          <a:spcPct val="0"/>
        </a:spcAft>
        <a:defRPr sz="3300" kern="1200">
          <a:solidFill>
            <a:schemeClr val="tx1"/>
          </a:solidFill>
          <a:latin typeface="+mj-lt"/>
          <a:ea typeface="+mj-ea"/>
          <a:cs typeface="+mj-cs"/>
        </a:defRPr>
      </a:lvl1pPr>
      <a:lvl2pPr algn="ctr" rtl="0" eaLnBrk="0" fontAlgn="base" hangingPunct="0">
        <a:spcBef>
          <a:spcPct val="0"/>
        </a:spcBef>
        <a:spcAft>
          <a:spcPct val="0"/>
        </a:spcAft>
        <a:defRPr sz="3300">
          <a:solidFill>
            <a:schemeClr val="tx1"/>
          </a:solidFill>
          <a:latin typeface="Arial" pitchFamily="34" charset="0"/>
        </a:defRPr>
      </a:lvl2pPr>
      <a:lvl3pPr algn="ctr" rtl="0" eaLnBrk="0" fontAlgn="base" hangingPunct="0">
        <a:spcBef>
          <a:spcPct val="0"/>
        </a:spcBef>
        <a:spcAft>
          <a:spcPct val="0"/>
        </a:spcAft>
        <a:defRPr sz="3300">
          <a:solidFill>
            <a:schemeClr val="tx1"/>
          </a:solidFill>
          <a:latin typeface="Arial" pitchFamily="34" charset="0"/>
        </a:defRPr>
      </a:lvl3pPr>
      <a:lvl4pPr algn="ctr" rtl="0" eaLnBrk="0" fontAlgn="base" hangingPunct="0">
        <a:spcBef>
          <a:spcPct val="0"/>
        </a:spcBef>
        <a:spcAft>
          <a:spcPct val="0"/>
        </a:spcAft>
        <a:defRPr sz="3300">
          <a:solidFill>
            <a:schemeClr val="tx1"/>
          </a:solidFill>
          <a:latin typeface="Arial" pitchFamily="34" charset="0"/>
        </a:defRPr>
      </a:lvl4pPr>
      <a:lvl5pPr algn="ctr" rtl="0" eaLnBrk="0" fontAlgn="base" hangingPunct="0">
        <a:spcBef>
          <a:spcPct val="0"/>
        </a:spcBef>
        <a:spcAft>
          <a:spcPct val="0"/>
        </a:spcAft>
        <a:defRPr sz="3300">
          <a:solidFill>
            <a:schemeClr val="tx1"/>
          </a:solidFill>
          <a:latin typeface="Arial" pitchFamily="34" charset="0"/>
        </a:defRPr>
      </a:lvl5pPr>
      <a:lvl6pPr marL="342900" algn="ctr" rtl="0" fontAlgn="base">
        <a:spcBef>
          <a:spcPct val="0"/>
        </a:spcBef>
        <a:spcAft>
          <a:spcPct val="0"/>
        </a:spcAft>
        <a:defRPr sz="3300">
          <a:solidFill>
            <a:schemeClr val="tx1"/>
          </a:solidFill>
          <a:latin typeface="Arial" pitchFamily="34" charset="0"/>
        </a:defRPr>
      </a:lvl6pPr>
      <a:lvl7pPr marL="685800" algn="ctr" rtl="0" fontAlgn="base">
        <a:spcBef>
          <a:spcPct val="0"/>
        </a:spcBef>
        <a:spcAft>
          <a:spcPct val="0"/>
        </a:spcAft>
        <a:defRPr sz="3300">
          <a:solidFill>
            <a:schemeClr val="tx1"/>
          </a:solidFill>
          <a:latin typeface="Arial" pitchFamily="34" charset="0"/>
        </a:defRPr>
      </a:lvl7pPr>
      <a:lvl8pPr marL="1028700" algn="ctr" rtl="0" fontAlgn="base">
        <a:spcBef>
          <a:spcPct val="0"/>
        </a:spcBef>
        <a:spcAft>
          <a:spcPct val="0"/>
        </a:spcAft>
        <a:defRPr sz="3300">
          <a:solidFill>
            <a:schemeClr val="tx1"/>
          </a:solidFill>
          <a:latin typeface="Arial" pitchFamily="34" charset="0"/>
        </a:defRPr>
      </a:lvl8pPr>
      <a:lvl9pPr marL="1371600" algn="ctr" rtl="0" fontAlgn="base">
        <a:spcBef>
          <a:spcPct val="0"/>
        </a:spcBef>
        <a:spcAft>
          <a:spcPct val="0"/>
        </a:spcAft>
        <a:defRPr sz="3300">
          <a:solidFill>
            <a:schemeClr val="tx1"/>
          </a:solidFill>
          <a:latin typeface="Arial" pitchFamily="34" charset="0"/>
        </a:defRPr>
      </a:lvl9pPr>
    </p:titleStyle>
    <p:bodyStyle>
      <a:lvl1pPr marL="257175" indent="-257175"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1pPr>
      <a:lvl2pPr marL="557213" indent="-214313" algn="l" rtl="0" eaLnBrk="0" fontAlgn="base" hangingPunct="0">
        <a:spcBef>
          <a:spcPct val="20000"/>
        </a:spcBef>
        <a:spcAft>
          <a:spcPct val="0"/>
        </a:spcAft>
        <a:buFont typeface="Arial" panose="020B0604020202020204" pitchFamily="34" charset="0"/>
        <a:buChar char="–"/>
        <a:defRPr sz="2100" kern="1200">
          <a:solidFill>
            <a:schemeClr val="tx1"/>
          </a:solidFill>
          <a:latin typeface="+mn-lt"/>
          <a:ea typeface="+mn-ea"/>
          <a:cs typeface="+mn-cs"/>
        </a:defRPr>
      </a:lvl2pPr>
      <a:lvl3pPr marL="857250" indent="-171450" algn="l" rtl="0" eaLnBrk="0" fontAlgn="base" hangingPunct="0">
        <a:spcBef>
          <a:spcPct val="20000"/>
        </a:spcBef>
        <a:spcAft>
          <a:spcPct val="0"/>
        </a:spcAft>
        <a:buFont typeface="Arial" panose="020B0604020202020204" pitchFamily="34" charset="0"/>
        <a:buChar char="•"/>
        <a:defRPr sz="1800" kern="1200">
          <a:solidFill>
            <a:schemeClr val="tx1"/>
          </a:solidFill>
          <a:latin typeface="+mn-lt"/>
          <a:ea typeface="+mn-ea"/>
          <a:cs typeface="+mn-cs"/>
        </a:defRPr>
      </a:lvl3pPr>
      <a:lvl4pPr marL="1200150" indent="-171450" algn="l" rtl="0" eaLnBrk="0" fontAlgn="base" hangingPunct="0">
        <a:spcBef>
          <a:spcPct val="20000"/>
        </a:spcBef>
        <a:spcAft>
          <a:spcPct val="0"/>
        </a:spcAft>
        <a:buFont typeface="Arial" panose="020B0604020202020204" pitchFamily="34" charset="0"/>
        <a:buChar char="–"/>
        <a:defRPr sz="1500" kern="1200">
          <a:solidFill>
            <a:schemeClr val="tx1"/>
          </a:solidFill>
          <a:latin typeface="+mn-lt"/>
          <a:ea typeface="+mn-ea"/>
          <a:cs typeface="+mn-cs"/>
        </a:defRPr>
      </a:lvl4pPr>
      <a:lvl5pPr marL="1543050" indent="-171450" algn="l" rtl="0" eaLnBrk="0" fontAlgn="base" hangingPunct="0">
        <a:spcBef>
          <a:spcPct val="20000"/>
        </a:spcBef>
        <a:spcAft>
          <a:spcPct val="0"/>
        </a:spcAft>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1.xml"/><Relationship Id="rId7" Type="http://schemas.openxmlformats.org/officeDocument/2006/relationships/image" Target="../media/image3.png"/><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3.png"/><Relationship Id="rId2" Type="http://schemas.openxmlformats.org/officeDocument/2006/relationships/slideLayout" Target="../slideLayouts/slideLayout14.xml"/><Relationship Id="rId1" Type="http://schemas.openxmlformats.org/officeDocument/2006/relationships/tags" Target="../tags/tag5.xml"/><Relationship Id="rId6" Type="http://schemas.openxmlformats.org/officeDocument/2006/relationships/image" Target="../media/image37.png"/><Relationship Id="rId5" Type="http://schemas.openxmlformats.org/officeDocument/2006/relationships/image" Target="../media/image36.emf"/><Relationship Id="rId4" Type="http://schemas.openxmlformats.org/officeDocument/2006/relationships/oleObject" Target="../embeddings/oleObject3.bin"/></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pn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5.xml"/><Relationship Id="rId7" Type="http://schemas.openxmlformats.org/officeDocument/2006/relationships/image" Target="../media/image3.png"/><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2.xml.rels><?xml version="1.0" encoding="UTF-8" standalone="yes"?>
<Relationships xmlns="http://schemas.openxmlformats.org/package/2006/relationships"><Relationship Id="rId8" Type="http://schemas.openxmlformats.org/officeDocument/2006/relationships/image" Target="../media/image10.jpeg"/><Relationship Id="rId13" Type="http://schemas.openxmlformats.org/officeDocument/2006/relationships/image" Target="../media/image15.jpeg"/><Relationship Id="rId18" Type="http://schemas.openxmlformats.org/officeDocument/2006/relationships/diagramData" Target="../diagrams/data1.xml"/><Relationship Id="rId3" Type="http://schemas.openxmlformats.org/officeDocument/2006/relationships/image" Target="../media/image5.png"/><Relationship Id="rId21" Type="http://schemas.openxmlformats.org/officeDocument/2006/relationships/diagramColors" Target="../diagrams/colors1.xml"/><Relationship Id="rId7" Type="http://schemas.openxmlformats.org/officeDocument/2006/relationships/image" Target="../media/image9.png"/><Relationship Id="rId12" Type="http://schemas.openxmlformats.org/officeDocument/2006/relationships/image" Target="../media/image14.png"/><Relationship Id="rId17" Type="http://schemas.openxmlformats.org/officeDocument/2006/relationships/image" Target="../media/image19.png"/><Relationship Id="rId2" Type="http://schemas.openxmlformats.org/officeDocument/2006/relationships/notesSlide" Target="../notesSlides/notesSlide2.xml"/><Relationship Id="rId16" Type="http://schemas.openxmlformats.org/officeDocument/2006/relationships/image" Target="../media/image18.jpeg"/><Relationship Id="rId20" Type="http://schemas.openxmlformats.org/officeDocument/2006/relationships/diagramQuickStyle" Target="../diagrams/quickStyle1.xml"/><Relationship Id="rId1" Type="http://schemas.openxmlformats.org/officeDocument/2006/relationships/slideLayout" Target="../slideLayouts/slideLayout2.xml"/><Relationship Id="rId6" Type="http://schemas.openxmlformats.org/officeDocument/2006/relationships/image" Target="../media/image8.jpeg"/><Relationship Id="rId11" Type="http://schemas.openxmlformats.org/officeDocument/2006/relationships/image" Target="../media/image13.png"/><Relationship Id="rId24" Type="http://schemas.openxmlformats.org/officeDocument/2006/relationships/image" Target="../media/image35.PNG"/><Relationship Id="rId5" Type="http://schemas.openxmlformats.org/officeDocument/2006/relationships/image" Target="../media/image7.png"/><Relationship Id="rId15" Type="http://schemas.openxmlformats.org/officeDocument/2006/relationships/image" Target="../media/image17.png"/><Relationship Id="rId23" Type="http://schemas.openxmlformats.org/officeDocument/2006/relationships/image" Target="../media/image3.png"/><Relationship Id="rId10" Type="http://schemas.openxmlformats.org/officeDocument/2006/relationships/image" Target="../media/image12.jpeg"/><Relationship Id="rId19" Type="http://schemas.openxmlformats.org/officeDocument/2006/relationships/diagramLayout" Target="../diagrams/layout1.xml"/><Relationship Id="rId4" Type="http://schemas.openxmlformats.org/officeDocument/2006/relationships/image" Target="../media/image6.png"/><Relationship Id="rId9" Type="http://schemas.openxmlformats.org/officeDocument/2006/relationships/image" Target="../media/image11.png"/><Relationship Id="rId14" Type="http://schemas.openxmlformats.org/officeDocument/2006/relationships/image" Target="../media/image16.png"/><Relationship Id="rId22" Type="http://schemas.microsoft.com/office/2007/relationships/diagramDrawing" Target="../diagrams/drawing1.xml"/></Relationships>
</file>

<file path=ppt/slides/_rels/slide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3.png"/><Relationship Id="rId2" Type="http://schemas.openxmlformats.org/officeDocument/2006/relationships/slideLayout" Target="../slideLayouts/slideLayout14.xml"/><Relationship Id="rId1" Type="http://schemas.openxmlformats.org/officeDocument/2006/relationships/tags" Target="../tags/tag4.xml"/><Relationship Id="rId6" Type="http://schemas.openxmlformats.org/officeDocument/2006/relationships/image" Target="../media/image37.png"/><Relationship Id="rId5" Type="http://schemas.openxmlformats.org/officeDocument/2006/relationships/image" Target="../media/image36.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png"/><Relationship Id="rId1" Type="http://schemas.openxmlformats.org/officeDocument/2006/relationships/slideLayout" Target="../slideLayouts/slideLayout2.xml"/><Relationship Id="rId4" Type="http://schemas.openxmlformats.org/officeDocument/2006/relationships/image" Target="../media/image35.PNG"/></Relationships>
</file>

<file path=ppt/slides/_rels/slide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png"/><Relationship Id="rId1" Type="http://schemas.openxmlformats.org/officeDocument/2006/relationships/slideLayout" Target="../slideLayouts/slideLayout2.xml"/><Relationship Id="rId4" Type="http://schemas.openxmlformats.org/officeDocument/2006/relationships/image" Target="../media/image35.PNG"/></Relationships>
</file>

<file path=ppt/slides/_rels/slide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png"/><Relationship Id="rId1" Type="http://schemas.openxmlformats.org/officeDocument/2006/relationships/slideLayout" Target="../slideLayouts/slideLayout2.xml"/><Relationship Id="rId4" Type="http://schemas.openxmlformats.org/officeDocument/2006/relationships/image" Target="../media/image35.PNG"/></Relationships>
</file>

<file path=ppt/slides/_rels/slide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9425F"/>
        </a:solidFill>
        <a:effectLst/>
      </p:bgPr>
    </p:bg>
    <p:spTree>
      <p:nvGrpSpPr>
        <p:cNvPr id="1" name=""/>
        <p:cNvGrpSpPr/>
        <p:nvPr/>
      </p:nvGrpSpPr>
      <p:grpSpPr>
        <a:xfrm>
          <a:off x="0" y="0"/>
          <a:ext cx="0" cy="0"/>
          <a:chOff x="0" y="0"/>
          <a:chExt cx="0" cy="0"/>
        </a:xfrm>
      </p:grpSpPr>
      <p:graphicFrame>
        <p:nvGraphicFramePr>
          <p:cNvPr id="2050" name="12 Objeto"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4" imgW="360" imgH="360" progId="TCLayout.ActiveDocument.1">
                  <p:embed/>
                </p:oleObj>
              </mc:Choice>
              <mc:Fallback>
                <p:oleObj name="Diapositiva de think-cell" r:id="rId4" imgW="360" imgH="360" progId="TCLayout.ActiveDocument.1">
                  <p:embed/>
                  <p:pic>
                    <p:nvPicPr>
                      <p:cNvPr id="2050" name="12 Objeto"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099" name="16 Marcador de pie de página"/>
          <p:cNvSpPr>
            <a:spLocks noGrp="1"/>
          </p:cNvSpPr>
          <p:nvPr>
            <p:ph type="ftr" sz="quarter" idx="11"/>
          </p:nvPr>
        </p:nvSpPr>
        <p:spPr bwMode="auto">
          <a:xfrm>
            <a:off x="4464050" y="6592888"/>
            <a:ext cx="215900" cy="15240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numCol="1" anchorCtr="0" compatLnSpc="1">
            <a:prstTxWarp prst="textNoShape">
              <a:avLst/>
            </a:prstTxWarp>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defRPr/>
            </a:pPr>
            <a:r>
              <a:rPr lang="es-CL" sz="1000" dirty="0">
                <a:solidFill>
                  <a:srgbClr val="898989"/>
                </a:solidFill>
              </a:rPr>
              <a:t>CNE</a:t>
            </a:r>
            <a:endParaRPr lang="es-ES" sz="1000" dirty="0">
              <a:solidFill>
                <a:srgbClr val="898989"/>
              </a:solidFill>
            </a:endParaRPr>
          </a:p>
        </p:txBody>
      </p:sp>
      <p:pic>
        <p:nvPicPr>
          <p:cNvPr id="2052" name="Picture 4" descr="C:\Users\hp partes\Documents\ALIMA\08  CNE\Elementos Presentación\franja GOB-03-04.png"/>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2700"/>
            <a:ext cx="9144000" cy="74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3" name="Rectangle 243"/>
          <p:cNvSpPr>
            <a:spLocks noChangeArrowheads="1"/>
          </p:cNvSpPr>
          <p:nvPr/>
        </p:nvSpPr>
        <p:spPr bwMode="auto">
          <a:xfrm>
            <a:off x="1706563" y="1795463"/>
            <a:ext cx="5692775" cy="508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p>
            <a:pPr eaLnBrk="1" hangingPunct="1"/>
            <a:endParaRPr lang="es-ES" altLang="es-CL" dirty="0">
              <a:solidFill>
                <a:srgbClr val="333333"/>
              </a:solidFill>
              <a:latin typeface="Arial" pitchFamily="34" charset="0"/>
            </a:endParaRPr>
          </a:p>
        </p:txBody>
      </p:sp>
      <p:grpSp>
        <p:nvGrpSpPr>
          <p:cNvPr id="2054" name="Group 252"/>
          <p:cNvGrpSpPr>
            <a:grpSpLocks noChangeAspect="1"/>
          </p:cNvGrpSpPr>
          <p:nvPr/>
        </p:nvGrpSpPr>
        <p:grpSpPr bwMode="auto">
          <a:xfrm>
            <a:off x="1749425" y="1795463"/>
            <a:ext cx="5634038" cy="5105400"/>
            <a:chOff x="1102" y="1088"/>
            <a:chExt cx="3549" cy="3216"/>
          </a:xfrm>
        </p:grpSpPr>
        <p:grpSp>
          <p:nvGrpSpPr>
            <p:cNvPr id="2061" name="Group 453"/>
            <p:cNvGrpSpPr>
              <a:grpSpLocks/>
            </p:cNvGrpSpPr>
            <p:nvPr/>
          </p:nvGrpSpPr>
          <p:grpSpPr bwMode="auto">
            <a:xfrm>
              <a:off x="1102" y="1088"/>
              <a:ext cx="3549" cy="3216"/>
              <a:chOff x="1102" y="1088"/>
              <a:chExt cx="3549" cy="3216"/>
            </a:xfrm>
          </p:grpSpPr>
          <p:sp>
            <p:nvSpPr>
              <p:cNvPr id="2104" name="Rectangle 253"/>
              <p:cNvSpPr>
                <a:spLocks noChangeArrowheads="1"/>
              </p:cNvSpPr>
              <p:nvPr/>
            </p:nvSpPr>
            <p:spPr bwMode="auto">
              <a:xfrm>
                <a:off x="1102" y="1088"/>
                <a:ext cx="3549" cy="3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p>
                <a:pPr eaLnBrk="1" hangingPunct="1"/>
                <a:endParaRPr lang="es-ES" altLang="es-CL" dirty="0">
                  <a:solidFill>
                    <a:srgbClr val="333333"/>
                  </a:solidFill>
                  <a:latin typeface="Arial" pitchFamily="34" charset="0"/>
                </a:endParaRPr>
              </a:p>
            </p:txBody>
          </p:sp>
          <p:sp>
            <p:nvSpPr>
              <p:cNvPr id="2105" name="Freeform 254"/>
              <p:cNvSpPr>
                <a:spLocks noEditPoints="1"/>
              </p:cNvSpPr>
              <p:nvPr/>
            </p:nvSpPr>
            <p:spPr bwMode="auto">
              <a:xfrm>
                <a:off x="2077" y="3776"/>
                <a:ext cx="1538" cy="492"/>
              </a:xfrm>
              <a:custGeom>
                <a:avLst/>
                <a:gdLst>
                  <a:gd name="T0" fmla="*/ 1403 w 1538"/>
                  <a:gd name="T1" fmla="*/ 484 h 492"/>
                  <a:gd name="T2" fmla="*/ 1218 w 1538"/>
                  <a:gd name="T3" fmla="*/ 492 h 492"/>
                  <a:gd name="T4" fmla="*/ 1033 w 1538"/>
                  <a:gd name="T5" fmla="*/ 482 h 492"/>
                  <a:gd name="T6" fmla="*/ 948 w 1538"/>
                  <a:gd name="T7" fmla="*/ 480 h 492"/>
                  <a:gd name="T8" fmla="*/ 775 w 1538"/>
                  <a:gd name="T9" fmla="*/ 483 h 492"/>
                  <a:gd name="T10" fmla="*/ 592 w 1538"/>
                  <a:gd name="T11" fmla="*/ 491 h 492"/>
                  <a:gd name="T12" fmla="*/ 407 w 1538"/>
                  <a:gd name="T13" fmla="*/ 491 h 492"/>
                  <a:gd name="T14" fmla="*/ 224 w 1538"/>
                  <a:gd name="T15" fmla="*/ 483 h 492"/>
                  <a:gd name="T16" fmla="*/ 143 w 1538"/>
                  <a:gd name="T17" fmla="*/ 480 h 492"/>
                  <a:gd name="T18" fmla="*/ 1446 w 1538"/>
                  <a:gd name="T19" fmla="*/ 393 h 492"/>
                  <a:gd name="T20" fmla="*/ 1255 w 1538"/>
                  <a:gd name="T21" fmla="*/ 390 h 492"/>
                  <a:gd name="T22" fmla="*/ 1173 w 1538"/>
                  <a:gd name="T23" fmla="*/ 382 h 492"/>
                  <a:gd name="T24" fmla="*/ 998 w 1538"/>
                  <a:gd name="T25" fmla="*/ 390 h 492"/>
                  <a:gd name="T26" fmla="*/ 808 w 1538"/>
                  <a:gd name="T27" fmla="*/ 392 h 492"/>
                  <a:gd name="T28" fmla="*/ 634 w 1538"/>
                  <a:gd name="T29" fmla="*/ 382 h 492"/>
                  <a:gd name="T30" fmla="*/ 550 w 1538"/>
                  <a:gd name="T31" fmla="*/ 387 h 492"/>
                  <a:gd name="T32" fmla="*/ 361 w 1538"/>
                  <a:gd name="T33" fmla="*/ 393 h 492"/>
                  <a:gd name="T34" fmla="*/ 183 w 1538"/>
                  <a:gd name="T35" fmla="*/ 382 h 492"/>
                  <a:gd name="T36" fmla="*/ 102 w 1538"/>
                  <a:gd name="T37" fmla="*/ 386 h 492"/>
                  <a:gd name="T38" fmla="*/ 1394 w 1538"/>
                  <a:gd name="T39" fmla="*/ 333 h 492"/>
                  <a:gd name="T40" fmla="*/ 1218 w 1538"/>
                  <a:gd name="T41" fmla="*/ 319 h 492"/>
                  <a:gd name="T42" fmla="*/ 1133 w 1538"/>
                  <a:gd name="T43" fmla="*/ 329 h 492"/>
                  <a:gd name="T44" fmla="*/ 941 w 1538"/>
                  <a:gd name="T45" fmla="*/ 327 h 492"/>
                  <a:gd name="T46" fmla="*/ 864 w 1538"/>
                  <a:gd name="T47" fmla="*/ 321 h 492"/>
                  <a:gd name="T48" fmla="*/ 681 w 1538"/>
                  <a:gd name="T49" fmla="*/ 333 h 492"/>
                  <a:gd name="T50" fmla="*/ 499 w 1538"/>
                  <a:gd name="T51" fmla="*/ 319 h 492"/>
                  <a:gd name="T52" fmla="*/ 416 w 1538"/>
                  <a:gd name="T53" fmla="*/ 329 h 492"/>
                  <a:gd name="T54" fmla="*/ 224 w 1538"/>
                  <a:gd name="T55" fmla="*/ 327 h 492"/>
                  <a:gd name="T56" fmla="*/ 146 w 1538"/>
                  <a:gd name="T57" fmla="*/ 321 h 492"/>
                  <a:gd name="T58" fmla="*/ 1534 w 1538"/>
                  <a:gd name="T59" fmla="*/ 236 h 492"/>
                  <a:gd name="T60" fmla="*/ 1348 w 1538"/>
                  <a:gd name="T61" fmla="*/ 224 h 492"/>
                  <a:gd name="T62" fmla="*/ 1267 w 1538"/>
                  <a:gd name="T63" fmla="*/ 226 h 492"/>
                  <a:gd name="T64" fmla="*/ 1080 w 1538"/>
                  <a:gd name="T65" fmla="*/ 236 h 492"/>
                  <a:gd name="T66" fmla="*/ 904 w 1538"/>
                  <a:gd name="T67" fmla="*/ 222 h 492"/>
                  <a:gd name="T68" fmla="*/ 820 w 1538"/>
                  <a:gd name="T69" fmla="*/ 231 h 492"/>
                  <a:gd name="T70" fmla="*/ 627 w 1538"/>
                  <a:gd name="T71" fmla="*/ 231 h 492"/>
                  <a:gd name="T72" fmla="*/ 548 w 1538"/>
                  <a:gd name="T73" fmla="*/ 223 h 492"/>
                  <a:gd name="T74" fmla="*/ 367 w 1538"/>
                  <a:gd name="T75" fmla="*/ 236 h 492"/>
                  <a:gd name="T76" fmla="*/ 181 w 1538"/>
                  <a:gd name="T77" fmla="*/ 224 h 492"/>
                  <a:gd name="T78" fmla="*/ 102 w 1538"/>
                  <a:gd name="T79" fmla="*/ 226 h 492"/>
                  <a:gd name="T80" fmla="*/ 1481 w 1538"/>
                  <a:gd name="T81" fmla="*/ 169 h 492"/>
                  <a:gd name="T82" fmla="*/ 1308 w 1538"/>
                  <a:gd name="T83" fmla="*/ 161 h 492"/>
                  <a:gd name="T84" fmla="*/ 1224 w 1538"/>
                  <a:gd name="T85" fmla="*/ 167 h 492"/>
                  <a:gd name="T86" fmla="*/ 1034 w 1538"/>
                  <a:gd name="T87" fmla="*/ 172 h 492"/>
                  <a:gd name="T88" fmla="*/ 856 w 1538"/>
                  <a:gd name="T89" fmla="*/ 161 h 492"/>
                  <a:gd name="T90" fmla="*/ 775 w 1538"/>
                  <a:gd name="T91" fmla="*/ 164 h 492"/>
                  <a:gd name="T92" fmla="*/ 588 w 1538"/>
                  <a:gd name="T93" fmla="*/ 173 h 492"/>
                  <a:gd name="T94" fmla="*/ 406 w 1538"/>
                  <a:gd name="T95" fmla="*/ 162 h 492"/>
                  <a:gd name="T96" fmla="*/ 325 w 1538"/>
                  <a:gd name="T97" fmla="*/ 163 h 492"/>
                  <a:gd name="T98" fmla="*/ 141 w 1538"/>
                  <a:gd name="T99" fmla="*/ 174 h 492"/>
                  <a:gd name="T100" fmla="*/ 1525 w 1538"/>
                  <a:gd name="T101" fmla="*/ 69 h 492"/>
                  <a:gd name="T102" fmla="*/ 1443 w 1538"/>
                  <a:gd name="T103" fmla="*/ 65 h 492"/>
                  <a:gd name="T104" fmla="*/ 1266 w 1538"/>
                  <a:gd name="T105" fmla="*/ 67 h 492"/>
                  <a:gd name="T106" fmla="*/ 1087 w 1538"/>
                  <a:gd name="T107" fmla="*/ 76 h 492"/>
                  <a:gd name="T108" fmla="*/ 900 w 1538"/>
                  <a:gd name="T109" fmla="*/ 76 h 492"/>
                  <a:gd name="T110" fmla="*/ 719 w 1538"/>
                  <a:gd name="T111" fmla="*/ 69 h 492"/>
                  <a:gd name="T112" fmla="*/ 544 w 1538"/>
                  <a:gd name="T113" fmla="*/ 65 h 492"/>
                  <a:gd name="T114" fmla="*/ 461 w 1538"/>
                  <a:gd name="T115" fmla="*/ 69 h 492"/>
                  <a:gd name="T116" fmla="*/ 278 w 1538"/>
                  <a:gd name="T117" fmla="*/ 78 h 492"/>
                  <a:gd name="T118" fmla="*/ 93 w 1538"/>
                  <a:gd name="T119" fmla="*/ 78 h 492"/>
                  <a:gd name="T120" fmla="*/ 1485 w 1538"/>
                  <a:gd name="T121" fmla="*/ 0 h 492"/>
                  <a:gd name="T122" fmla="*/ 1403 w 1538"/>
                  <a:gd name="T123" fmla="*/ 7 h 49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538" h="492">
                    <a:moveTo>
                      <a:pt x="1487" y="480"/>
                    </a:moveTo>
                    <a:lnTo>
                      <a:pt x="1485" y="480"/>
                    </a:lnTo>
                    <a:lnTo>
                      <a:pt x="1482" y="481"/>
                    </a:lnTo>
                    <a:lnTo>
                      <a:pt x="1481" y="483"/>
                    </a:lnTo>
                    <a:lnTo>
                      <a:pt x="1480" y="486"/>
                    </a:lnTo>
                    <a:lnTo>
                      <a:pt x="1481" y="488"/>
                    </a:lnTo>
                    <a:lnTo>
                      <a:pt x="1482" y="490"/>
                    </a:lnTo>
                    <a:lnTo>
                      <a:pt x="1485" y="491"/>
                    </a:lnTo>
                    <a:lnTo>
                      <a:pt x="1487" y="492"/>
                    </a:lnTo>
                    <a:lnTo>
                      <a:pt x="1489" y="491"/>
                    </a:lnTo>
                    <a:lnTo>
                      <a:pt x="1491" y="490"/>
                    </a:lnTo>
                    <a:lnTo>
                      <a:pt x="1493" y="488"/>
                    </a:lnTo>
                    <a:lnTo>
                      <a:pt x="1493" y="486"/>
                    </a:lnTo>
                    <a:lnTo>
                      <a:pt x="1493" y="484"/>
                    </a:lnTo>
                    <a:lnTo>
                      <a:pt x="1492" y="482"/>
                    </a:lnTo>
                    <a:lnTo>
                      <a:pt x="1491" y="481"/>
                    </a:lnTo>
                    <a:lnTo>
                      <a:pt x="1489" y="480"/>
                    </a:lnTo>
                    <a:lnTo>
                      <a:pt x="1487" y="480"/>
                    </a:lnTo>
                    <a:close/>
                    <a:moveTo>
                      <a:pt x="1396" y="480"/>
                    </a:moveTo>
                    <a:lnTo>
                      <a:pt x="1394" y="480"/>
                    </a:lnTo>
                    <a:lnTo>
                      <a:pt x="1392" y="481"/>
                    </a:lnTo>
                    <a:lnTo>
                      <a:pt x="1391" y="483"/>
                    </a:lnTo>
                    <a:lnTo>
                      <a:pt x="1390" y="486"/>
                    </a:lnTo>
                    <a:lnTo>
                      <a:pt x="1391" y="488"/>
                    </a:lnTo>
                    <a:lnTo>
                      <a:pt x="1392" y="490"/>
                    </a:lnTo>
                    <a:lnTo>
                      <a:pt x="1394" y="491"/>
                    </a:lnTo>
                    <a:lnTo>
                      <a:pt x="1396" y="492"/>
                    </a:lnTo>
                    <a:lnTo>
                      <a:pt x="1399" y="491"/>
                    </a:lnTo>
                    <a:lnTo>
                      <a:pt x="1401" y="490"/>
                    </a:lnTo>
                    <a:lnTo>
                      <a:pt x="1403" y="488"/>
                    </a:lnTo>
                    <a:lnTo>
                      <a:pt x="1403" y="486"/>
                    </a:lnTo>
                    <a:lnTo>
                      <a:pt x="1403" y="484"/>
                    </a:lnTo>
                    <a:lnTo>
                      <a:pt x="1402" y="482"/>
                    </a:lnTo>
                    <a:lnTo>
                      <a:pt x="1401" y="481"/>
                    </a:lnTo>
                    <a:lnTo>
                      <a:pt x="1399" y="480"/>
                    </a:lnTo>
                    <a:lnTo>
                      <a:pt x="1396" y="480"/>
                    </a:lnTo>
                    <a:close/>
                    <a:moveTo>
                      <a:pt x="1308" y="480"/>
                    </a:moveTo>
                    <a:lnTo>
                      <a:pt x="1305" y="480"/>
                    </a:lnTo>
                    <a:lnTo>
                      <a:pt x="1303" y="481"/>
                    </a:lnTo>
                    <a:lnTo>
                      <a:pt x="1302" y="483"/>
                    </a:lnTo>
                    <a:lnTo>
                      <a:pt x="1302" y="486"/>
                    </a:lnTo>
                    <a:lnTo>
                      <a:pt x="1302" y="488"/>
                    </a:lnTo>
                    <a:lnTo>
                      <a:pt x="1302" y="489"/>
                    </a:lnTo>
                    <a:lnTo>
                      <a:pt x="1304" y="491"/>
                    </a:lnTo>
                    <a:lnTo>
                      <a:pt x="1305" y="491"/>
                    </a:lnTo>
                    <a:lnTo>
                      <a:pt x="1308" y="492"/>
                    </a:lnTo>
                    <a:lnTo>
                      <a:pt x="1310" y="491"/>
                    </a:lnTo>
                    <a:lnTo>
                      <a:pt x="1312" y="490"/>
                    </a:lnTo>
                    <a:lnTo>
                      <a:pt x="1314" y="488"/>
                    </a:lnTo>
                    <a:lnTo>
                      <a:pt x="1315" y="486"/>
                    </a:lnTo>
                    <a:lnTo>
                      <a:pt x="1314" y="483"/>
                    </a:lnTo>
                    <a:lnTo>
                      <a:pt x="1312" y="481"/>
                    </a:lnTo>
                    <a:lnTo>
                      <a:pt x="1310" y="480"/>
                    </a:lnTo>
                    <a:lnTo>
                      <a:pt x="1308" y="480"/>
                    </a:lnTo>
                    <a:close/>
                    <a:moveTo>
                      <a:pt x="1218" y="480"/>
                    </a:moveTo>
                    <a:lnTo>
                      <a:pt x="1216" y="480"/>
                    </a:lnTo>
                    <a:lnTo>
                      <a:pt x="1214" y="481"/>
                    </a:lnTo>
                    <a:lnTo>
                      <a:pt x="1212" y="482"/>
                    </a:lnTo>
                    <a:lnTo>
                      <a:pt x="1211" y="484"/>
                    </a:lnTo>
                    <a:lnTo>
                      <a:pt x="1211" y="486"/>
                    </a:lnTo>
                    <a:lnTo>
                      <a:pt x="1211" y="488"/>
                    </a:lnTo>
                    <a:lnTo>
                      <a:pt x="1214" y="490"/>
                    </a:lnTo>
                    <a:lnTo>
                      <a:pt x="1216" y="491"/>
                    </a:lnTo>
                    <a:lnTo>
                      <a:pt x="1218" y="492"/>
                    </a:lnTo>
                    <a:lnTo>
                      <a:pt x="1220" y="491"/>
                    </a:lnTo>
                    <a:lnTo>
                      <a:pt x="1222" y="490"/>
                    </a:lnTo>
                    <a:lnTo>
                      <a:pt x="1223" y="488"/>
                    </a:lnTo>
                    <a:lnTo>
                      <a:pt x="1224" y="486"/>
                    </a:lnTo>
                    <a:lnTo>
                      <a:pt x="1223" y="484"/>
                    </a:lnTo>
                    <a:lnTo>
                      <a:pt x="1222" y="482"/>
                    </a:lnTo>
                    <a:lnTo>
                      <a:pt x="1221" y="481"/>
                    </a:lnTo>
                    <a:lnTo>
                      <a:pt x="1219" y="480"/>
                    </a:lnTo>
                    <a:lnTo>
                      <a:pt x="1218" y="480"/>
                    </a:lnTo>
                    <a:close/>
                    <a:moveTo>
                      <a:pt x="1128" y="480"/>
                    </a:moveTo>
                    <a:lnTo>
                      <a:pt x="1125" y="480"/>
                    </a:lnTo>
                    <a:lnTo>
                      <a:pt x="1123" y="481"/>
                    </a:lnTo>
                    <a:lnTo>
                      <a:pt x="1122" y="482"/>
                    </a:lnTo>
                    <a:lnTo>
                      <a:pt x="1121" y="484"/>
                    </a:lnTo>
                    <a:lnTo>
                      <a:pt x="1121" y="486"/>
                    </a:lnTo>
                    <a:lnTo>
                      <a:pt x="1121" y="488"/>
                    </a:lnTo>
                    <a:lnTo>
                      <a:pt x="1123" y="490"/>
                    </a:lnTo>
                    <a:lnTo>
                      <a:pt x="1125" y="491"/>
                    </a:lnTo>
                    <a:lnTo>
                      <a:pt x="1128" y="492"/>
                    </a:lnTo>
                    <a:lnTo>
                      <a:pt x="1130" y="491"/>
                    </a:lnTo>
                    <a:lnTo>
                      <a:pt x="1132" y="491"/>
                    </a:lnTo>
                    <a:lnTo>
                      <a:pt x="1133" y="489"/>
                    </a:lnTo>
                    <a:lnTo>
                      <a:pt x="1133" y="488"/>
                    </a:lnTo>
                    <a:lnTo>
                      <a:pt x="1134" y="486"/>
                    </a:lnTo>
                    <a:lnTo>
                      <a:pt x="1133" y="483"/>
                    </a:lnTo>
                    <a:lnTo>
                      <a:pt x="1132" y="481"/>
                    </a:lnTo>
                    <a:lnTo>
                      <a:pt x="1130" y="480"/>
                    </a:lnTo>
                    <a:lnTo>
                      <a:pt x="1128" y="480"/>
                    </a:lnTo>
                    <a:close/>
                    <a:moveTo>
                      <a:pt x="1038" y="480"/>
                    </a:moveTo>
                    <a:lnTo>
                      <a:pt x="1036" y="480"/>
                    </a:lnTo>
                    <a:lnTo>
                      <a:pt x="1035" y="481"/>
                    </a:lnTo>
                    <a:lnTo>
                      <a:pt x="1033" y="482"/>
                    </a:lnTo>
                    <a:lnTo>
                      <a:pt x="1032" y="484"/>
                    </a:lnTo>
                    <a:lnTo>
                      <a:pt x="1032" y="486"/>
                    </a:lnTo>
                    <a:lnTo>
                      <a:pt x="1033" y="488"/>
                    </a:lnTo>
                    <a:lnTo>
                      <a:pt x="1034" y="490"/>
                    </a:lnTo>
                    <a:lnTo>
                      <a:pt x="1036" y="491"/>
                    </a:lnTo>
                    <a:lnTo>
                      <a:pt x="1038" y="492"/>
                    </a:lnTo>
                    <a:lnTo>
                      <a:pt x="1040" y="491"/>
                    </a:lnTo>
                    <a:lnTo>
                      <a:pt x="1043" y="490"/>
                    </a:lnTo>
                    <a:lnTo>
                      <a:pt x="1045" y="488"/>
                    </a:lnTo>
                    <a:lnTo>
                      <a:pt x="1045" y="486"/>
                    </a:lnTo>
                    <a:lnTo>
                      <a:pt x="1045" y="483"/>
                    </a:lnTo>
                    <a:lnTo>
                      <a:pt x="1043" y="481"/>
                    </a:lnTo>
                    <a:lnTo>
                      <a:pt x="1040" y="480"/>
                    </a:lnTo>
                    <a:lnTo>
                      <a:pt x="1038" y="480"/>
                    </a:lnTo>
                    <a:close/>
                    <a:moveTo>
                      <a:pt x="948" y="480"/>
                    </a:moveTo>
                    <a:lnTo>
                      <a:pt x="946" y="480"/>
                    </a:lnTo>
                    <a:lnTo>
                      <a:pt x="945" y="481"/>
                    </a:lnTo>
                    <a:lnTo>
                      <a:pt x="943" y="482"/>
                    </a:lnTo>
                    <a:lnTo>
                      <a:pt x="941" y="484"/>
                    </a:lnTo>
                    <a:lnTo>
                      <a:pt x="941" y="486"/>
                    </a:lnTo>
                    <a:lnTo>
                      <a:pt x="943" y="488"/>
                    </a:lnTo>
                    <a:lnTo>
                      <a:pt x="944" y="490"/>
                    </a:lnTo>
                    <a:lnTo>
                      <a:pt x="946" y="491"/>
                    </a:lnTo>
                    <a:lnTo>
                      <a:pt x="948" y="492"/>
                    </a:lnTo>
                    <a:lnTo>
                      <a:pt x="950" y="491"/>
                    </a:lnTo>
                    <a:lnTo>
                      <a:pt x="952" y="490"/>
                    </a:lnTo>
                    <a:lnTo>
                      <a:pt x="953" y="488"/>
                    </a:lnTo>
                    <a:lnTo>
                      <a:pt x="954" y="486"/>
                    </a:lnTo>
                    <a:lnTo>
                      <a:pt x="953" y="483"/>
                    </a:lnTo>
                    <a:lnTo>
                      <a:pt x="952" y="481"/>
                    </a:lnTo>
                    <a:lnTo>
                      <a:pt x="950" y="480"/>
                    </a:lnTo>
                    <a:lnTo>
                      <a:pt x="948" y="480"/>
                    </a:lnTo>
                    <a:close/>
                    <a:moveTo>
                      <a:pt x="859" y="480"/>
                    </a:moveTo>
                    <a:lnTo>
                      <a:pt x="856" y="480"/>
                    </a:lnTo>
                    <a:lnTo>
                      <a:pt x="854" y="481"/>
                    </a:lnTo>
                    <a:lnTo>
                      <a:pt x="853" y="483"/>
                    </a:lnTo>
                    <a:lnTo>
                      <a:pt x="853" y="486"/>
                    </a:lnTo>
                    <a:lnTo>
                      <a:pt x="853" y="488"/>
                    </a:lnTo>
                    <a:lnTo>
                      <a:pt x="854" y="489"/>
                    </a:lnTo>
                    <a:lnTo>
                      <a:pt x="855" y="491"/>
                    </a:lnTo>
                    <a:lnTo>
                      <a:pt x="856" y="491"/>
                    </a:lnTo>
                    <a:lnTo>
                      <a:pt x="859" y="492"/>
                    </a:lnTo>
                    <a:lnTo>
                      <a:pt x="862" y="491"/>
                    </a:lnTo>
                    <a:lnTo>
                      <a:pt x="864" y="490"/>
                    </a:lnTo>
                    <a:lnTo>
                      <a:pt x="865" y="488"/>
                    </a:lnTo>
                    <a:lnTo>
                      <a:pt x="865" y="486"/>
                    </a:lnTo>
                    <a:lnTo>
                      <a:pt x="865" y="483"/>
                    </a:lnTo>
                    <a:lnTo>
                      <a:pt x="864" y="481"/>
                    </a:lnTo>
                    <a:lnTo>
                      <a:pt x="862" y="480"/>
                    </a:lnTo>
                    <a:lnTo>
                      <a:pt x="859" y="480"/>
                    </a:lnTo>
                    <a:close/>
                    <a:moveTo>
                      <a:pt x="768" y="480"/>
                    </a:moveTo>
                    <a:lnTo>
                      <a:pt x="766" y="480"/>
                    </a:lnTo>
                    <a:lnTo>
                      <a:pt x="765" y="481"/>
                    </a:lnTo>
                    <a:lnTo>
                      <a:pt x="763" y="483"/>
                    </a:lnTo>
                    <a:lnTo>
                      <a:pt x="763" y="486"/>
                    </a:lnTo>
                    <a:lnTo>
                      <a:pt x="763" y="488"/>
                    </a:lnTo>
                    <a:lnTo>
                      <a:pt x="765" y="490"/>
                    </a:lnTo>
                    <a:lnTo>
                      <a:pt x="766" y="491"/>
                    </a:lnTo>
                    <a:lnTo>
                      <a:pt x="768" y="492"/>
                    </a:lnTo>
                    <a:lnTo>
                      <a:pt x="772" y="491"/>
                    </a:lnTo>
                    <a:lnTo>
                      <a:pt x="774" y="490"/>
                    </a:lnTo>
                    <a:lnTo>
                      <a:pt x="775" y="488"/>
                    </a:lnTo>
                    <a:lnTo>
                      <a:pt x="775" y="486"/>
                    </a:lnTo>
                    <a:lnTo>
                      <a:pt x="775" y="483"/>
                    </a:lnTo>
                    <a:lnTo>
                      <a:pt x="774" y="481"/>
                    </a:lnTo>
                    <a:lnTo>
                      <a:pt x="772" y="480"/>
                    </a:lnTo>
                    <a:lnTo>
                      <a:pt x="768" y="480"/>
                    </a:lnTo>
                    <a:close/>
                    <a:moveTo>
                      <a:pt x="678" y="480"/>
                    </a:moveTo>
                    <a:lnTo>
                      <a:pt x="676" y="480"/>
                    </a:lnTo>
                    <a:lnTo>
                      <a:pt x="675" y="481"/>
                    </a:lnTo>
                    <a:lnTo>
                      <a:pt x="673" y="483"/>
                    </a:lnTo>
                    <a:lnTo>
                      <a:pt x="673" y="486"/>
                    </a:lnTo>
                    <a:lnTo>
                      <a:pt x="673" y="488"/>
                    </a:lnTo>
                    <a:lnTo>
                      <a:pt x="675" y="490"/>
                    </a:lnTo>
                    <a:lnTo>
                      <a:pt x="676" y="491"/>
                    </a:lnTo>
                    <a:lnTo>
                      <a:pt x="678" y="492"/>
                    </a:lnTo>
                    <a:lnTo>
                      <a:pt x="681" y="491"/>
                    </a:lnTo>
                    <a:lnTo>
                      <a:pt x="682" y="491"/>
                    </a:lnTo>
                    <a:lnTo>
                      <a:pt x="684" y="489"/>
                    </a:lnTo>
                    <a:lnTo>
                      <a:pt x="684" y="488"/>
                    </a:lnTo>
                    <a:lnTo>
                      <a:pt x="684" y="486"/>
                    </a:lnTo>
                    <a:lnTo>
                      <a:pt x="684" y="483"/>
                    </a:lnTo>
                    <a:lnTo>
                      <a:pt x="683" y="481"/>
                    </a:lnTo>
                    <a:lnTo>
                      <a:pt x="681" y="480"/>
                    </a:lnTo>
                    <a:lnTo>
                      <a:pt x="678" y="480"/>
                    </a:lnTo>
                    <a:close/>
                    <a:moveTo>
                      <a:pt x="590" y="480"/>
                    </a:moveTo>
                    <a:lnTo>
                      <a:pt x="587" y="480"/>
                    </a:lnTo>
                    <a:lnTo>
                      <a:pt x="584" y="481"/>
                    </a:lnTo>
                    <a:lnTo>
                      <a:pt x="583" y="483"/>
                    </a:lnTo>
                    <a:lnTo>
                      <a:pt x="583" y="486"/>
                    </a:lnTo>
                    <a:lnTo>
                      <a:pt x="583" y="488"/>
                    </a:lnTo>
                    <a:lnTo>
                      <a:pt x="584" y="489"/>
                    </a:lnTo>
                    <a:lnTo>
                      <a:pt x="585" y="491"/>
                    </a:lnTo>
                    <a:lnTo>
                      <a:pt x="588" y="491"/>
                    </a:lnTo>
                    <a:lnTo>
                      <a:pt x="590" y="492"/>
                    </a:lnTo>
                    <a:lnTo>
                      <a:pt x="592" y="491"/>
                    </a:lnTo>
                    <a:lnTo>
                      <a:pt x="594" y="490"/>
                    </a:lnTo>
                    <a:lnTo>
                      <a:pt x="595" y="488"/>
                    </a:lnTo>
                    <a:lnTo>
                      <a:pt x="596" y="486"/>
                    </a:lnTo>
                    <a:lnTo>
                      <a:pt x="595" y="483"/>
                    </a:lnTo>
                    <a:lnTo>
                      <a:pt x="594" y="481"/>
                    </a:lnTo>
                    <a:lnTo>
                      <a:pt x="592" y="480"/>
                    </a:lnTo>
                    <a:lnTo>
                      <a:pt x="590" y="480"/>
                    </a:lnTo>
                    <a:close/>
                    <a:moveTo>
                      <a:pt x="499" y="480"/>
                    </a:moveTo>
                    <a:lnTo>
                      <a:pt x="497" y="480"/>
                    </a:lnTo>
                    <a:lnTo>
                      <a:pt x="495" y="481"/>
                    </a:lnTo>
                    <a:lnTo>
                      <a:pt x="494" y="483"/>
                    </a:lnTo>
                    <a:lnTo>
                      <a:pt x="493" y="486"/>
                    </a:lnTo>
                    <a:lnTo>
                      <a:pt x="494" y="488"/>
                    </a:lnTo>
                    <a:lnTo>
                      <a:pt x="495" y="490"/>
                    </a:lnTo>
                    <a:lnTo>
                      <a:pt x="497" y="491"/>
                    </a:lnTo>
                    <a:lnTo>
                      <a:pt x="499" y="492"/>
                    </a:lnTo>
                    <a:lnTo>
                      <a:pt x="502" y="491"/>
                    </a:lnTo>
                    <a:lnTo>
                      <a:pt x="504" y="490"/>
                    </a:lnTo>
                    <a:lnTo>
                      <a:pt x="505" y="488"/>
                    </a:lnTo>
                    <a:lnTo>
                      <a:pt x="506" y="486"/>
                    </a:lnTo>
                    <a:lnTo>
                      <a:pt x="505" y="483"/>
                    </a:lnTo>
                    <a:lnTo>
                      <a:pt x="504" y="481"/>
                    </a:lnTo>
                    <a:lnTo>
                      <a:pt x="502" y="480"/>
                    </a:lnTo>
                    <a:lnTo>
                      <a:pt x="499" y="480"/>
                    </a:lnTo>
                    <a:close/>
                    <a:moveTo>
                      <a:pt x="409" y="480"/>
                    </a:moveTo>
                    <a:lnTo>
                      <a:pt x="407" y="480"/>
                    </a:lnTo>
                    <a:lnTo>
                      <a:pt x="405" y="481"/>
                    </a:lnTo>
                    <a:lnTo>
                      <a:pt x="404" y="483"/>
                    </a:lnTo>
                    <a:lnTo>
                      <a:pt x="403" y="486"/>
                    </a:lnTo>
                    <a:lnTo>
                      <a:pt x="404" y="488"/>
                    </a:lnTo>
                    <a:lnTo>
                      <a:pt x="405" y="490"/>
                    </a:lnTo>
                    <a:lnTo>
                      <a:pt x="407" y="491"/>
                    </a:lnTo>
                    <a:lnTo>
                      <a:pt x="409" y="492"/>
                    </a:lnTo>
                    <a:lnTo>
                      <a:pt x="411" y="491"/>
                    </a:lnTo>
                    <a:lnTo>
                      <a:pt x="413" y="491"/>
                    </a:lnTo>
                    <a:lnTo>
                      <a:pt x="414" y="489"/>
                    </a:lnTo>
                    <a:lnTo>
                      <a:pt x="416" y="488"/>
                    </a:lnTo>
                    <a:lnTo>
                      <a:pt x="416" y="486"/>
                    </a:lnTo>
                    <a:lnTo>
                      <a:pt x="414" y="483"/>
                    </a:lnTo>
                    <a:lnTo>
                      <a:pt x="413" y="481"/>
                    </a:lnTo>
                    <a:lnTo>
                      <a:pt x="412" y="480"/>
                    </a:lnTo>
                    <a:lnTo>
                      <a:pt x="409" y="480"/>
                    </a:lnTo>
                    <a:close/>
                    <a:moveTo>
                      <a:pt x="320" y="480"/>
                    </a:moveTo>
                    <a:lnTo>
                      <a:pt x="318" y="480"/>
                    </a:lnTo>
                    <a:lnTo>
                      <a:pt x="316" y="481"/>
                    </a:lnTo>
                    <a:lnTo>
                      <a:pt x="314" y="483"/>
                    </a:lnTo>
                    <a:lnTo>
                      <a:pt x="314" y="486"/>
                    </a:lnTo>
                    <a:lnTo>
                      <a:pt x="314" y="488"/>
                    </a:lnTo>
                    <a:lnTo>
                      <a:pt x="316" y="490"/>
                    </a:lnTo>
                    <a:lnTo>
                      <a:pt x="318" y="491"/>
                    </a:lnTo>
                    <a:lnTo>
                      <a:pt x="320" y="492"/>
                    </a:lnTo>
                    <a:lnTo>
                      <a:pt x="323" y="491"/>
                    </a:lnTo>
                    <a:lnTo>
                      <a:pt x="325" y="490"/>
                    </a:lnTo>
                    <a:lnTo>
                      <a:pt x="326" y="488"/>
                    </a:lnTo>
                    <a:lnTo>
                      <a:pt x="326" y="486"/>
                    </a:lnTo>
                    <a:lnTo>
                      <a:pt x="326" y="484"/>
                    </a:lnTo>
                    <a:lnTo>
                      <a:pt x="325" y="482"/>
                    </a:lnTo>
                    <a:lnTo>
                      <a:pt x="324" y="481"/>
                    </a:lnTo>
                    <a:lnTo>
                      <a:pt x="322" y="480"/>
                    </a:lnTo>
                    <a:lnTo>
                      <a:pt x="320" y="480"/>
                    </a:lnTo>
                    <a:close/>
                    <a:moveTo>
                      <a:pt x="230" y="480"/>
                    </a:moveTo>
                    <a:lnTo>
                      <a:pt x="227" y="480"/>
                    </a:lnTo>
                    <a:lnTo>
                      <a:pt x="225" y="481"/>
                    </a:lnTo>
                    <a:lnTo>
                      <a:pt x="224" y="483"/>
                    </a:lnTo>
                    <a:lnTo>
                      <a:pt x="224" y="486"/>
                    </a:lnTo>
                    <a:lnTo>
                      <a:pt x="224" y="488"/>
                    </a:lnTo>
                    <a:lnTo>
                      <a:pt x="225" y="490"/>
                    </a:lnTo>
                    <a:lnTo>
                      <a:pt x="227" y="491"/>
                    </a:lnTo>
                    <a:lnTo>
                      <a:pt x="230" y="492"/>
                    </a:lnTo>
                    <a:lnTo>
                      <a:pt x="233" y="491"/>
                    </a:lnTo>
                    <a:lnTo>
                      <a:pt x="235" y="490"/>
                    </a:lnTo>
                    <a:lnTo>
                      <a:pt x="236" y="488"/>
                    </a:lnTo>
                    <a:lnTo>
                      <a:pt x="236" y="486"/>
                    </a:lnTo>
                    <a:lnTo>
                      <a:pt x="236" y="484"/>
                    </a:lnTo>
                    <a:lnTo>
                      <a:pt x="235" y="482"/>
                    </a:lnTo>
                    <a:lnTo>
                      <a:pt x="234" y="481"/>
                    </a:lnTo>
                    <a:lnTo>
                      <a:pt x="232" y="480"/>
                    </a:lnTo>
                    <a:lnTo>
                      <a:pt x="230" y="480"/>
                    </a:lnTo>
                    <a:close/>
                    <a:moveTo>
                      <a:pt x="141" y="480"/>
                    </a:moveTo>
                    <a:lnTo>
                      <a:pt x="138" y="480"/>
                    </a:lnTo>
                    <a:lnTo>
                      <a:pt x="136" y="481"/>
                    </a:lnTo>
                    <a:lnTo>
                      <a:pt x="135" y="483"/>
                    </a:lnTo>
                    <a:lnTo>
                      <a:pt x="135" y="486"/>
                    </a:lnTo>
                    <a:lnTo>
                      <a:pt x="135" y="488"/>
                    </a:lnTo>
                    <a:lnTo>
                      <a:pt x="136" y="489"/>
                    </a:lnTo>
                    <a:lnTo>
                      <a:pt x="137" y="491"/>
                    </a:lnTo>
                    <a:lnTo>
                      <a:pt x="139" y="491"/>
                    </a:lnTo>
                    <a:lnTo>
                      <a:pt x="141" y="492"/>
                    </a:lnTo>
                    <a:lnTo>
                      <a:pt x="143" y="491"/>
                    </a:lnTo>
                    <a:lnTo>
                      <a:pt x="146" y="490"/>
                    </a:lnTo>
                    <a:lnTo>
                      <a:pt x="147" y="488"/>
                    </a:lnTo>
                    <a:lnTo>
                      <a:pt x="148" y="486"/>
                    </a:lnTo>
                    <a:lnTo>
                      <a:pt x="147" y="484"/>
                    </a:lnTo>
                    <a:lnTo>
                      <a:pt x="147" y="482"/>
                    </a:lnTo>
                    <a:lnTo>
                      <a:pt x="145" y="481"/>
                    </a:lnTo>
                    <a:lnTo>
                      <a:pt x="143" y="480"/>
                    </a:lnTo>
                    <a:lnTo>
                      <a:pt x="141" y="480"/>
                    </a:lnTo>
                    <a:close/>
                    <a:moveTo>
                      <a:pt x="1532" y="382"/>
                    </a:moveTo>
                    <a:lnTo>
                      <a:pt x="1529" y="382"/>
                    </a:lnTo>
                    <a:lnTo>
                      <a:pt x="1527" y="383"/>
                    </a:lnTo>
                    <a:lnTo>
                      <a:pt x="1525" y="385"/>
                    </a:lnTo>
                    <a:lnTo>
                      <a:pt x="1525" y="387"/>
                    </a:lnTo>
                    <a:lnTo>
                      <a:pt x="1525" y="390"/>
                    </a:lnTo>
                    <a:lnTo>
                      <a:pt x="1527" y="392"/>
                    </a:lnTo>
                    <a:lnTo>
                      <a:pt x="1528" y="393"/>
                    </a:lnTo>
                    <a:lnTo>
                      <a:pt x="1530" y="393"/>
                    </a:lnTo>
                    <a:lnTo>
                      <a:pt x="1532" y="393"/>
                    </a:lnTo>
                    <a:lnTo>
                      <a:pt x="1533" y="393"/>
                    </a:lnTo>
                    <a:lnTo>
                      <a:pt x="1535" y="393"/>
                    </a:lnTo>
                    <a:lnTo>
                      <a:pt x="1536" y="392"/>
                    </a:lnTo>
                    <a:lnTo>
                      <a:pt x="1537" y="390"/>
                    </a:lnTo>
                    <a:lnTo>
                      <a:pt x="1538" y="387"/>
                    </a:lnTo>
                    <a:lnTo>
                      <a:pt x="1537" y="385"/>
                    </a:lnTo>
                    <a:lnTo>
                      <a:pt x="1536" y="383"/>
                    </a:lnTo>
                    <a:lnTo>
                      <a:pt x="1534" y="382"/>
                    </a:lnTo>
                    <a:lnTo>
                      <a:pt x="1532" y="382"/>
                    </a:lnTo>
                    <a:close/>
                    <a:moveTo>
                      <a:pt x="1443" y="382"/>
                    </a:moveTo>
                    <a:lnTo>
                      <a:pt x="1440" y="382"/>
                    </a:lnTo>
                    <a:lnTo>
                      <a:pt x="1438" y="383"/>
                    </a:lnTo>
                    <a:lnTo>
                      <a:pt x="1437" y="384"/>
                    </a:lnTo>
                    <a:lnTo>
                      <a:pt x="1436" y="386"/>
                    </a:lnTo>
                    <a:lnTo>
                      <a:pt x="1436" y="387"/>
                    </a:lnTo>
                    <a:lnTo>
                      <a:pt x="1436" y="390"/>
                    </a:lnTo>
                    <a:lnTo>
                      <a:pt x="1437" y="392"/>
                    </a:lnTo>
                    <a:lnTo>
                      <a:pt x="1439" y="393"/>
                    </a:lnTo>
                    <a:lnTo>
                      <a:pt x="1443" y="393"/>
                    </a:lnTo>
                    <a:lnTo>
                      <a:pt x="1445" y="393"/>
                    </a:lnTo>
                    <a:lnTo>
                      <a:pt x="1446" y="393"/>
                    </a:lnTo>
                    <a:lnTo>
                      <a:pt x="1448" y="392"/>
                    </a:lnTo>
                    <a:lnTo>
                      <a:pt x="1449" y="390"/>
                    </a:lnTo>
                    <a:lnTo>
                      <a:pt x="1449" y="387"/>
                    </a:lnTo>
                    <a:lnTo>
                      <a:pt x="1448" y="385"/>
                    </a:lnTo>
                    <a:lnTo>
                      <a:pt x="1447" y="383"/>
                    </a:lnTo>
                    <a:lnTo>
                      <a:pt x="1445" y="382"/>
                    </a:lnTo>
                    <a:lnTo>
                      <a:pt x="1443" y="382"/>
                    </a:lnTo>
                    <a:close/>
                    <a:moveTo>
                      <a:pt x="1352" y="382"/>
                    </a:moveTo>
                    <a:lnTo>
                      <a:pt x="1350" y="382"/>
                    </a:lnTo>
                    <a:lnTo>
                      <a:pt x="1348" y="383"/>
                    </a:lnTo>
                    <a:lnTo>
                      <a:pt x="1347" y="385"/>
                    </a:lnTo>
                    <a:lnTo>
                      <a:pt x="1346" y="387"/>
                    </a:lnTo>
                    <a:lnTo>
                      <a:pt x="1346" y="390"/>
                    </a:lnTo>
                    <a:lnTo>
                      <a:pt x="1347" y="392"/>
                    </a:lnTo>
                    <a:lnTo>
                      <a:pt x="1349" y="393"/>
                    </a:lnTo>
                    <a:lnTo>
                      <a:pt x="1350" y="393"/>
                    </a:lnTo>
                    <a:lnTo>
                      <a:pt x="1352" y="393"/>
                    </a:lnTo>
                    <a:lnTo>
                      <a:pt x="1354" y="393"/>
                    </a:lnTo>
                    <a:lnTo>
                      <a:pt x="1356" y="393"/>
                    </a:lnTo>
                    <a:lnTo>
                      <a:pt x="1358" y="392"/>
                    </a:lnTo>
                    <a:lnTo>
                      <a:pt x="1359" y="390"/>
                    </a:lnTo>
                    <a:lnTo>
                      <a:pt x="1359" y="387"/>
                    </a:lnTo>
                    <a:lnTo>
                      <a:pt x="1358" y="385"/>
                    </a:lnTo>
                    <a:lnTo>
                      <a:pt x="1357" y="383"/>
                    </a:lnTo>
                    <a:lnTo>
                      <a:pt x="1354" y="382"/>
                    </a:lnTo>
                    <a:lnTo>
                      <a:pt x="1352" y="382"/>
                    </a:lnTo>
                    <a:close/>
                    <a:moveTo>
                      <a:pt x="1262" y="382"/>
                    </a:moveTo>
                    <a:lnTo>
                      <a:pt x="1260" y="382"/>
                    </a:lnTo>
                    <a:lnTo>
                      <a:pt x="1258" y="383"/>
                    </a:lnTo>
                    <a:lnTo>
                      <a:pt x="1257" y="385"/>
                    </a:lnTo>
                    <a:lnTo>
                      <a:pt x="1255" y="387"/>
                    </a:lnTo>
                    <a:lnTo>
                      <a:pt x="1255" y="390"/>
                    </a:lnTo>
                    <a:lnTo>
                      <a:pt x="1257" y="392"/>
                    </a:lnTo>
                    <a:lnTo>
                      <a:pt x="1259" y="393"/>
                    </a:lnTo>
                    <a:lnTo>
                      <a:pt x="1260" y="393"/>
                    </a:lnTo>
                    <a:lnTo>
                      <a:pt x="1262" y="393"/>
                    </a:lnTo>
                    <a:lnTo>
                      <a:pt x="1264" y="393"/>
                    </a:lnTo>
                    <a:lnTo>
                      <a:pt x="1265" y="393"/>
                    </a:lnTo>
                    <a:lnTo>
                      <a:pt x="1267" y="392"/>
                    </a:lnTo>
                    <a:lnTo>
                      <a:pt x="1268" y="390"/>
                    </a:lnTo>
                    <a:lnTo>
                      <a:pt x="1268" y="387"/>
                    </a:lnTo>
                    <a:lnTo>
                      <a:pt x="1267" y="385"/>
                    </a:lnTo>
                    <a:lnTo>
                      <a:pt x="1266" y="383"/>
                    </a:lnTo>
                    <a:lnTo>
                      <a:pt x="1264" y="382"/>
                    </a:lnTo>
                    <a:lnTo>
                      <a:pt x="1262" y="382"/>
                    </a:lnTo>
                    <a:close/>
                    <a:moveTo>
                      <a:pt x="1173" y="382"/>
                    </a:moveTo>
                    <a:lnTo>
                      <a:pt x="1171" y="382"/>
                    </a:lnTo>
                    <a:lnTo>
                      <a:pt x="1168" y="383"/>
                    </a:lnTo>
                    <a:lnTo>
                      <a:pt x="1167" y="384"/>
                    </a:lnTo>
                    <a:lnTo>
                      <a:pt x="1167" y="386"/>
                    </a:lnTo>
                    <a:lnTo>
                      <a:pt x="1166" y="387"/>
                    </a:lnTo>
                    <a:lnTo>
                      <a:pt x="1167" y="390"/>
                    </a:lnTo>
                    <a:lnTo>
                      <a:pt x="1168" y="392"/>
                    </a:lnTo>
                    <a:lnTo>
                      <a:pt x="1171" y="393"/>
                    </a:lnTo>
                    <a:lnTo>
                      <a:pt x="1173" y="393"/>
                    </a:lnTo>
                    <a:lnTo>
                      <a:pt x="1175" y="393"/>
                    </a:lnTo>
                    <a:lnTo>
                      <a:pt x="1177" y="393"/>
                    </a:lnTo>
                    <a:lnTo>
                      <a:pt x="1178" y="392"/>
                    </a:lnTo>
                    <a:lnTo>
                      <a:pt x="1179" y="390"/>
                    </a:lnTo>
                    <a:lnTo>
                      <a:pt x="1179" y="387"/>
                    </a:lnTo>
                    <a:lnTo>
                      <a:pt x="1179" y="385"/>
                    </a:lnTo>
                    <a:lnTo>
                      <a:pt x="1178" y="383"/>
                    </a:lnTo>
                    <a:lnTo>
                      <a:pt x="1176" y="382"/>
                    </a:lnTo>
                    <a:lnTo>
                      <a:pt x="1173" y="382"/>
                    </a:lnTo>
                    <a:close/>
                    <a:moveTo>
                      <a:pt x="1082" y="382"/>
                    </a:moveTo>
                    <a:lnTo>
                      <a:pt x="1080" y="382"/>
                    </a:lnTo>
                    <a:lnTo>
                      <a:pt x="1078" y="383"/>
                    </a:lnTo>
                    <a:lnTo>
                      <a:pt x="1077" y="385"/>
                    </a:lnTo>
                    <a:lnTo>
                      <a:pt x="1076" y="387"/>
                    </a:lnTo>
                    <a:lnTo>
                      <a:pt x="1077" y="390"/>
                    </a:lnTo>
                    <a:lnTo>
                      <a:pt x="1078" y="392"/>
                    </a:lnTo>
                    <a:lnTo>
                      <a:pt x="1079" y="393"/>
                    </a:lnTo>
                    <a:lnTo>
                      <a:pt x="1081" y="393"/>
                    </a:lnTo>
                    <a:lnTo>
                      <a:pt x="1082" y="393"/>
                    </a:lnTo>
                    <a:lnTo>
                      <a:pt x="1084" y="393"/>
                    </a:lnTo>
                    <a:lnTo>
                      <a:pt x="1087" y="393"/>
                    </a:lnTo>
                    <a:lnTo>
                      <a:pt x="1088" y="392"/>
                    </a:lnTo>
                    <a:lnTo>
                      <a:pt x="1089" y="390"/>
                    </a:lnTo>
                    <a:lnTo>
                      <a:pt x="1089" y="387"/>
                    </a:lnTo>
                    <a:lnTo>
                      <a:pt x="1089" y="385"/>
                    </a:lnTo>
                    <a:lnTo>
                      <a:pt x="1087" y="383"/>
                    </a:lnTo>
                    <a:lnTo>
                      <a:pt x="1086" y="382"/>
                    </a:lnTo>
                    <a:lnTo>
                      <a:pt x="1082" y="382"/>
                    </a:lnTo>
                    <a:close/>
                    <a:moveTo>
                      <a:pt x="992" y="382"/>
                    </a:moveTo>
                    <a:lnTo>
                      <a:pt x="990" y="382"/>
                    </a:lnTo>
                    <a:lnTo>
                      <a:pt x="988" y="383"/>
                    </a:lnTo>
                    <a:lnTo>
                      <a:pt x="987" y="385"/>
                    </a:lnTo>
                    <a:lnTo>
                      <a:pt x="986" y="387"/>
                    </a:lnTo>
                    <a:lnTo>
                      <a:pt x="987" y="390"/>
                    </a:lnTo>
                    <a:lnTo>
                      <a:pt x="988" y="392"/>
                    </a:lnTo>
                    <a:lnTo>
                      <a:pt x="989" y="393"/>
                    </a:lnTo>
                    <a:lnTo>
                      <a:pt x="991" y="393"/>
                    </a:lnTo>
                    <a:lnTo>
                      <a:pt x="992" y="393"/>
                    </a:lnTo>
                    <a:lnTo>
                      <a:pt x="995" y="393"/>
                    </a:lnTo>
                    <a:lnTo>
                      <a:pt x="997" y="392"/>
                    </a:lnTo>
                    <a:lnTo>
                      <a:pt x="998" y="390"/>
                    </a:lnTo>
                    <a:lnTo>
                      <a:pt x="998" y="387"/>
                    </a:lnTo>
                    <a:lnTo>
                      <a:pt x="998" y="386"/>
                    </a:lnTo>
                    <a:lnTo>
                      <a:pt x="997" y="384"/>
                    </a:lnTo>
                    <a:lnTo>
                      <a:pt x="996" y="383"/>
                    </a:lnTo>
                    <a:lnTo>
                      <a:pt x="995" y="382"/>
                    </a:lnTo>
                    <a:lnTo>
                      <a:pt x="992" y="382"/>
                    </a:lnTo>
                    <a:close/>
                    <a:moveTo>
                      <a:pt x="904" y="382"/>
                    </a:moveTo>
                    <a:lnTo>
                      <a:pt x="902" y="382"/>
                    </a:lnTo>
                    <a:lnTo>
                      <a:pt x="900" y="383"/>
                    </a:lnTo>
                    <a:lnTo>
                      <a:pt x="897" y="385"/>
                    </a:lnTo>
                    <a:lnTo>
                      <a:pt x="897" y="387"/>
                    </a:lnTo>
                    <a:lnTo>
                      <a:pt x="897" y="390"/>
                    </a:lnTo>
                    <a:lnTo>
                      <a:pt x="898" y="392"/>
                    </a:lnTo>
                    <a:lnTo>
                      <a:pt x="900" y="393"/>
                    </a:lnTo>
                    <a:lnTo>
                      <a:pt x="902" y="393"/>
                    </a:lnTo>
                    <a:lnTo>
                      <a:pt x="904" y="393"/>
                    </a:lnTo>
                    <a:lnTo>
                      <a:pt x="906" y="393"/>
                    </a:lnTo>
                    <a:lnTo>
                      <a:pt x="907" y="393"/>
                    </a:lnTo>
                    <a:lnTo>
                      <a:pt x="908" y="392"/>
                    </a:lnTo>
                    <a:lnTo>
                      <a:pt x="909" y="390"/>
                    </a:lnTo>
                    <a:lnTo>
                      <a:pt x="910" y="387"/>
                    </a:lnTo>
                    <a:lnTo>
                      <a:pt x="909" y="385"/>
                    </a:lnTo>
                    <a:lnTo>
                      <a:pt x="908" y="383"/>
                    </a:lnTo>
                    <a:lnTo>
                      <a:pt x="906" y="382"/>
                    </a:lnTo>
                    <a:lnTo>
                      <a:pt x="904" y="382"/>
                    </a:lnTo>
                    <a:close/>
                    <a:moveTo>
                      <a:pt x="813" y="382"/>
                    </a:moveTo>
                    <a:lnTo>
                      <a:pt x="811" y="382"/>
                    </a:lnTo>
                    <a:lnTo>
                      <a:pt x="809" y="383"/>
                    </a:lnTo>
                    <a:lnTo>
                      <a:pt x="807" y="385"/>
                    </a:lnTo>
                    <a:lnTo>
                      <a:pt x="807" y="387"/>
                    </a:lnTo>
                    <a:lnTo>
                      <a:pt x="807" y="390"/>
                    </a:lnTo>
                    <a:lnTo>
                      <a:pt x="808" y="392"/>
                    </a:lnTo>
                    <a:lnTo>
                      <a:pt x="809" y="393"/>
                    </a:lnTo>
                    <a:lnTo>
                      <a:pt x="811" y="393"/>
                    </a:lnTo>
                    <a:lnTo>
                      <a:pt x="813" y="393"/>
                    </a:lnTo>
                    <a:lnTo>
                      <a:pt x="816" y="393"/>
                    </a:lnTo>
                    <a:lnTo>
                      <a:pt x="817" y="393"/>
                    </a:lnTo>
                    <a:lnTo>
                      <a:pt x="818" y="392"/>
                    </a:lnTo>
                    <a:lnTo>
                      <a:pt x="819" y="390"/>
                    </a:lnTo>
                    <a:lnTo>
                      <a:pt x="820" y="387"/>
                    </a:lnTo>
                    <a:lnTo>
                      <a:pt x="819" y="385"/>
                    </a:lnTo>
                    <a:lnTo>
                      <a:pt x="818" y="383"/>
                    </a:lnTo>
                    <a:lnTo>
                      <a:pt x="816" y="382"/>
                    </a:lnTo>
                    <a:lnTo>
                      <a:pt x="813" y="382"/>
                    </a:lnTo>
                    <a:close/>
                    <a:moveTo>
                      <a:pt x="724" y="382"/>
                    </a:moveTo>
                    <a:lnTo>
                      <a:pt x="722" y="382"/>
                    </a:lnTo>
                    <a:lnTo>
                      <a:pt x="720" y="383"/>
                    </a:lnTo>
                    <a:lnTo>
                      <a:pt x="719" y="384"/>
                    </a:lnTo>
                    <a:lnTo>
                      <a:pt x="719" y="386"/>
                    </a:lnTo>
                    <a:lnTo>
                      <a:pt x="718" y="387"/>
                    </a:lnTo>
                    <a:lnTo>
                      <a:pt x="719" y="390"/>
                    </a:lnTo>
                    <a:lnTo>
                      <a:pt x="720" y="392"/>
                    </a:lnTo>
                    <a:lnTo>
                      <a:pt x="721" y="393"/>
                    </a:lnTo>
                    <a:lnTo>
                      <a:pt x="724" y="393"/>
                    </a:lnTo>
                    <a:lnTo>
                      <a:pt x="726" y="393"/>
                    </a:lnTo>
                    <a:lnTo>
                      <a:pt x="729" y="393"/>
                    </a:lnTo>
                    <a:lnTo>
                      <a:pt x="730" y="392"/>
                    </a:lnTo>
                    <a:lnTo>
                      <a:pt x="731" y="390"/>
                    </a:lnTo>
                    <a:lnTo>
                      <a:pt x="731" y="387"/>
                    </a:lnTo>
                    <a:lnTo>
                      <a:pt x="731" y="385"/>
                    </a:lnTo>
                    <a:lnTo>
                      <a:pt x="729" y="383"/>
                    </a:lnTo>
                    <a:lnTo>
                      <a:pt x="726" y="382"/>
                    </a:lnTo>
                    <a:lnTo>
                      <a:pt x="724" y="382"/>
                    </a:lnTo>
                    <a:close/>
                    <a:moveTo>
                      <a:pt x="634" y="382"/>
                    </a:moveTo>
                    <a:lnTo>
                      <a:pt x="632" y="382"/>
                    </a:lnTo>
                    <a:lnTo>
                      <a:pt x="630" y="383"/>
                    </a:lnTo>
                    <a:lnTo>
                      <a:pt x="629" y="385"/>
                    </a:lnTo>
                    <a:lnTo>
                      <a:pt x="627" y="387"/>
                    </a:lnTo>
                    <a:lnTo>
                      <a:pt x="629" y="390"/>
                    </a:lnTo>
                    <a:lnTo>
                      <a:pt x="630" y="392"/>
                    </a:lnTo>
                    <a:lnTo>
                      <a:pt x="631" y="393"/>
                    </a:lnTo>
                    <a:lnTo>
                      <a:pt x="632" y="393"/>
                    </a:lnTo>
                    <a:lnTo>
                      <a:pt x="634" y="393"/>
                    </a:lnTo>
                    <a:lnTo>
                      <a:pt x="636" y="393"/>
                    </a:lnTo>
                    <a:lnTo>
                      <a:pt x="638" y="393"/>
                    </a:lnTo>
                    <a:lnTo>
                      <a:pt x="639" y="392"/>
                    </a:lnTo>
                    <a:lnTo>
                      <a:pt x="640" y="390"/>
                    </a:lnTo>
                    <a:lnTo>
                      <a:pt x="640" y="387"/>
                    </a:lnTo>
                    <a:lnTo>
                      <a:pt x="640" y="385"/>
                    </a:lnTo>
                    <a:lnTo>
                      <a:pt x="638" y="383"/>
                    </a:lnTo>
                    <a:lnTo>
                      <a:pt x="636" y="382"/>
                    </a:lnTo>
                    <a:lnTo>
                      <a:pt x="634" y="382"/>
                    </a:lnTo>
                    <a:close/>
                    <a:moveTo>
                      <a:pt x="544" y="382"/>
                    </a:moveTo>
                    <a:lnTo>
                      <a:pt x="541" y="382"/>
                    </a:lnTo>
                    <a:lnTo>
                      <a:pt x="539" y="383"/>
                    </a:lnTo>
                    <a:lnTo>
                      <a:pt x="538" y="385"/>
                    </a:lnTo>
                    <a:lnTo>
                      <a:pt x="537" y="387"/>
                    </a:lnTo>
                    <a:lnTo>
                      <a:pt x="538" y="390"/>
                    </a:lnTo>
                    <a:lnTo>
                      <a:pt x="539" y="392"/>
                    </a:lnTo>
                    <a:lnTo>
                      <a:pt x="540" y="393"/>
                    </a:lnTo>
                    <a:lnTo>
                      <a:pt x="541" y="393"/>
                    </a:lnTo>
                    <a:lnTo>
                      <a:pt x="544" y="393"/>
                    </a:lnTo>
                    <a:lnTo>
                      <a:pt x="547" y="393"/>
                    </a:lnTo>
                    <a:lnTo>
                      <a:pt x="549" y="392"/>
                    </a:lnTo>
                    <a:lnTo>
                      <a:pt x="550" y="390"/>
                    </a:lnTo>
                    <a:lnTo>
                      <a:pt x="550" y="387"/>
                    </a:lnTo>
                    <a:lnTo>
                      <a:pt x="550" y="386"/>
                    </a:lnTo>
                    <a:lnTo>
                      <a:pt x="549" y="384"/>
                    </a:lnTo>
                    <a:lnTo>
                      <a:pt x="548" y="383"/>
                    </a:lnTo>
                    <a:lnTo>
                      <a:pt x="546" y="382"/>
                    </a:lnTo>
                    <a:lnTo>
                      <a:pt x="544" y="382"/>
                    </a:lnTo>
                    <a:close/>
                    <a:moveTo>
                      <a:pt x="455" y="382"/>
                    </a:moveTo>
                    <a:lnTo>
                      <a:pt x="453" y="382"/>
                    </a:lnTo>
                    <a:lnTo>
                      <a:pt x="451" y="383"/>
                    </a:lnTo>
                    <a:lnTo>
                      <a:pt x="449" y="385"/>
                    </a:lnTo>
                    <a:lnTo>
                      <a:pt x="449" y="387"/>
                    </a:lnTo>
                    <a:lnTo>
                      <a:pt x="449" y="390"/>
                    </a:lnTo>
                    <a:lnTo>
                      <a:pt x="450" y="392"/>
                    </a:lnTo>
                    <a:lnTo>
                      <a:pt x="451" y="393"/>
                    </a:lnTo>
                    <a:lnTo>
                      <a:pt x="453" y="393"/>
                    </a:lnTo>
                    <a:lnTo>
                      <a:pt x="455" y="393"/>
                    </a:lnTo>
                    <a:lnTo>
                      <a:pt x="456" y="393"/>
                    </a:lnTo>
                    <a:lnTo>
                      <a:pt x="459" y="393"/>
                    </a:lnTo>
                    <a:lnTo>
                      <a:pt x="460" y="392"/>
                    </a:lnTo>
                    <a:lnTo>
                      <a:pt x="461" y="390"/>
                    </a:lnTo>
                    <a:lnTo>
                      <a:pt x="461" y="387"/>
                    </a:lnTo>
                    <a:lnTo>
                      <a:pt x="461" y="385"/>
                    </a:lnTo>
                    <a:lnTo>
                      <a:pt x="460" y="383"/>
                    </a:lnTo>
                    <a:lnTo>
                      <a:pt x="458" y="382"/>
                    </a:lnTo>
                    <a:lnTo>
                      <a:pt x="455" y="382"/>
                    </a:lnTo>
                    <a:close/>
                    <a:moveTo>
                      <a:pt x="365" y="382"/>
                    </a:moveTo>
                    <a:lnTo>
                      <a:pt x="363" y="382"/>
                    </a:lnTo>
                    <a:lnTo>
                      <a:pt x="361" y="383"/>
                    </a:lnTo>
                    <a:lnTo>
                      <a:pt x="359" y="385"/>
                    </a:lnTo>
                    <a:lnTo>
                      <a:pt x="359" y="387"/>
                    </a:lnTo>
                    <a:lnTo>
                      <a:pt x="359" y="390"/>
                    </a:lnTo>
                    <a:lnTo>
                      <a:pt x="360" y="392"/>
                    </a:lnTo>
                    <a:lnTo>
                      <a:pt x="361" y="393"/>
                    </a:lnTo>
                    <a:lnTo>
                      <a:pt x="363" y="393"/>
                    </a:lnTo>
                    <a:lnTo>
                      <a:pt x="365" y="393"/>
                    </a:lnTo>
                    <a:lnTo>
                      <a:pt x="366" y="393"/>
                    </a:lnTo>
                    <a:lnTo>
                      <a:pt x="368" y="393"/>
                    </a:lnTo>
                    <a:lnTo>
                      <a:pt x="369" y="392"/>
                    </a:lnTo>
                    <a:lnTo>
                      <a:pt x="370" y="390"/>
                    </a:lnTo>
                    <a:lnTo>
                      <a:pt x="370" y="387"/>
                    </a:lnTo>
                    <a:lnTo>
                      <a:pt x="370" y="385"/>
                    </a:lnTo>
                    <a:lnTo>
                      <a:pt x="369" y="383"/>
                    </a:lnTo>
                    <a:lnTo>
                      <a:pt x="367" y="382"/>
                    </a:lnTo>
                    <a:lnTo>
                      <a:pt x="365" y="382"/>
                    </a:lnTo>
                    <a:close/>
                    <a:moveTo>
                      <a:pt x="276" y="382"/>
                    </a:moveTo>
                    <a:lnTo>
                      <a:pt x="274" y="382"/>
                    </a:lnTo>
                    <a:lnTo>
                      <a:pt x="271" y="383"/>
                    </a:lnTo>
                    <a:lnTo>
                      <a:pt x="270" y="384"/>
                    </a:lnTo>
                    <a:lnTo>
                      <a:pt x="269" y="386"/>
                    </a:lnTo>
                    <a:lnTo>
                      <a:pt x="269" y="387"/>
                    </a:lnTo>
                    <a:lnTo>
                      <a:pt x="270" y="390"/>
                    </a:lnTo>
                    <a:lnTo>
                      <a:pt x="271" y="392"/>
                    </a:lnTo>
                    <a:lnTo>
                      <a:pt x="273" y="393"/>
                    </a:lnTo>
                    <a:lnTo>
                      <a:pt x="276" y="393"/>
                    </a:lnTo>
                    <a:lnTo>
                      <a:pt x="278" y="393"/>
                    </a:lnTo>
                    <a:lnTo>
                      <a:pt x="279" y="393"/>
                    </a:lnTo>
                    <a:lnTo>
                      <a:pt x="281" y="392"/>
                    </a:lnTo>
                    <a:lnTo>
                      <a:pt x="282" y="390"/>
                    </a:lnTo>
                    <a:lnTo>
                      <a:pt x="282" y="387"/>
                    </a:lnTo>
                    <a:lnTo>
                      <a:pt x="282" y="385"/>
                    </a:lnTo>
                    <a:lnTo>
                      <a:pt x="280" y="383"/>
                    </a:lnTo>
                    <a:lnTo>
                      <a:pt x="278" y="382"/>
                    </a:lnTo>
                    <a:lnTo>
                      <a:pt x="276" y="382"/>
                    </a:lnTo>
                    <a:close/>
                    <a:moveTo>
                      <a:pt x="185" y="382"/>
                    </a:moveTo>
                    <a:lnTo>
                      <a:pt x="183" y="382"/>
                    </a:lnTo>
                    <a:lnTo>
                      <a:pt x="181" y="383"/>
                    </a:lnTo>
                    <a:lnTo>
                      <a:pt x="180" y="385"/>
                    </a:lnTo>
                    <a:lnTo>
                      <a:pt x="179" y="387"/>
                    </a:lnTo>
                    <a:lnTo>
                      <a:pt x="180" y="390"/>
                    </a:lnTo>
                    <a:lnTo>
                      <a:pt x="180" y="392"/>
                    </a:lnTo>
                    <a:lnTo>
                      <a:pt x="182" y="393"/>
                    </a:lnTo>
                    <a:lnTo>
                      <a:pt x="183" y="393"/>
                    </a:lnTo>
                    <a:lnTo>
                      <a:pt x="185" y="393"/>
                    </a:lnTo>
                    <a:lnTo>
                      <a:pt x="188" y="393"/>
                    </a:lnTo>
                    <a:lnTo>
                      <a:pt x="189" y="393"/>
                    </a:lnTo>
                    <a:lnTo>
                      <a:pt x="191" y="392"/>
                    </a:lnTo>
                    <a:lnTo>
                      <a:pt x="192" y="390"/>
                    </a:lnTo>
                    <a:lnTo>
                      <a:pt x="192" y="387"/>
                    </a:lnTo>
                    <a:lnTo>
                      <a:pt x="192" y="385"/>
                    </a:lnTo>
                    <a:lnTo>
                      <a:pt x="190" y="383"/>
                    </a:lnTo>
                    <a:lnTo>
                      <a:pt x="188" y="382"/>
                    </a:lnTo>
                    <a:lnTo>
                      <a:pt x="185" y="382"/>
                    </a:lnTo>
                    <a:close/>
                    <a:moveTo>
                      <a:pt x="95" y="382"/>
                    </a:moveTo>
                    <a:lnTo>
                      <a:pt x="93" y="382"/>
                    </a:lnTo>
                    <a:lnTo>
                      <a:pt x="91" y="383"/>
                    </a:lnTo>
                    <a:lnTo>
                      <a:pt x="90" y="385"/>
                    </a:lnTo>
                    <a:lnTo>
                      <a:pt x="89" y="387"/>
                    </a:lnTo>
                    <a:lnTo>
                      <a:pt x="90" y="390"/>
                    </a:lnTo>
                    <a:lnTo>
                      <a:pt x="90" y="392"/>
                    </a:lnTo>
                    <a:lnTo>
                      <a:pt x="92" y="393"/>
                    </a:lnTo>
                    <a:lnTo>
                      <a:pt x="93" y="393"/>
                    </a:lnTo>
                    <a:lnTo>
                      <a:pt x="95" y="393"/>
                    </a:lnTo>
                    <a:lnTo>
                      <a:pt x="98" y="393"/>
                    </a:lnTo>
                    <a:lnTo>
                      <a:pt x="100" y="392"/>
                    </a:lnTo>
                    <a:lnTo>
                      <a:pt x="102" y="390"/>
                    </a:lnTo>
                    <a:lnTo>
                      <a:pt x="102" y="387"/>
                    </a:lnTo>
                    <a:lnTo>
                      <a:pt x="102" y="386"/>
                    </a:lnTo>
                    <a:lnTo>
                      <a:pt x="100" y="384"/>
                    </a:lnTo>
                    <a:lnTo>
                      <a:pt x="99" y="383"/>
                    </a:lnTo>
                    <a:lnTo>
                      <a:pt x="97" y="382"/>
                    </a:lnTo>
                    <a:lnTo>
                      <a:pt x="95" y="382"/>
                    </a:lnTo>
                    <a:close/>
                    <a:moveTo>
                      <a:pt x="1487" y="319"/>
                    </a:moveTo>
                    <a:lnTo>
                      <a:pt x="1485" y="320"/>
                    </a:lnTo>
                    <a:lnTo>
                      <a:pt x="1482" y="321"/>
                    </a:lnTo>
                    <a:lnTo>
                      <a:pt x="1481" y="323"/>
                    </a:lnTo>
                    <a:lnTo>
                      <a:pt x="1480" y="326"/>
                    </a:lnTo>
                    <a:lnTo>
                      <a:pt x="1480" y="327"/>
                    </a:lnTo>
                    <a:lnTo>
                      <a:pt x="1481" y="330"/>
                    </a:lnTo>
                    <a:lnTo>
                      <a:pt x="1482" y="332"/>
                    </a:lnTo>
                    <a:lnTo>
                      <a:pt x="1485" y="333"/>
                    </a:lnTo>
                    <a:lnTo>
                      <a:pt x="1487" y="333"/>
                    </a:lnTo>
                    <a:lnTo>
                      <a:pt x="1489" y="333"/>
                    </a:lnTo>
                    <a:lnTo>
                      <a:pt x="1491" y="332"/>
                    </a:lnTo>
                    <a:lnTo>
                      <a:pt x="1493" y="330"/>
                    </a:lnTo>
                    <a:lnTo>
                      <a:pt x="1493" y="327"/>
                    </a:lnTo>
                    <a:lnTo>
                      <a:pt x="1493" y="326"/>
                    </a:lnTo>
                    <a:lnTo>
                      <a:pt x="1493" y="323"/>
                    </a:lnTo>
                    <a:lnTo>
                      <a:pt x="1491" y="321"/>
                    </a:lnTo>
                    <a:lnTo>
                      <a:pt x="1489" y="320"/>
                    </a:lnTo>
                    <a:lnTo>
                      <a:pt x="1487" y="319"/>
                    </a:lnTo>
                    <a:close/>
                    <a:moveTo>
                      <a:pt x="1396" y="319"/>
                    </a:moveTo>
                    <a:lnTo>
                      <a:pt x="1394" y="320"/>
                    </a:lnTo>
                    <a:lnTo>
                      <a:pt x="1392" y="321"/>
                    </a:lnTo>
                    <a:lnTo>
                      <a:pt x="1391" y="323"/>
                    </a:lnTo>
                    <a:lnTo>
                      <a:pt x="1390" y="326"/>
                    </a:lnTo>
                    <a:lnTo>
                      <a:pt x="1390" y="327"/>
                    </a:lnTo>
                    <a:lnTo>
                      <a:pt x="1391" y="330"/>
                    </a:lnTo>
                    <a:lnTo>
                      <a:pt x="1392" y="332"/>
                    </a:lnTo>
                    <a:lnTo>
                      <a:pt x="1394" y="333"/>
                    </a:lnTo>
                    <a:lnTo>
                      <a:pt x="1396" y="333"/>
                    </a:lnTo>
                    <a:lnTo>
                      <a:pt x="1399" y="333"/>
                    </a:lnTo>
                    <a:lnTo>
                      <a:pt x="1401" y="332"/>
                    </a:lnTo>
                    <a:lnTo>
                      <a:pt x="1403" y="330"/>
                    </a:lnTo>
                    <a:lnTo>
                      <a:pt x="1403" y="327"/>
                    </a:lnTo>
                    <a:lnTo>
                      <a:pt x="1403" y="326"/>
                    </a:lnTo>
                    <a:lnTo>
                      <a:pt x="1403" y="323"/>
                    </a:lnTo>
                    <a:lnTo>
                      <a:pt x="1401" y="321"/>
                    </a:lnTo>
                    <a:lnTo>
                      <a:pt x="1399" y="320"/>
                    </a:lnTo>
                    <a:lnTo>
                      <a:pt x="1396" y="319"/>
                    </a:lnTo>
                    <a:close/>
                    <a:moveTo>
                      <a:pt x="1308" y="319"/>
                    </a:moveTo>
                    <a:lnTo>
                      <a:pt x="1305" y="319"/>
                    </a:lnTo>
                    <a:lnTo>
                      <a:pt x="1304" y="320"/>
                    </a:lnTo>
                    <a:lnTo>
                      <a:pt x="1302" y="322"/>
                    </a:lnTo>
                    <a:lnTo>
                      <a:pt x="1302" y="323"/>
                    </a:lnTo>
                    <a:lnTo>
                      <a:pt x="1302" y="326"/>
                    </a:lnTo>
                    <a:lnTo>
                      <a:pt x="1302" y="327"/>
                    </a:lnTo>
                    <a:lnTo>
                      <a:pt x="1302" y="329"/>
                    </a:lnTo>
                    <a:lnTo>
                      <a:pt x="1302" y="331"/>
                    </a:lnTo>
                    <a:lnTo>
                      <a:pt x="1304" y="332"/>
                    </a:lnTo>
                    <a:lnTo>
                      <a:pt x="1305" y="333"/>
                    </a:lnTo>
                    <a:lnTo>
                      <a:pt x="1308" y="333"/>
                    </a:lnTo>
                    <a:lnTo>
                      <a:pt x="1310" y="333"/>
                    </a:lnTo>
                    <a:lnTo>
                      <a:pt x="1312" y="332"/>
                    </a:lnTo>
                    <a:lnTo>
                      <a:pt x="1314" y="330"/>
                    </a:lnTo>
                    <a:lnTo>
                      <a:pt x="1315" y="327"/>
                    </a:lnTo>
                    <a:lnTo>
                      <a:pt x="1315" y="326"/>
                    </a:lnTo>
                    <a:lnTo>
                      <a:pt x="1314" y="323"/>
                    </a:lnTo>
                    <a:lnTo>
                      <a:pt x="1312" y="321"/>
                    </a:lnTo>
                    <a:lnTo>
                      <a:pt x="1310" y="320"/>
                    </a:lnTo>
                    <a:lnTo>
                      <a:pt x="1308" y="319"/>
                    </a:lnTo>
                    <a:close/>
                    <a:moveTo>
                      <a:pt x="1218" y="319"/>
                    </a:moveTo>
                    <a:lnTo>
                      <a:pt x="1216" y="320"/>
                    </a:lnTo>
                    <a:lnTo>
                      <a:pt x="1214" y="321"/>
                    </a:lnTo>
                    <a:lnTo>
                      <a:pt x="1211" y="323"/>
                    </a:lnTo>
                    <a:lnTo>
                      <a:pt x="1211" y="326"/>
                    </a:lnTo>
                    <a:lnTo>
                      <a:pt x="1211" y="327"/>
                    </a:lnTo>
                    <a:lnTo>
                      <a:pt x="1211" y="330"/>
                    </a:lnTo>
                    <a:lnTo>
                      <a:pt x="1214" y="332"/>
                    </a:lnTo>
                    <a:lnTo>
                      <a:pt x="1216" y="333"/>
                    </a:lnTo>
                    <a:lnTo>
                      <a:pt x="1218" y="333"/>
                    </a:lnTo>
                    <a:lnTo>
                      <a:pt x="1220" y="333"/>
                    </a:lnTo>
                    <a:lnTo>
                      <a:pt x="1222" y="332"/>
                    </a:lnTo>
                    <a:lnTo>
                      <a:pt x="1223" y="330"/>
                    </a:lnTo>
                    <a:lnTo>
                      <a:pt x="1224" y="327"/>
                    </a:lnTo>
                    <a:lnTo>
                      <a:pt x="1224" y="326"/>
                    </a:lnTo>
                    <a:lnTo>
                      <a:pt x="1223" y="323"/>
                    </a:lnTo>
                    <a:lnTo>
                      <a:pt x="1222" y="321"/>
                    </a:lnTo>
                    <a:lnTo>
                      <a:pt x="1220" y="320"/>
                    </a:lnTo>
                    <a:lnTo>
                      <a:pt x="1218" y="319"/>
                    </a:lnTo>
                    <a:close/>
                    <a:moveTo>
                      <a:pt x="1128" y="319"/>
                    </a:moveTo>
                    <a:lnTo>
                      <a:pt x="1125" y="320"/>
                    </a:lnTo>
                    <a:lnTo>
                      <a:pt x="1123" y="321"/>
                    </a:lnTo>
                    <a:lnTo>
                      <a:pt x="1121" y="323"/>
                    </a:lnTo>
                    <a:lnTo>
                      <a:pt x="1121" y="326"/>
                    </a:lnTo>
                    <a:lnTo>
                      <a:pt x="1121" y="327"/>
                    </a:lnTo>
                    <a:lnTo>
                      <a:pt x="1121" y="330"/>
                    </a:lnTo>
                    <a:lnTo>
                      <a:pt x="1123" y="332"/>
                    </a:lnTo>
                    <a:lnTo>
                      <a:pt x="1125" y="333"/>
                    </a:lnTo>
                    <a:lnTo>
                      <a:pt x="1128" y="333"/>
                    </a:lnTo>
                    <a:lnTo>
                      <a:pt x="1130" y="333"/>
                    </a:lnTo>
                    <a:lnTo>
                      <a:pt x="1132" y="332"/>
                    </a:lnTo>
                    <a:lnTo>
                      <a:pt x="1133" y="331"/>
                    </a:lnTo>
                    <a:lnTo>
                      <a:pt x="1133" y="329"/>
                    </a:lnTo>
                    <a:lnTo>
                      <a:pt x="1134" y="327"/>
                    </a:lnTo>
                    <a:lnTo>
                      <a:pt x="1134" y="326"/>
                    </a:lnTo>
                    <a:lnTo>
                      <a:pt x="1133" y="323"/>
                    </a:lnTo>
                    <a:lnTo>
                      <a:pt x="1133" y="322"/>
                    </a:lnTo>
                    <a:lnTo>
                      <a:pt x="1132" y="320"/>
                    </a:lnTo>
                    <a:lnTo>
                      <a:pt x="1130" y="319"/>
                    </a:lnTo>
                    <a:lnTo>
                      <a:pt x="1128" y="319"/>
                    </a:lnTo>
                    <a:close/>
                    <a:moveTo>
                      <a:pt x="1038" y="319"/>
                    </a:moveTo>
                    <a:lnTo>
                      <a:pt x="1036" y="320"/>
                    </a:lnTo>
                    <a:lnTo>
                      <a:pt x="1034" y="321"/>
                    </a:lnTo>
                    <a:lnTo>
                      <a:pt x="1033" y="323"/>
                    </a:lnTo>
                    <a:lnTo>
                      <a:pt x="1032" y="326"/>
                    </a:lnTo>
                    <a:lnTo>
                      <a:pt x="1032" y="327"/>
                    </a:lnTo>
                    <a:lnTo>
                      <a:pt x="1033" y="330"/>
                    </a:lnTo>
                    <a:lnTo>
                      <a:pt x="1034" y="332"/>
                    </a:lnTo>
                    <a:lnTo>
                      <a:pt x="1036" y="333"/>
                    </a:lnTo>
                    <a:lnTo>
                      <a:pt x="1038" y="333"/>
                    </a:lnTo>
                    <a:lnTo>
                      <a:pt x="1040" y="333"/>
                    </a:lnTo>
                    <a:lnTo>
                      <a:pt x="1043" y="332"/>
                    </a:lnTo>
                    <a:lnTo>
                      <a:pt x="1045" y="330"/>
                    </a:lnTo>
                    <a:lnTo>
                      <a:pt x="1045" y="327"/>
                    </a:lnTo>
                    <a:lnTo>
                      <a:pt x="1045" y="326"/>
                    </a:lnTo>
                    <a:lnTo>
                      <a:pt x="1045" y="323"/>
                    </a:lnTo>
                    <a:lnTo>
                      <a:pt x="1043" y="321"/>
                    </a:lnTo>
                    <a:lnTo>
                      <a:pt x="1040" y="320"/>
                    </a:lnTo>
                    <a:lnTo>
                      <a:pt x="1038" y="319"/>
                    </a:lnTo>
                    <a:close/>
                    <a:moveTo>
                      <a:pt x="948" y="319"/>
                    </a:moveTo>
                    <a:lnTo>
                      <a:pt x="946" y="320"/>
                    </a:lnTo>
                    <a:lnTo>
                      <a:pt x="944" y="321"/>
                    </a:lnTo>
                    <a:lnTo>
                      <a:pt x="943" y="323"/>
                    </a:lnTo>
                    <a:lnTo>
                      <a:pt x="941" y="326"/>
                    </a:lnTo>
                    <a:lnTo>
                      <a:pt x="941" y="327"/>
                    </a:lnTo>
                    <a:lnTo>
                      <a:pt x="943" y="330"/>
                    </a:lnTo>
                    <a:lnTo>
                      <a:pt x="944" y="332"/>
                    </a:lnTo>
                    <a:lnTo>
                      <a:pt x="946" y="333"/>
                    </a:lnTo>
                    <a:lnTo>
                      <a:pt x="948" y="333"/>
                    </a:lnTo>
                    <a:lnTo>
                      <a:pt x="950" y="333"/>
                    </a:lnTo>
                    <a:lnTo>
                      <a:pt x="952" y="332"/>
                    </a:lnTo>
                    <a:lnTo>
                      <a:pt x="953" y="330"/>
                    </a:lnTo>
                    <a:lnTo>
                      <a:pt x="954" y="327"/>
                    </a:lnTo>
                    <a:lnTo>
                      <a:pt x="954" y="326"/>
                    </a:lnTo>
                    <a:lnTo>
                      <a:pt x="953" y="323"/>
                    </a:lnTo>
                    <a:lnTo>
                      <a:pt x="952" y="321"/>
                    </a:lnTo>
                    <a:lnTo>
                      <a:pt x="950" y="320"/>
                    </a:lnTo>
                    <a:lnTo>
                      <a:pt x="948" y="319"/>
                    </a:lnTo>
                    <a:close/>
                    <a:moveTo>
                      <a:pt x="859" y="319"/>
                    </a:moveTo>
                    <a:lnTo>
                      <a:pt x="856" y="319"/>
                    </a:lnTo>
                    <a:lnTo>
                      <a:pt x="855" y="320"/>
                    </a:lnTo>
                    <a:lnTo>
                      <a:pt x="854" y="322"/>
                    </a:lnTo>
                    <a:lnTo>
                      <a:pt x="853" y="323"/>
                    </a:lnTo>
                    <a:lnTo>
                      <a:pt x="853" y="326"/>
                    </a:lnTo>
                    <a:lnTo>
                      <a:pt x="853" y="327"/>
                    </a:lnTo>
                    <a:lnTo>
                      <a:pt x="853" y="329"/>
                    </a:lnTo>
                    <a:lnTo>
                      <a:pt x="854" y="331"/>
                    </a:lnTo>
                    <a:lnTo>
                      <a:pt x="855" y="332"/>
                    </a:lnTo>
                    <a:lnTo>
                      <a:pt x="856" y="333"/>
                    </a:lnTo>
                    <a:lnTo>
                      <a:pt x="859" y="333"/>
                    </a:lnTo>
                    <a:lnTo>
                      <a:pt x="862" y="333"/>
                    </a:lnTo>
                    <a:lnTo>
                      <a:pt x="864" y="332"/>
                    </a:lnTo>
                    <a:lnTo>
                      <a:pt x="865" y="330"/>
                    </a:lnTo>
                    <a:lnTo>
                      <a:pt x="865" y="327"/>
                    </a:lnTo>
                    <a:lnTo>
                      <a:pt x="865" y="326"/>
                    </a:lnTo>
                    <a:lnTo>
                      <a:pt x="865" y="323"/>
                    </a:lnTo>
                    <a:lnTo>
                      <a:pt x="864" y="321"/>
                    </a:lnTo>
                    <a:lnTo>
                      <a:pt x="862" y="320"/>
                    </a:lnTo>
                    <a:lnTo>
                      <a:pt x="859" y="319"/>
                    </a:lnTo>
                    <a:close/>
                    <a:moveTo>
                      <a:pt x="768" y="319"/>
                    </a:moveTo>
                    <a:lnTo>
                      <a:pt x="766" y="320"/>
                    </a:lnTo>
                    <a:lnTo>
                      <a:pt x="765" y="321"/>
                    </a:lnTo>
                    <a:lnTo>
                      <a:pt x="763" y="323"/>
                    </a:lnTo>
                    <a:lnTo>
                      <a:pt x="763" y="326"/>
                    </a:lnTo>
                    <a:lnTo>
                      <a:pt x="763" y="327"/>
                    </a:lnTo>
                    <a:lnTo>
                      <a:pt x="763" y="330"/>
                    </a:lnTo>
                    <a:lnTo>
                      <a:pt x="765" y="332"/>
                    </a:lnTo>
                    <a:lnTo>
                      <a:pt x="766" y="333"/>
                    </a:lnTo>
                    <a:lnTo>
                      <a:pt x="768" y="333"/>
                    </a:lnTo>
                    <a:lnTo>
                      <a:pt x="772" y="333"/>
                    </a:lnTo>
                    <a:lnTo>
                      <a:pt x="774" y="332"/>
                    </a:lnTo>
                    <a:lnTo>
                      <a:pt x="775" y="330"/>
                    </a:lnTo>
                    <a:lnTo>
                      <a:pt x="775" y="327"/>
                    </a:lnTo>
                    <a:lnTo>
                      <a:pt x="775" y="326"/>
                    </a:lnTo>
                    <a:lnTo>
                      <a:pt x="775" y="323"/>
                    </a:lnTo>
                    <a:lnTo>
                      <a:pt x="774" y="321"/>
                    </a:lnTo>
                    <a:lnTo>
                      <a:pt x="772" y="320"/>
                    </a:lnTo>
                    <a:lnTo>
                      <a:pt x="768" y="319"/>
                    </a:lnTo>
                    <a:close/>
                    <a:moveTo>
                      <a:pt x="678" y="319"/>
                    </a:moveTo>
                    <a:lnTo>
                      <a:pt x="676" y="320"/>
                    </a:lnTo>
                    <a:lnTo>
                      <a:pt x="675" y="321"/>
                    </a:lnTo>
                    <a:lnTo>
                      <a:pt x="673" y="323"/>
                    </a:lnTo>
                    <a:lnTo>
                      <a:pt x="673" y="326"/>
                    </a:lnTo>
                    <a:lnTo>
                      <a:pt x="673" y="327"/>
                    </a:lnTo>
                    <a:lnTo>
                      <a:pt x="673" y="330"/>
                    </a:lnTo>
                    <a:lnTo>
                      <a:pt x="675" y="332"/>
                    </a:lnTo>
                    <a:lnTo>
                      <a:pt x="676" y="333"/>
                    </a:lnTo>
                    <a:lnTo>
                      <a:pt x="678" y="333"/>
                    </a:lnTo>
                    <a:lnTo>
                      <a:pt x="681" y="333"/>
                    </a:lnTo>
                    <a:lnTo>
                      <a:pt x="682" y="332"/>
                    </a:lnTo>
                    <a:lnTo>
                      <a:pt x="684" y="331"/>
                    </a:lnTo>
                    <a:lnTo>
                      <a:pt x="684" y="329"/>
                    </a:lnTo>
                    <a:lnTo>
                      <a:pt x="684" y="327"/>
                    </a:lnTo>
                    <a:lnTo>
                      <a:pt x="684" y="326"/>
                    </a:lnTo>
                    <a:lnTo>
                      <a:pt x="684" y="323"/>
                    </a:lnTo>
                    <a:lnTo>
                      <a:pt x="684" y="322"/>
                    </a:lnTo>
                    <a:lnTo>
                      <a:pt x="682" y="320"/>
                    </a:lnTo>
                    <a:lnTo>
                      <a:pt x="681" y="319"/>
                    </a:lnTo>
                    <a:lnTo>
                      <a:pt x="678" y="319"/>
                    </a:lnTo>
                    <a:close/>
                    <a:moveTo>
                      <a:pt x="590" y="319"/>
                    </a:moveTo>
                    <a:lnTo>
                      <a:pt x="588" y="319"/>
                    </a:lnTo>
                    <a:lnTo>
                      <a:pt x="585" y="320"/>
                    </a:lnTo>
                    <a:lnTo>
                      <a:pt x="584" y="322"/>
                    </a:lnTo>
                    <a:lnTo>
                      <a:pt x="583" y="323"/>
                    </a:lnTo>
                    <a:lnTo>
                      <a:pt x="583" y="326"/>
                    </a:lnTo>
                    <a:lnTo>
                      <a:pt x="583" y="327"/>
                    </a:lnTo>
                    <a:lnTo>
                      <a:pt x="583" y="329"/>
                    </a:lnTo>
                    <a:lnTo>
                      <a:pt x="584" y="331"/>
                    </a:lnTo>
                    <a:lnTo>
                      <a:pt x="585" y="332"/>
                    </a:lnTo>
                    <a:lnTo>
                      <a:pt x="588" y="333"/>
                    </a:lnTo>
                    <a:lnTo>
                      <a:pt x="590" y="333"/>
                    </a:lnTo>
                    <a:lnTo>
                      <a:pt x="592" y="333"/>
                    </a:lnTo>
                    <a:lnTo>
                      <a:pt x="594" y="332"/>
                    </a:lnTo>
                    <a:lnTo>
                      <a:pt x="595" y="330"/>
                    </a:lnTo>
                    <a:lnTo>
                      <a:pt x="596" y="327"/>
                    </a:lnTo>
                    <a:lnTo>
                      <a:pt x="596" y="326"/>
                    </a:lnTo>
                    <a:lnTo>
                      <a:pt x="595" y="323"/>
                    </a:lnTo>
                    <a:lnTo>
                      <a:pt x="594" y="321"/>
                    </a:lnTo>
                    <a:lnTo>
                      <a:pt x="592" y="320"/>
                    </a:lnTo>
                    <a:lnTo>
                      <a:pt x="590" y="319"/>
                    </a:lnTo>
                    <a:close/>
                    <a:moveTo>
                      <a:pt x="499" y="319"/>
                    </a:moveTo>
                    <a:lnTo>
                      <a:pt x="497" y="320"/>
                    </a:lnTo>
                    <a:lnTo>
                      <a:pt x="495" y="321"/>
                    </a:lnTo>
                    <a:lnTo>
                      <a:pt x="494" y="323"/>
                    </a:lnTo>
                    <a:lnTo>
                      <a:pt x="493" y="326"/>
                    </a:lnTo>
                    <a:lnTo>
                      <a:pt x="493" y="327"/>
                    </a:lnTo>
                    <a:lnTo>
                      <a:pt x="494" y="330"/>
                    </a:lnTo>
                    <a:lnTo>
                      <a:pt x="495" y="332"/>
                    </a:lnTo>
                    <a:lnTo>
                      <a:pt x="497" y="333"/>
                    </a:lnTo>
                    <a:lnTo>
                      <a:pt x="499" y="333"/>
                    </a:lnTo>
                    <a:lnTo>
                      <a:pt x="502" y="333"/>
                    </a:lnTo>
                    <a:lnTo>
                      <a:pt x="504" y="332"/>
                    </a:lnTo>
                    <a:lnTo>
                      <a:pt x="505" y="330"/>
                    </a:lnTo>
                    <a:lnTo>
                      <a:pt x="506" y="327"/>
                    </a:lnTo>
                    <a:lnTo>
                      <a:pt x="506" y="326"/>
                    </a:lnTo>
                    <a:lnTo>
                      <a:pt x="505" y="323"/>
                    </a:lnTo>
                    <a:lnTo>
                      <a:pt x="504" y="321"/>
                    </a:lnTo>
                    <a:lnTo>
                      <a:pt x="502" y="320"/>
                    </a:lnTo>
                    <a:lnTo>
                      <a:pt x="499" y="319"/>
                    </a:lnTo>
                    <a:close/>
                    <a:moveTo>
                      <a:pt x="409" y="319"/>
                    </a:moveTo>
                    <a:lnTo>
                      <a:pt x="407" y="320"/>
                    </a:lnTo>
                    <a:lnTo>
                      <a:pt x="405" y="321"/>
                    </a:lnTo>
                    <a:lnTo>
                      <a:pt x="404" y="323"/>
                    </a:lnTo>
                    <a:lnTo>
                      <a:pt x="403" y="326"/>
                    </a:lnTo>
                    <a:lnTo>
                      <a:pt x="403" y="327"/>
                    </a:lnTo>
                    <a:lnTo>
                      <a:pt x="404" y="330"/>
                    </a:lnTo>
                    <a:lnTo>
                      <a:pt x="405" y="332"/>
                    </a:lnTo>
                    <a:lnTo>
                      <a:pt x="407" y="333"/>
                    </a:lnTo>
                    <a:lnTo>
                      <a:pt x="409" y="333"/>
                    </a:lnTo>
                    <a:lnTo>
                      <a:pt x="411" y="333"/>
                    </a:lnTo>
                    <a:lnTo>
                      <a:pt x="413" y="332"/>
                    </a:lnTo>
                    <a:lnTo>
                      <a:pt x="414" y="331"/>
                    </a:lnTo>
                    <a:lnTo>
                      <a:pt x="416" y="329"/>
                    </a:lnTo>
                    <a:lnTo>
                      <a:pt x="416" y="327"/>
                    </a:lnTo>
                    <a:lnTo>
                      <a:pt x="416" y="326"/>
                    </a:lnTo>
                    <a:lnTo>
                      <a:pt x="416" y="323"/>
                    </a:lnTo>
                    <a:lnTo>
                      <a:pt x="414" y="322"/>
                    </a:lnTo>
                    <a:lnTo>
                      <a:pt x="413" y="320"/>
                    </a:lnTo>
                    <a:lnTo>
                      <a:pt x="411" y="319"/>
                    </a:lnTo>
                    <a:lnTo>
                      <a:pt x="409" y="319"/>
                    </a:lnTo>
                    <a:close/>
                    <a:moveTo>
                      <a:pt x="320" y="319"/>
                    </a:moveTo>
                    <a:lnTo>
                      <a:pt x="318" y="320"/>
                    </a:lnTo>
                    <a:lnTo>
                      <a:pt x="316" y="321"/>
                    </a:lnTo>
                    <a:lnTo>
                      <a:pt x="314" y="323"/>
                    </a:lnTo>
                    <a:lnTo>
                      <a:pt x="314" y="326"/>
                    </a:lnTo>
                    <a:lnTo>
                      <a:pt x="314" y="327"/>
                    </a:lnTo>
                    <a:lnTo>
                      <a:pt x="314" y="330"/>
                    </a:lnTo>
                    <a:lnTo>
                      <a:pt x="316" y="332"/>
                    </a:lnTo>
                    <a:lnTo>
                      <a:pt x="318" y="333"/>
                    </a:lnTo>
                    <a:lnTo>
                      <a:pt x="320" y="333"/>
                    </a:lnTo>
                    <a:lnTo>
                      <a:pt x="323" y="333"/>
                    </a:lnTo>
                    <a:lnTo>
                      <a:pt x="325" y="332"/>
                    </a:lnTo>
                    <a:lnTo>
                      <a:pt x="326" y="330"/>
                    </a:lnTo>
                    <a:lnTo>
                      <a:pt x="326" y="327"/>
                    </a:lnTo>
                    <a:lnTo>
                      <a:pt x="326" y="326"/>
                    </a:lnTo>
                    <a:lnTo>
                      <a:pt x="326" y="323"/>
                    </a:lnTo>
                    <a:lnTo>
                      <a:pt x="325" y="321"/>
                    </a:lnTo>
                    <a:lnTo>
                      <a:pt x="323" y="320"/>
                    </a:lnTo>
                    <a:lnTo>
                      <a:pt x="320" y="319"/>
                    </a:lnTo>
                    <a:close/>
                    <a:moveTo>
                      <a:pt x="230" y="319"/>
                    </a:moveTo>
                    <a:lnTo>
                      <a:pt x="227" y="320"/>
                    </a:lnTo>
                    <a:lnTo>
                      <a:pt x="225" y="321"/>
                    </a:lnTo>
                    <a:lnTo>
                      <a:pt x="224" y="323"/>
                    </a:lnTo>
                    <a:lnTo>
                      <a:pt x="224" y="326"/>
                    </a:lnTo>
                    <a:lnTo>
                      <a:pt x="224" y="327"/>
                    </a:lnTo>
                    <a:lnTo>
                      <a:pt x="224" y="330"/>
                    </a:lnTo>
                    <a:lnTo>
                      <a:pt x="225" y="332"/>
                    </a:lnTo>
                    <a:lnTo>
                      <a:pt x="227" y="333"/>
                    </a:lnTo>
                    <a:lnTo>
                      <a:pt x="230" y="333"/>
                    </a:lnTo>
                    <a:lnTo>
                      <a:pt x="233" y="333"/>
                    </a:lnTo>
                    <a:lnTo>
                      <a:pt x="235" y="332"/>
                    </a:lnTo>
                    <a:lnTo>
                      <a:pt x="236" y="330"/>
                    </a:lnTo>
                    <a:lnTo>
                      <a:pt x="236" y="327"/>
                    </a:lnTo>
                    <a:lnTo>
                      <a:pt x="236" y="326"/>
                    </a:lnTo>
                    <a:lnTo>
                      <a:pt x="236" y="323"/>
                    </a:lnTo>
                    <a:lnTo>
                      <a:pt x="235" y="321"/>
                    </a:lnTo>
                    <a:lnTo>
                      <a:pt x="233" y="320"/>
                    </a:lnTo>
                    <a:lnTo>
                      <a:pt x="230" y="319"/>
                    </a:lnTo>
                    <a:close/>
                    <a:moveTo>
                      <a:pt x="141" y="319"/>
                    </a:moveTo>
                    <a:lnTo>
                      <a:pt x="139" y="319"/>
                    </a:lnTo>
                    <a:lnTo>
                      <a:pt x="137" y="320"/>
                    </a:lnTo>
                    <a:lnTo>
                      <a:pt x="136" y="322"/>
                    </a:lnTo>
                    <a:lnTo>
                      <a:pt x="135" y="323"/>
                    </a:lnTo>
                    <a:lnTo>
                      <a:pt x="135" y="326"/>
                    </a:lnTo>
                    <a:lnTo>
                      <a:pt x="135" y="327"/>
                    </a:lnTo>
                    <a:lnTo>
                      <a:pt x="135" y="329"/>
                    </a:lnTo>
                    <a:lnTo>
                      <a:pt x="136" y="331"/>
                    </a:lnTo>
                    <a:lnTo>
                      <a:pt x="137" y="332"/>
                    </a:lnTo>
                    <a:lnTo>
                      <a:pt x="139" y="333"/>
                    </a:lnTo>
                    <a:lnTo>
                      <a:pt x="141" y="333"/>
                    </a:lnTo>
                    <a:lnTo>
                      <a:pt x="143" y="333"/>
                    </a:lnTo>
                    <a:lnTo>
                      <a:pt x="146" y="332"/>
                    </a:lnTo>
                    <a:lnTo>
                      <a:pt x="147" y="330"/>
                    </a:lnTo>
                    <a:lnTo>
                      <a:pt x="148" y="327"/>
                    </a:lnTo>
                    <a:lnTo>
                      <a:pt x="148" y="326"/>
                    </a:lnTo>
                    <a:lnTo>
                      <a:pt x="147" y="323"/>
                    </a:lnTo>
                    <a:lnTo>
                      <a:pt x="146" y="321"/>
                    </a:lnTo>
                    <a:lnTo>
                      <a:pt x="143" y="320"/>
                    </a:lnTo>
                    <a:lnTo>
                      <a:pt x="141" y="319"/>
                    </a:lnTo>
                    <a:close/>
                    <a:moveTo>
                      <a:pt x="51" y="319"/>
                    </a:moveTo>
                    <a:lnTo>
                      <a:pt x="49" y="320"/>
                    </a:lnTo>
                    <a:lnTo>
                      <a:pt x="47" y="321"/>
                    </a:lnTo>
                    <a:lnTo>
                      <a:pt x="45" y="323"/>
                    </a:lnTo>
                    <a:lnTo>
                      <a:pt x="45" y="326"/>
                    </a:lnTo>
                    <a:lnTo>
                      <a:pt x="45" y="327"/>
                    </a:lnTo>
                    <a:lnTo>
                      <a:pt x="45" y="330"/>
                    </a:lnTo>
                    <a:lnTo>
                      <a:pt x="47" y="332"/>
                    </a:lnTo>
                    <a:lnTo>
                      <a:pt x="49" y="333"/>
                    </a:lnTo>
                    <a:lnTo>
                      <a:pt x="51" y="333"/>
                    </a:lnTo>
                    <a:lnTo>
                      <a:pt x="53" y="333"/>
                    </a:lnTo>
                    <a:lnTo>
                      <a:pt x="55" y="332"/>
                    </a:lnTo>
                    <a:lnTo>
                      <a:pt x="56" y="330"/>
                    </a:lnTo>
                    <a:lnTo>
                      <a:pt x="57" y="327"/>
                    </a:lnTo>
                    <a:lnTo>
                      <a:pt x="57" y="326"/>
                    </a:lnTo>
                    <a:lnTo>
                      <a:pt x="56" y="323"/>
                    </a:lnTo>
                    <a:lnTo>
                      <a:pt x="55" y="321"/>
                    </a:lnTo>
                    <a:lnTo>
                      <a:pt x="53" y="320"/>
                    </a:lnTo>
                    <a:lnTo>
                      <a:pt x="51" y="319"/>
                    </a:lnTo>
                    <a:close/>
                    <a:moveTo>
                      <a:pt x="1532" y="222"/>
                    </a:moveTo>
                    <a:lnTo>
                      <a:pt x="1529" y="223"/>
                    </a:lnTo>
                    <a:lnTo>
                      <a:pt x="1527" y="224"/>
                    </a:lnTo>
                    <a:lnTo>
                      <a:pt x="1525" y="226"/>
                    </a:lnTo>
                    <a:lnTo>
                      <a:pt x="1525" y="229"/>
                    </a:lnTo>
                    <a:lnTo>
                      <a:pt x="1525" y="231"/>
                    </a:lnTo>
                    <a:lnTo>
                      <a:pt x="1525" y="233"/>
                    </a:lnTo>
                    <a:lnTo>
                      <a:pt x="1527" y="235"/>
                    </a:lnTo>
                    <a:lnTo>
                      <a:pt x="1529" y="236"/>
                    </a:lnTo>
                    <a:lnTo>
                      <a:pt x="1532" y="236"/>
                    </a:lnTo>
                    <a:lnTo>
                      <a:pt x="1534" y="236"/>
                    </a:lnTo>
                    <a:lnTo>
                      <a:pt x="1536" y="235"/>
                    </a:lnTo>
                    <a:lnTo>
                      <a:pt x="1537" y="233"/>
                    </a:lnTo>
                    <a:lnTo>
                      <a:pt x="1538" y="231"/>
                    </a:lnTo>
                    <a:lnTo>
                      <a:pt x="1538" y="229"/>
                    </a:lnTo>
                    <a:lnTo>
                      <a:pt x="1537" y="226"/>
                    </a:lnTo>
                    <a:lnTo>
                      <a:pt x="1536" y="224"/>
                    </a:lnTo>
                    <a:lnTo>
                      <a:pt x="1534" y="223"/>
                    </a:lnTo>
                    <a:lnTo>
                      <a:pt x="1532" y="222"/>
                    </a:lnTo>
                    <a:close/>
                    <a:moveTo>
                      <a:pt x="1443" y="222"/>
                    </a:moveTo>
                    <a:lnTo>
                      <a:pt x="1440" y="223"/>
                    </a:lnTo>
                    <a:lnTo>
                      <a:pt x="1438" y="223"/>
                    </a:lnTo>
                    <a:lnTo>
                      <a:pt x="1437" y="225"/>
                    </a:lnTo>
                    <a:lnTo>
                      <a:pt x="1436" y="226"/>
                    </a:lnTo>
                    <a:lnTo>
                      <a:pt x="1436" y="229"/>
                    </a:lnTo>
                    <a:lnTo>
                      <a:pt x="1436" y="231"/>
                    </a:lnTo>
                    <a:lnTo>
                      <a:pt x="1436" y="232"/>
                    </a:lnTo>
                    <a:lnTo>
                      <a:pt x="1437" y="234"/>
                    </a:lnTo>
                    <a:lnTo>
                      <a:pt x="1438" y="235"/>
                    </a:lnTo>
                    <a:lnTo>
                      <a:pt x="1440" y="236"/>
                    </a:lnTo>
                    <a:lnTo>
                      <a:pt x="1443" y="236"/>
                    </a:lnTo>
                    <a:lnTo>
                      <a:pt x="1445" y="236"/>
                    </a:lnTo>
                    <a:lnTo>
                      <a:pt x="1447" y="235"/>
                    </a:lnTo>
                    <a:lnTo>
                      <a:pt x="1448" y="233"/>
                    </a:lnTo>
                    <a:lnTo>
                      <a:pt x="1449" y="231"/>
                    </a:lnTo>
                    <a:lnTo>
                      <a:pt x="1449" y="229"/>
                    </a:lnTo>
                    <a:lnTo>
                      <a:pt x="1448" y="226"/>
                    </a:lnTo>
                    <a:lnTo>
                      <a:pt x="1447" y="224"/>
                    </a:lnTo>
                    <a:lnTo>
                      <a:pt x="1445" y="223"/>
                    </a:lnTo>
                    <a:lnTo>
                      <a:pt x="1443" y="222"/>
                    </a:lnTo>
                    <a:close/>
                    <a:moveTo>
                      <a:pt x="1352" y="222"/>
                    </a:moveTo>
                    <a:lnTo>
                      <a:pt x="1350" y="223"/>
                    </a:lnTo>
                    <a:lnTo>
                      <a:pt x="1348" y="224"/>
                    </a:lnTo>
                    <a:lnTo>
                      <a:pt x="1347" y="226"/>
                    </a:lnTo>
                    <a:lnTo>
                      <a:pt x="1346" y="229"/>
                    </a:lnTo>
                    <a:lnTo>
                      <a:pt x="1346" y="231"/>
                    </a:lnTo>
                    <a:lnTo>
                      <a:pt x="1347" y="233"/>
                    </a:lnTo>
                    <a:lnTo>
                      <a:pt x="1348" y="235"/>
                    </a:lnTo>
                    <a:lnTo>
                      <a:pt x="1350" y="236"/>
                    </a:lnTo>
                    <a:lnTo>
                      <a:pt x="1352" y="236"/>
                    </a:lnTo>
                    <a:lnTo>
                      <a:pt x="1354" y="236"/>
                    </a:lnTo>
                    <a:lnTo>
                      <a:pt x="1357" y="235"/>
                    </a:lnTo>
                    <a:lnTo>
                      <a:pt x="1358" y="233"/>
                    </a:lnTo>
                    <a:lnTo>
                      <a:pt x="1359" y="231"/>
                    </a:lnTo>
                    <a:lnTo>
                      <a:pt x="1359" y="229"/>
                    </a:lnTo>
                    <a:lnTo>
                      <a:pt x="1358" y="226"/>
                    </a:lnTo>
                    <a:lnTo>
                      <a:pt x="1357" y="224"/>
                    </a:lnTo>
                    <a:lnTo>
                      <a:pt x="1354" y="223"/>
                    </a:lnTo>
                    <a:lnTo>
                      <a:pt x="1352" y="222"/>
                    </a:lnTo>
                    <a:close/>
                    <a:moveTo>
                      <a:pt x="1262" y="222"/>
                    </a:moveTo>
                    <a:lnTo>
                      <a:pt x="1260" y="223"/>
                    </a:lnTo>
                    <a:lnTo>
                      <a:pt x="1258" y="224"/>
                    </a:lnTo>
                    <a:lnTo>
                      <a:pt x="1257" y="226"/>
                    </a:lnTo>
                    <a:lnTo>
                      <a:pt x="1255" y="229"/>
                    </a:lnTo>
                    <a:lnTo>
                      <a:pt x="1255" y="231"/>
                    </a:lnTo>
                    <a:lnTo>
                      <a:pt x="1257" y="233"/>
                    </a:lnTo>
                    <a:lnTo>
                      <a:pt x="1258" y="235"/>
                    </a:lnTo>
                    <a:lnTo>
                      <a:pt x="1260" y="236"/>
                    </a:lnTo>
                    <a:lnTo>
                      <a:pt x="1262" y="236"/>
                    </a:lnTo>
                    <a:lnTo>
                      <a:pt x="1264" y="236"/>
                    </a:lnTo>
                    <a:lnTo>
                      <a:pt x="1266" y="235"/>
                    </a:lnTo>
                    <a:lnTo>
                      <a:pt x="1267" y="233"/>
                    </a:lnTo>
                    <a:lnTo>
                      <a:pt x="1268" y="231"/>
                    </a:lnTo>
                    <a:lnTo>
                      <a:pt x="1268" y="229"/>
                    </a:lnTo>
                    <a:lnTo>
                      <a:pt x="1267" y="226"/>
                    </a:lnTo>
                    <a:lnTo>
                      <a:pt x="1266" y="224"/>
                    </a:lnTo>
                    <a:lnTo>
                      <a:pt x="1264" y="223"/>
                    </a:lnTo>
                    <a:lnTo>
                      <a:pt x="1262" y="222"/>
                    </a:lnTo>
                    <a:close/>
                    <a:moveTo>
                      <a:pt x="1173" y="222"/>
                    </a:moveTo>
                    <a:lnTo>
                      <a:pt x="1171" y="223"/>
                    </a:lnTo>
                    <a:lnTo>
                      <a:pt x="1168" y="223"/>
                    </a:lnTo>
                    <a:lnTo>
                      <a:pt x="1167" y="225"/>
                    </a:lnTo>
                    <a:lnTo>
                      <a:pt x="1167" y="226"/>
                    </a:lnTo>
                    <a:lnTo>
                      <a:pt x="1166" y="229"/>
                    </a:lnTo>
                    <a:lnTo>
                      <a:pt x="1166" y="231"/>
                    </a:lnTo>
                    <a:lnTo>
                      <a:pt x="1167" y="233"/>
                    </a:lnTo>
                    <a:lnTo>
                      <a:pt x="1168" y="235"/>
                    </a:lnTo>
                    <a:lnTo>
                      <a:pt x="1171" y="236"/>
                    </a:lnTo>
                    <a:lnTo>
                      <a:pt x="1173" y="236"/>
                    </a:lnTo>
                    <a:lnTo>
                      <a:pt x="1176" y="236"/>
                    </a:lnTo>
                    <a:lnTo>
                      <a:pt x="1178" y="235"/>
                    </a:lnTo>
                    <a:lnTo>
                      <a:pt x="1179" y="233"/>
                    </a:lnTo>
                    <a:lnTo>
                      <a:pt x="1179" y="231"/>
                    </a:lnTo>
                    <a:lnTo>
                      <a:pt x="1179" y="229"/>
                    </a:lnTo>
                    <a:lnTo>
                      <a:pt x="1179" y="226"/>
                    </a:lnTo>
                    <a:lnTo>
                      <a:pt x="1178" y="224"/>
                    </a:lnTo>
                    <a:lnTo>
                      <a:pt x="1176" y="223"/>
                    </a:lnTo>
                    <a:lnTo>
                      <a:pt x="1173" y="222"/>
                    </a:lnTo>
                    <a:close/>
                    <a:moveTo>
                      <a:pt x="1082" y="222"/>
                    </a:moveTo>
                    <a:lnTo>
                      <a:pt x="1080" y="223"/>
                    </a:lnTo>
                    <a:lnTo>
                      <a:pt x="1078" y="224"/>
                    </a:lnTo>
                    <a:lnTo>
                      <a:pt x="1077" y="226"/>
                    </a:lnTo>
                    <a:lnTo>
                      <a:pt x="1076" y="229"/>
                    </a:lnTo>
                    <a:lnTo>
                      <a:pt x="1076" y="231"/>
                    </a:lnTo>
                    <a:lnTo>
                      <a:pt x="1077" y="233"/>
                    </a:lnTo>
                    <a:lnTo>
                      <a:pt x="1078" y="235"/>
                    </a:lnTo>
                    <a:lnTo>
                      <a:pt x="1080" y="236"/>
                    </a:lnTo>
                    <a:lnTo>
                      <a:pt x="1082" y="236"/>
                    </a:lnTo>
                    <a:lnTo>
                      <a:pt x="1086" y="236"/>
                    </a:lnTo>
                    <a:lnTo>
                      <a:pt x="1087" y="235"/>
                    </a:lnTo>
                    <a:lnTo>
                      <a:pt x="1089" y="233"/>
                    </a:lnTo>
                    <a:lnTo>
                      <a:pt x="1089" y="231"/>
                    </a:lnTo>
                    <a:lnTo>
                      <a:pt x="1089" y="229"/>
                    </a:lnTo>
                    <a:lnTo>
                      <a:pt x="1089" y="226"/>
                    </a:lnTo>
                    <a:lnTo>
                      <a:pt x="1087" y="224"/>
                    </a:lnTo>
                    <a:lnTo>
                      <a:pt x="1086" y="223"/>
                    </a:lnTo>
                    <a:lnTo>
                      <a:pt x="1082" y="222"/>
                    </a:lnTo>
                    <a:close/>
                    <a:moveTo>
                      <a:pt x="992" y="222"/>
                    </a:moveTo>
                    <a:lnTo>
                      <a:pt x="990" y="223"/>
                    </a:lnTo>
                    <a:lnTo>
                      <a:pt x="988" y="224"/>
                    </a:lnTo>
                    <a:lnTo>
                      <a:pt x="987" y="226"/>
                    </a:lnTo>
                    <a:lnTo>
                      <a:pt x="986" y="229"/>
                    </a:lnTo>
                    <a:lnTo>
                      <a:pt x="986" y="231"/>
                    </a:lnTo>
                    <a:lnTo>
                      <a:pt x="987" y="233"/>
                    </a:lnTo>
                    <a:lnTo>
                      <a:pt x="988" y="235"/>
                    </a:lnTo>
                    <a:lnTo>
                      <a:pt x="990" y="236"/>
                    </a:lnTo>
                    <a:lnTo>
                      <a:pt x="992" y="236"/>
                    </a:lnTo>
                    <a:lnTo>
                      <a:pt x="995" y="236"/>
                    </a:lnTo>
                    <a:lnTo>
                      <a:pt x="996" y="235"/>
                    </a:lnTo>
                    <a:lnTo>
                      <a:pt x="997" y="234"/>
                    </a:lnTo>
                    <a:lnTo>
                      <a:pt x="998" y="232"/>
                    </a:lnTo>
                    <a:lnTo>
                      <a:pt x="998" y="231"/>
                    </a:lnTo>
                    <a:lnTo>
                      <a:pt x="998" y="229"/>
                    </a:lnTo>
                    <a:lnTo>
                      <a:pt x="998" y="226"/>
                    </a:lnTo>
                    <a:lnTo>
                      <a:pt x="997" y="225"/>
                    </a:lnTo>
                    <a:lnTo>
                      <a:pt x="996" y="223"/>
                    </a:lnTo>
                    <a:lnTo>
                      <a:pt x="995" y="223"/>
                    </a:lnTo>
                    <a:lnTo>
                      <a:pt x="992" y="222"/>
                    </a:lnTo>
                    <a:close/>
                    <a:moveTo>
                      <a:pt x="904" y="222"/>
                    </a:moveTo>
                    <a:lnTo>
                      <a:pt x="902" y="223"/>
                    </a:lnTo>
                    <a:lnTo>
                      <a:pt x="900" y="224"/>
                    </a:lnTo>
                    <a:lnTo>
                      <a:pt x="897" y="226"/>
                    </a:lnTo>
                    <a:lnTo>
                      <a:pt x="897" y="229"/>
                    </a:lnTo>
                    <a:lnTo>
                      <a:pt x="897" y="231"/>
                    </a:lnTo>
                    <a:lnTo>
                      <a:pt x="897" y="233"/>
                    </a:lnTo>
                    <a:lnTo>
                      <a:pt x="900" y="235"/>
                    </a:lnTo>
                    <a:lnTo>
                      <a:pt x="902" y="236"/>
                    </a:lnTo>
                    <a:lnTo>
                      <a:pt x="904" y="236"/>
                    </a:lnTo>
                    <a:lnTo>
                      <a:pt x="906" y="236"/>
                    </a:lnTo>
                    <a:lnTo>
                      <a:pt x="908" y="235"/>
                    </a:lnTo>
                    <a:lnTo>
                      <a:pt x="909" y="233"/>
                    </a:lnTo>
                    <a:lnTo>
                      <a:pt x="910" y="231"/>
                    </a:lnTo>
                    <a:lnTo>
                      <a:pt x="910" y="229"/>
                    </a:lnTo>
                    <a:lnTo>
                      <a:pt x="909" y="226"/>
                    </a:lnTo>
                    <a:lnTo>
                      <a:pt x="908" y="224"/>
                    </a:lnTo>
                    <a:lnTo>
                      <a:pt x="906" y="223"/>
                    </a:lnTo>
                    <a:lnTo>
                      <a:pt x="904" y="222"/>
                    </a:lnTo>
                    <a:close/>
                    <a:moveTo>
                      <a:pt x="813" y="222"/>
                    </a:moveTo>
                    <a:lnTo>
                      <a:pt x="811" y="223"/>
                    </a:lnTo>
                    <a:lnTo>
                      <a:pt x="809" y="224"/>
                    </a:lnTo>
                    <a:lnTo>
                      <a:pt x="807" y="226"/>
                    </a:lnTo>
                    <a:lnTo>
                      <a:pt x="807" y="229"/>
                    </a:lnTo>
                    <a:lnTo>
                      <a:pt x="807" y="231"/>
                    </a:lnTo>
                    <a:lnTo>
                      <a:pt x="807" y="233"/>
                    </a:lnTo>
                    <a:lnTo>
                      <a:pt x="809" y="235"/>
                    </a:lnTo>
                    <a:lnTo>
                      <a:pt x="811" y="236"/>
                    </a:lnTo>
                    <a:lnTo>
                      <a:pt x="813" y="236"/>
                    </a:lnTo>
                    <a:lnTo>
                      <a:pt x="816" y="236"/>
                    </a:lnTo>
                    <a:lnTo>
                      <a:pt x="818" y="235"/>
                    </a:lnTo>
                    <a:lnTo>
                      <a:pt x="819" y="233"/>
                    </a:lnTo>
                    <a:lnTo>
                      <a:pt x="820" y="231"/>
                    </a:lnTo>
                    <a:lnTo>
                      <a:pt x="820" y="229"/>
                    </a:lnTo>
                    <a:lnTo>
                      <a:pt x="819" y="226"/>
                    </a:lnTo>
                    <a:lnTo>
                      <a:pt x="818" y="224"/>
                    </a:lnTo>
                    <a:lnTo>
                      <a:pt x="816" y="223"/>
                    </a:lnTo>
                    <a:lnTo>
                      <a:pt x="813" y="222"/>
                    </a:lnTo>
                    <a:close/>
                    <a:moveTo>
                      <a:pt x="724" y="222"/>
                    </a:moveTo>
                    <a:lnTo>
                      <a:pt x="722" y="223"/>
                    </a:lnTo>
                    <a:lnTo>
                      <a:pt x="720" y="223"/>
                    </a:lnTo>
                    <a:lnTo>
                      <a:pt x="719" y="225"/>
                    </a:lnTo>
                    <a:lnTo>
                      <a:pt x="719" y="226"/>
                    </a:lnTo>
                    <a:lnTo>
                      <a:pt x="718" y="229"/>
                    </a:lnTo>
                    <a:lnTo>
                      <a:pt x="718" y="231"/>
                    </a:lnTo>
                    <a:lnTo>
                      <a:pt x="719" y="232"/>
                    </a:lnTo>
                    <a:lnTo>
                      <a:pt x="719" y="234"/>
                    </a:lnTo>
                    <a:lnTo>
                      <a:pt x="720" y="235"/>
                    </a:lnTo>
                    <a:lnTo>
                      <a:pt x="722" y="236"/>
                    </a:lnTo>
                    <a:lnTo>
                      <a:pt x="724" y="236"/>
                    </a:lnTo>
                    <a:lnTo>
                      <a:pt x="726" y="236"/>
                    </a:lnTo>
                    <a:lnTo>
                      <a:pt x="729" y="235"/>
                    </a:lnTo>
                    <a:lnTo>
                      <a:pt x="731" y="233"/>
                    </a:lnTo>
                    <a:lnTo>
                      <a:pt x="731" y="231"/>
                    </a:lnTo>
                    <a:lnTo>
                      <a:pt x="731" y="229"/>
                    </a:lnTo>
                    <a:lnTo>
                      <a:pt x="731" y="226"/>
                    </a:lnTo>
                    <a:lnTo>
                      <a:pt x="729" y="224"/>
                    </a:lnTo>
                    <a:lnTo>
                      <a:pt x="726" y="223"/>
                    </a:lnTo>
                    <a:lnTo>
                      <a:pt x="724" y="222"/>
                    </a:lnTo>
                    <a:close/>
                    <a:moveTo>
                      <a:pt x="634" y="222"/>
                    </a:moveTo>
                    <a:lnTo>
                      <a:pt x="632" y="223"/>
                    </a:lnTo>
                    <a:lnTo>
                      <a:pt x="630" y="224"/>
                    </a:lnTo>
                    <a:lnTo>
                      <a:pt x="629" y="226"/>
                    </a:lnTo>
                    <a:lnTo>
                      <a:pt x="627" y="229"/>
                    </a:lnTo>
                    <a:lnTo>
                      <a:pt x="627" y="231"/>
                    </a:lnTo>
                    <a:lnTo>
                      <a:pt x="629" y="233"/>
                    </a:lnTo>
                    <a:lnTo>
                      <a:pt x="630" y="235"/>
                    </a:lnTo>
                    <a:lnTo>
                      <a:pt x="632" y="236"/>
                    </a:lnTo>
                    <a:lnTo>
                      <a:pt x="634" y="236"/>
                    </a:lnTo>
                    <a:lnTo>
                      <a:pt x="636" y="236"/>
                    </a:lnTo>
                    <a:lnTo>
                      <a:pt x="638" y="235"/>
                    </a:lnTo>
                    <a:lnTo>
                      <a:pt x="640" y="233"/>
                    </a:lnTo>
                    <a:lnTo>
                      <a:pt x="640" y="231"/>
                    </a:lnTo>
                    <a:lnTo>
                      <a:pt x="640" y="229"/>
                    </a:lnTo>
                    <a:lnTo>
                      <a:pt x="640" y="226"/>
                    </a:lnTo>
                    <a:lnTo>
                      <a:pt x="638" y="224"/>
                    </a:lnTo>
                    <a:lnTo>
                      <a:pt x="636" y="223"/>
                    </a:lnTo>
                    <a:lnTo>
                      <a:pt x="634" y="222"/>
                    </a:lnTo>
                    <a:close/>
                    <a:moveTo>
                      <a:pt x="544" y="222"/>
                    </a:moveTo>
                    <a:lnTo>
                      <a:pt x="541" y="223"/>
                    </a:lnTo>
                    <a:lnTo>
                      <a:pt x="539" y="224"/>
                    </a:lnTo>
                    <a:lnTo>
                      <a:pt x="538" y="226"/>
                    </a:lnTo>
                    <a:lnTo>
                      <a:pt x="537" y="229"/>
                    </a:lnTo>
                    <a:lnTo>
                      <a:pt x="537" y="231"/>
                    </a:lnTo>
                    <a:lnTo>
                      <a:pt x="538" y="233"/>
                    </a:lnTo>
                    <a:lnTo>
                      <a:pt x="539" y="235"/>
                    </a:lnTo>
                    <a:lnTo>
                      <a:pt x="541" y="236"/>
                    </a:lnTo>
                    <a:lnTo>
                      <a:pt x="544" y="236"/>
                    </a:lnTo>
                    <a:lnTo>
                      <a:pt x="546" y="236"/>
                    </a:lnTo>
                    <a:lnTo>
                      <a:pt x="548" y="235"/>
                    </a:lnTo>
                    <a:lnTo>
                      <a:pt x="549" y="234"/>
                    </a:lnTo>
                    <a:lnTo>
                      <a:pt x="550" y="232"/>
                    </a:lnTo>
                    <a:lnTo>
                      <a:pt x="550" y="231"/>
                    </a:lnTo>
                    <a:lnTo>
                      <a:pt x="550" y="229"/>
                    </a:lnTo>
                    <a:lnTo>
                      <a:pt x="550" y="226"/>
                    </a:lnTo>
                    <a:lnTo>
                      <a:pt x="549" y="225"/>
                    </a:lnTo>
                    <a:lnTo>
                      <a:pt x="548" y="223"/>
                    </a:lnTo>
                    <a:lnTo>
                      <a:pt x="546" y="223"/>
                    </a:lnTo>
                    <a:lnTo>
                      <a:pt x="544" y="222"/>
                    </a:lnTo>
                    <a:close/>
                    <a:moveTo>
                      <a:pt x="455" y="222"/>
                    </a:moveTo>
                    <a:lnTo>
                      <a:pt x="453" y="223"/>
                    </a:lnTo>
                    <a:lnTo>
                      <a:pt x="451" y="224"/>
                    </a:lnTo>
                    <a:lnTo>
                      <a:pt x="449" y="226"/>
                    </a:lnTo>
                    <a:lnTo>
                      <a:pt x="449" y="229"/>
                    </a:lnTo>
                    <a:lnTo>
                      <a:pt x="449" y="231"/>
                    </a:lnTo>
                    <a:lnTo>
                      <a:pt x="449" y="233"/>
                    </a:lnTo>
                    <a:lnTo>
                      <a:pt x="451" y="235"/>
                    </a:lnTo>
                    <a:lnTo>
                      <a:pt x="453" y="236"/>
                    </a:lnTo>
                    <a:lnTo>
                      <a:pt x="455" y="236"/>
                    </a:lnTo>
                    <a:lnTo>
                      <a:pt x="458" y="236"/>
                    </a:lnTo>
                    <a:lnTo>
                      <a:pt x="460" y="235"/>
                    </a:lnTo>
                    <a:lnTo>
                      <a:pt x="461" y="233"/>
                    </a:lnTo>
                    <a:lnTo>
                      <a:pt x="461" y="231"/>
                    </a:lnTo>
                    <a:lnTo>
                      <a:pt x="461" y="229"/>
                    </a:lnTo>
                    <a:lnTo>
                      <a:pt x="461" y="226"/>
                    </a:lnTo>
                    <a:lnTo>
                      <a:pt x="460" y="224"/>
                    </a:lnTo>
                    <a:lnTo>
                      <a:pt x="458" y="223"/>
                    </a:lnTo>
                    <a:lnTo>
                      <a:pt x="455" y="222"/>
                    </a:lnTo>
                    <a:close/>
                    <a:moveTo>
                      <a:pt x="365" y="222"/>
                    </a:moveTo>
                    <a:lnTo>
                      <a:pt x="363" y="223"/>
                    </a:lnTo>
                    <a:lnTo>
                      <a:pt x="361" y="224"/>
                    </a:lnTo>
                    <a:lnTo>
                      <a:pt x="359" y="226"/>
                    </a:lnTo>
                    <a:lnTo>
                      <a:pt x="359" y="229"/>
                    </a:lnTo>
                    <a:lnTo>
                      <a:pt x="359" y="231"/>
                    </a:lnTo>
                    <a:lnTo>
                      <a:pt x="359" y="233"/>
                    </a:lnTo>
                    <a:lnTo>
                      <a:pt x="361" y="235"/>
                    </a:lnTo>
                    <a:lnTo>
                      <a:pt x="363" y="236"/>
                    </a:lnTo>
                    <a:lnTo>
                      <a:pt x="365" y="236"/>
                    </a:lnTo>
                    <a:lnTo>
                      <a:pt x="367" y="236"/>
                    </a:lnTo>
                    <a:lnTo>
                      <a:pt x="369" y="235"/>
                    </a:lnTo>
                    <a:lnTo>
                      <a:pt x="370" y="233"/>
                    </a:lnTo>
                    <a:lnTo>
                      <a:pt x="370" y="231"/>
                    </a:lnTo>
                    <a:lnTo>
                      <a:pt x="370" y="229"/>
                    </a:lnTo>
                    <a:lnTo>
                      <a:pt x="370" y="226"/>
                    </a:lnTo>
                    <a:lnTo>
                      <a:pt x="369" y="224"/>
                    </a:lnTo>
                    <a:lnTo>
                      <a:pt x="367" y="223"/>
                    </a:lnTo>
                    <a:lnTo>
                      <a:pt x="365" y="222"/>
                    </a:lnTo>
                    <a:close/>
                    <a:moveTo>
                      <a:pt x="276" y="222"/>
                    </a:moveTo>
                    <a:lnTo>
                      <a:pt x="274" y="223"/>
                    </a:lnTo>
                    <a:lnTo>
                      <a:pt x="271" y="223"/>
                    </a:lnTo>
                    <a:lnTo>
                      <a:pt x="270" y="225"/>
                    </a:lnTo>
                    <a:lnTo>
                      <a:pt x="269" y="226"/>
                    </a:lnTo>
                    <a:lnTo>
                      <a:pt x="269" y="229"/>
                    </a:lnTo>
                    <a:lnTo>
                      <a:pt x="269" y="231"/>
                    </a:lnTo>
                    <a:lnTo>
                      <a:pt x="269" y="232"/>
                    </a:lnTo>
                    <a:lnTo>
                      <a:pt x="270" y="234"/>
                    </a:lnTo>
                    <a:lnTo>
                      <a:pt x="271" y="235"/>
                    </a:lnTo>
                    <a:lnTo>
                      <a:pt x="274" y="236"/>
                    </a:lnTo>
                    <a:lnTo>
                      <a:pt x="276" y="236"/>
                    </a:lnTo>
                    <a:lnTo>
                      <a:pt x="278" y="236"/>
                    </a:lnTo>
                    <a:lnTo>
                      <a:pt x="280" y="235"/>
                    </a:lnTo>
                    <a:lnTo>
                      <a:pt x="282" y="233"/>
                    </a:lnTo>
                    <a:lnTo>
                      <a:pt x="282" y="231"/>
                    </a:lnTo>
                    <a:lnTo>
                      <a:pt x="282" y="229"/>
                    </a:lnTo>
                    <a:lnTo>
                      <a:pt x="282" y="226"/>
                    </a:lnTo>
                    <a:lnTo>
                      <a:pt x="280" y="224"/>
                    </a:lnTo>
                    <a:lnTo>
                      <a:pt x="278" y="223"/>
                    </a:lnTo>
                    <a:lnTo>
                      <a:pt x="276" y="222"/>
                    </a:lnTo>
                    <a:close/>
                    <a:moveTo>
                      <a:pt x="185" y="222"/>
                    </a:moveTo>
                    <a:lnTo>
                      <a:pt x="183" y="223"/>
                    </a:lnTo>
                    <a:lnTo>
                      <a:pt x="181" y="224"/>
                    </a:lnTo>
                    <a:lnTo>
                      <a:pt x="180" y="226"/>
                    </a:lnTo>
                    <a:lnTo>
                      <a:pt x="179" y="229"/>
                    </a:lnTo>
                    <a:lnTo>
                      <a:pt x="179" y="231"/>
                    </a:lnTo>
                    <a:lnTo>
                      <a:pt x="180" y="233"/>
                    </a:lnTo>
                    <a:lnTo>
                      <a:pt x="181" y="235"/>
                    </a:lnTo>
                    <a:lnTo>
                      <a:pt x="183" y="236"/>
                    </a:lnTo>
                    <a:lnTo>
                      <a:pt x="185" y="236"/>
                    </a:lnTo>
                    <a:lnTo>
                      <a:pt x="188" y="236"/>
                    </a:lnTo>
                    <a:lnTo>
                      <a:pt x="190" y="235"/>
                    </a:lnTo>
                    <a:lnTo>
                      <a:pt x="192" y="233"/>
                    </a:lnTo>
                    <a:lnTo>
                      <a:pt x="192" y="231"/>
                    </a:lnTo>
                    <a:lnTo>
                      <a:pt x="192" y="229"/>
                    </a:lnTo>
                    <a:lnTo>
                      <a:pt x="192" y="226"/>
                    </a:lnTo>
                    <a:lnTo>
                      <a:pt x="190" y="224"/>
                    </a:lnTo>
                    <a:lnTo>
                      <a:pt x="188" y="223"/>
                    </a:lnTo>
                    <a:lnTo>
                      <a:pt x="185" y="222"/>
                    </a:lnTo>
                    <a:close/>
                    <a:moveTo>
                      <a:pt x="95" y="222"/>
                    </a:moveTo>
                    <a:lnTo>
                      <a:pt x="93" y="223"/>
                    </a:lnTo>
                    <a:lnTo>
                      <a:pt x="91" y="224"/>
                    </a:lnTo>
                    <a:lnTo>
                      <a:pt x="90" y="226"/>
                    </a:lnTo>
                    <a:lnTo>
                      <a:pt x="89" y="229"/>
                    </a:lnTo>
                    <a:lnTo>
                      <a:pt x="89" y="231"/>
                    </a:lnTo>
                    <a:lnTo>
                      <a:pt x="90" y="233"/>
                    </a:lnTo>
                    <a:lnTo>
                      <a:pt x="91" y="235"/>
                    </a:lnTo>
                    <a:lnTo>
                      <a:pt x="93" y="236"/>
                    </a:lnTo>
                    <a:lnTo>
                      <a:pt x="95" y="236"/>
                    </a:lnTo>
                    <a:lnTo>
                      <a:pt x="98" y="236"/>
                    </a:lnTo>
                    <a:lnTo>
                      <a:pt x="100" y="235"/>
                    </a:lnTo>
                    <a:lnTo>
                      <a:pt x="102" y="233"/>
                    </a:lnTo>
                    <a:lnTo>
                      <a:pt x="102" y="231"/>
                    </a:lnTo>
                    <a:lnTo>
                      <a:pt x="102" y="229"/>
                    </a:lnTo>
                    <a:lnTo>
                      <a:pt x="102" y="226"/>
                    </a:lnTo>
                    <a:lnTo>
                      <a:pt x="100" y="225"/>
                    </a:lnTo>
                    <a:lnTo>
                      <a:pt x="99" y="223"/>
                    </a:lnTo>
                    <a:lnTo>
                      <a:pt x="97" y="223"/>
                    </a:lnTo>
                    <a:lnTo>
                      <a:pt x="95" y="222"/>
                    </a:lnTo>
                    <a:close/>
                    <a:moveTo>
                      <a:pt x="7" y="222"/>
                    </a:moveTo>
                    <a:lnTo>
                      <a:pt x="4" y="223"/>
                    </a:lnTo>
                    <a:lnTo>
                      <a:pt x="3" y="223"/>
                    </a:lnTo>
                    <a:lnTo>
                      <a:pt x="0" y="225"/>
                    </a:lnTo>
                    <a:lnTo>
                      <a:pt x="0" y="226"/>
                    </a:lnTo>
                    <a:lnTo>
                      <a:pt x="0" y="229"/>
                    </a:lnTo>
                    <a:lnTo>
                      <a:pt x="0" y="231"/>
                    </a:lnTo>
                    <a:lnTo>
                      <a:pt x="0" y="232"/>
                    </a:lnTo>
                    <a:lnTo>
                      <a:pt x="0" y="234"/>
                    </a:lnTo>
                    <a:lnTo>
                      <a:pt x="3" y="235"/>
                    </a:lnTo>
                    <a:lnTo>
                      <a:pt x="4" y="236"/>
                    </a:lnTo>
                    <a:lnTo>
                      <a:pt x="7" y="236"/>
                    </a:lnTo>
                    <a:lnTo>
                      <a:pt x="9" y="236"/>
                    </a:lnTo>
                    <a:lnTo>
                      <a:pt x="11" y="235"/>
                    </a:lnTo>
                    <a:lnTo>
                      <a:pt x="12" y="233"/>
                    </a:lnTo>
                    <a:lnTo>
                      <a:pt x="13" y="231"/>
                    </a:lnTo>
                    <a:lnTo>
                      <a:pt x="13" y="229"/>
                    </a:lnTo>
                    <a:lnTo>
                      <a:pt x="12" y="226"/>
                    </a:lnTo>
                    <a:lnTo>
                      <a:pt x="11" y="224"/>
                    </a:lnTo>
                    <a:lnTo>
                      <a:pt x="9" y="223"/>
                    </a:lnTo>
                    <a:lnTo>
                      <a:pt x="7" y="222"/>
                    </a:lnTo>
                    <a:close/>
                    <a:moveTo>
                      <a:pt x="1487" y="161"/>
                    </a:moveTo>
                    <a:lnTo>
                      <a:pt x="1485" y="161"/>
                    </a:lnTo>
                    <a:lnTo>
                      <a:pt x="1483" y="162"/>
                    </a:lnTo>
                    <a:lnTo>
                      <a:pt x="1482" y="163"/>
                    </a:lnTo>
                    <a:lnTo>
                      <a:pt x="1481" y="164"/>
                    </a:lnTo>
                    <a:lnTo>
                      <a:pt x="1480" y="167"/>
                    </a:lnTo>
                    <a:lnTo>
                      <a:pt x="1481" y="169"/>
                    </a:lnTo>
                    <a:lnTo>
                      <a:pt x="1482" y="172"/>
                    </a:lnTo>
                    <a:lnTo>
                      <a:pt x="1485" y="173"/>
                    </a:lnTo>
                    <a:lnTo>
                      <a:pt x="1487" y="174"/>
                    </a:lnTo>
                    <a:lnTo>
                      <a:pt x="1489" y="173"/>
                    </a:lnTo>
                    <a:lnTo>
                      <a:pt x="1491" y="172"/>
                    </a:lnTo>
                    <a:lnTo>
                      <a:pt x="1493" y="169"/>
                    </a:lnTo>
                    <a:lnTo>
                      <a:pt x="1493" y="167"/>
                    </a:lnTo>
                    <a:lnTo>
                      <a:pt x="1493" y="164"/>
                    </a:lnTo>
                    <a:lnTo>
                      <a:pt x="1492" y="163"/>
                    </a:lnTo>
                    <a:lnTo>
                      <a:pt x="1491" y="162"/>
                    </a:lnTo>
                    <a:lnTo>
                      <a:pt x="1489" y="161"/>
                    </a:lnTo>
                    <a:lnTo>
                      <a:pt x="1487" y="161"/>
                    </a:lnTo>
                    <a:close/>
                    <a:moveTo>
                      <a:pt x="1396" y="161"/>
                    </a:moveTo>
                    <a:lnTo>
                      <a:pt x="1394" y="161"/>
                    </a:lnTo>
                    <a:lnTo>
                      <a:pt x="1393" y="162"/>
                    </a:lnTo>
                    <a:lnTo>
                      <a:pt x="1392" y="163"/>
                    </a:lnTo>
                    <a:lnTo>
                      <a:pt x="1391" y="164"/>
                    </a:lnTo>
                    <a:lnTo>
                      <a:pt x="1390" y="167"/>
                    </a:lnTo>
                    <a:lnTo>
                      <a:pt x="1391" y="169"/>
                    </a:lnTo>
                    <a:lnTo>
                      <a:pt x="1392" y="172"/>
                    </a:lnTo>
                    <a:lnTo>
                      <a:pt x="1394" y="173"/>
                    </a:lnTo>
                    <a:lnTo>
                      <a:pt x="1396" y="174"/>
                    </a:lnTo>
                    <a:lnTo>
                      <a:pt x="1399" y="173"/>
                    </a:lnTo>
                    <a:lnTo>
                      <a:pt x="1401" y="172"/>
                    </a:lnTo>
                    <a:lnTo>
                      <a:pt x="1403" y="169"/>
                    </a:lnTo>
                    <a:lnTo>
                      <a:pt x="1403" y="167"/>
                    </a:lnTo>
                    <a:lnTo>
                      <a:pt x="1403" y="164"/>
                    </a:lnTo>
                    <a:lnTo>
                      <a:pt x="1402" y="163"/>
                    </a:lnTo>
                    <a:lnTo>
                      <a:pt x="1401" y="162"/>
                    </a:lnTo>
                    <a:lnTo>
                      <a:pt x="1399" y="161"/>
                    </a:lnTo>
                    <a:lnTo>
                      <a:pt x="1396" y="161"/>
                    </a:lnTo>
                    <a:close/>
                    <a:moveTo>
                      <a:pt x="1308" y="161"/>
                    </a:moveTo>
                    <a:lnTo>
                      <a:pt x="1305" y="161"/>
                    </a:lnTo>
                    <a:lnTo>
                      <a:pt x="1303" y="162"/>
                    </a:lnTo>
                    <a:lnTo>
                      <a:pt x="1302" y="164"/>
                    </a:lnTo>
                    <a:lnTo>
                      <a:pt x="1302" y="167"/>
                    </a:lnTo>
                    <a:lnTo>
                      <a:pt x="1302" y="168"/>
                    </a:lnTo>
                    <a:lnTo>
                      <a:pt x="1302" y="170"/>
                    </a:lnTo>
                    <a:lnTo>
                      <a:pt x="1304" y="172"/>
                    </a:lnTo>
                    <a:lnTo>
                      <a:pt x="1305" y="173"/>
                    </a:lnTo>
                    <a:lnTo>
                      <a:pt x="1308" y="174"/>
                    </a:lnTo>
                    <a:lnTo>
                      <a:pt x="1310" y="173"/>
                    </a:lnTo>
                    <a:lnTo>
                      <a:pt x="1312" y="172"/>
                    </a:lnTo>
                    <a:lnTo>
                      <a:pt x="1314" y="169"/>
                    </a:lnTo>
                    <a:lnTo>
                      <a:pt x="1315" y="167"/>
                    </a:lnTo>
                    <a:lnTo>
                      <a:pt x="1314" y="164"/>
                    </a:lnTo>
                    <a:lnTo>
                      <a:pt x="1312" y="163"/>
                    </a:lnTo>
                    <a:lnTo>
                      <a:pt x="1311" y="162"/>
                    </a:lnTo>
                    <a:lnTo>
                      <a:pt x="1310" y="161"/>
                    </a:lnTo>
                    <a:lnTo>
                      <a:pt x="1308" y="161"/>
                    </a:lnTo>
                    <a:close/>
                    <a:moveTo>
                      <a:pt x="1218" y="161"/>
                    </a:moveTo>
                    <a:lnTo>
                      <a:pt x="1216" y="161"/>
                    </a:lnTo>
                    <a:lnTo>
                      <a:pt x="1214" y="162"/>
                    </a:lnTo>
                    <a:lnTo>
                      <a:pt x="1212" y="163"/>
                    </a:lnTo>
                    <a:lnTo>
                      <a:pt x="1211" y="164"/>
                    </a:lnTo>
                    <a:lnTo>
                      <a:pt x="1211" y="167"/>
                    </a:lnTo>
                    <a:lnTo>
                      <a:pt x="1211" y="169"/>
                    </a:lnTo>
                    <a:lnTo>
                      <a:pt x="1214" y="172"/>
                    </a:lnTo>
                    <a:lnTo>
                      <a:pt x="1216" y="173"/>
                    </a:lnTo>
                    <a:lnTo>
                      <a:pt x="1218" y="174"/>
                    </a:lnTo>
                    <a:lnTo>
                      <a:pt x="1220" y="173"/>
                    </a:lnTo>
                    <a:lnTo>
                      <a:pt x="1222" y="172"/>
                    </a:lnTo>
                    <a:lnTo>
                      <a:pt x="1223" y="169"/>
                    </a:lnTo>
                    <a:lnTo>
                      <a:pt x="1224" y="167"/>
                    </a:lnTo>
                    <a:lnTo>
                      <a:pt x="1223" y="164"/>
                    </a:lnTo>
                    <a:lnTo>
                      <a:pt x="1222" y="163"/>
                    </a:lnTo>
                    <a:lnTo>
                      <a:pt x="1221" y="162"/>
                    </a:lnTo>
                    <a:lnTo>
                      <a:pt x="1219" y="161"/>
                    </a:lnTo>
                    <a:lnTo>
                      <a:pt x="1218" y="161"/>
                    </a:lnTo>
                    <a:close/>
                    <a:moveTo>
                      <a:pt x="1128" y="161"/>
                    </a:moveTo>
                    <a:lnTo>
                      <a:pt x="1125" y="161"/>
                    </a:lnTo>
                    <a:lnTo>
                      <a:pt x="1123" y="162"/>
                    </a:lnTo>
                    <a:lnTo>
                      <a:pt x="1122" y="163"/>
                    </a:lnTo>
                    <a:lnTo>
                      <a:pt x="1121" y="164"/>
                    </a:lnTo>
                    <a:lnTo>
                      <a:pt x="1121" y="167"/>
                    </a:lnTo>
                    <a:lnTo>
                      <a:pt x="1121" y="169"/>
                    </a:lnTo>
                    <a:lnTo>
                      <a:pt x="1123" y="172"/>
                    </a:lnTo>
                    <a:lnTo>
                      <a:pt x="1125" y="173"/>
                    </a:lnTo>
                    <a:lnTo>
                      <a:pt x="1128" y="174"/>
                    </a:lnTo>
                    <a:lnTo>
                      <a:pt x="1130" y="173"/>
                    </a:lnTo>
                    <a:lnTo>
                      <a:pt x="1132" y="172"/>
                    </a:lnTo>
                    <a:lnTo>
                      <a:pt x="1133" y="170"/>
                    </a:lnTo>
                    <a:lnTo>
                      <a:pt x="1133" y="168"/>
                    </a:lnTo>
                    <a:lnTo>
                      <a:pt x="1134" y="167"/>
                    </a:lnTo>
                    <a:lnTo>
                      <a:pt x="1133" y="164"/>
                    </a:lnTo>
                    <a:lnTo>
                      <a:pt x="1132" y="162"/>
                    </a:lnTo>
                    <a:lnTo>
                      <a:pt x="1130" y="161"/>
                    </a:lnTo>
                    <a:lnTo>
                      <a:pt x="1128" y="161"/>
                    </a:lnTo>
                    <a:close/>
                    <a:moveTo>
                      <a:pt x="1038" y="161"/>
                    </a:moveTo>
                    <a:lnTo>
                      <a:pt x="1036" y="161"/>
                    </a:lnTo>
                    <a:lnTo>
                      <a:pt x="1035" y="162"/>
                    </a:lnTo>
                    <a:lnTo>
                      <a:pt x="1033" y="163"/>
                    </a:lnTo>
                    <a:lnTo>
                      <a:pt x="1032" y="164"/>
                    </a:lnTo>
                    <a:lnTo>
                      <a:pt x="1032" y="167"/>
                    </a:lnTo>
                    <a:lnTo>
                      <a:pt x="1033" y="169"/>
                    </a:lnTo>
                    <a:lnTo>
                      <a:pt x="1034" y="172"/>
                    </a:lnTo>
                    <a:lnTo>
                      <a:pt x="1036" y="173"/>
                    </a:lnTo>
                    <a:lnTo>
                      <a:pt x="1038" y="174"/>
                    </a:lnTo>
                    <a:lnTo>
                      <a:pt x="1040" y="173"/>
                    </a:lnTo>
                    <a:lnTo>
                      <a:pt x="1043" y="172"/>
                    </a:lnTo>
                    <a:lnTo>
                      <a:pt x="1045" y="169"/>
                    </a:lnTo>
                    <a:lnTo>
                      <a:pt x="1045" y="167"/>
                    </a:lnTo>
                    <a:lnTo>
                      <a:pt x="1045" y="164"/>
                    </a:lnTo>
                    <a:lnTo>
                      <a:pt x="1044" y="163"/>
                    </a:lnTo>
                    <a:lnTo>
                      <a:pt x="1043" y="162"/>
                    </a:lnTo>
                    <a:lnTo>
                      <a:pt x="1040" y="161"/>
                    </a:lnTo>
                    <a:lnTo>
                      <a:pt x="1038" y="161"/>
                    </a:lnTo>
                    <a:close/>
                    <a:moveTo>
                      <a:pt x="948" y="161"/>
                    </a:moveTo>
                    <a:lnTo>
                      <a:pt x="946" y="161"/>
                    </a:lnTo>
                    <a:lnTo>
                      <a:pt x="945" y="162"/>
                    </a:lnTo>
                    <a:lnTo>
                      <a:pt x="943" y="163"/>
                    </a:lnTo>
                    <a:lnTo>
                      <a:pt x="941" y="164"/>
                    </a:lnTo>
                    <a:lnTo>
                      <a:pt x="941" y="167"/>
                    </a:lnTo>
                    <a:lnTo>
                      <a:pt x="943" y="169"/>
                    </a:lnTo>
                    <a:lnTo>
                      <a:pt x="944" y="172"/>
                    </a:lnTo>
                    <a:lnTo>
                      <a:pt x="946" y="173"/>
                    </a:lnTo>
                    <a:lnTo>
                      <a:pt x="948" y="174"/>
                    </a:lnTo>
                    <a:lnTo>
                      <a:pt x="950" y="173"/>
                    </a:lnTo>
                    <a:lnTo>
                      <a:pt x="952" y="172"/>
                    </a:lnTo>
                    <a:lnTo>
                      <a:pt x="953" y="169"/>
                    </a:lnTo>
                    <a:lnTo>
                      <a:pt x="954" y="167"/>
                    </a:lnTo>
                    <a:lnTo>
                      <a:pt x="954" y="164"/>
                    </a:lnTo>
                    <a:lnTo>
                      <a:pt x="953" y="163"/>
                    </a:lnTo>
                    <a:lnTo>
                      <a:pt x="951" y="162"/>
                    </a:lnTo>
                    <a:lnTo>
                      <a:pt x="950" y="161"/>
                    </a:lnTo>
                    <a:lnTo>
                      <a:pt x="948" y="161"/>
                    </a:lnTo>
                    <a:close/>
                    <a:moveTo>
                      <a:pt x="859" y="161"/>
                    </a:moveTo>
                    <a:lnTo>
                      <a:pt x="856" y="161"/>
                    </a:lnTo>
                    <a:lnTo>
                      <a:pt x="854" y="162"/>
                    </a:lnTo>
                    <a:lnTo>
                      <a:pt x="853" y="164"/>
                    </a:lnTo>
                    <a:lnTo>
                      <a:pt x="853" y="167"/>
                    </a:lnTo>
                    <a:lnTo>
                      <a:pt x="853" y="168"/>
                    </a:lnTo>
                    <a:lnTo>
                      <a:pt x="854" y="170"/>
                    </a:lnTo>
                    <a:lnTo>
                      <a:pt x="855" y="172"/>
                    </a:lnTo>
                    <a:lnTo>
                      <a:pt x="856" y="173"/>
                    </a:lnTo>
                    <a:lnTo>
                      <a:pt x="859" y="174"/>
                    </a:lnTo>
                    <a:lnTo>
                      <a:pt x="862" y="173"/>
                    </a:lnTo>
                    <a:lnTo>
                      <a:pt x="864" y="172"/>
                    </a:lnTo>
                    <a:lnTo>
                      <a:pt x="865" y="169"/>
                    </a:lnTo>
                    <a:lnTo>
                      <a:pt x="865" y="167"/>
                    </a:lnTo>
                    <a:lnTo>
                      <a:pt x="865" y="164"/>
                    </a:lnTo>
                    <a:lnTo>
                      <a:pt x="864" y="163"/>
                    </a:lnTo>
                    <a:lnTo>
                      <a:pt x="863" y="162"/>
                    </a:lnTo>
                    <a:lnTo>
                      <a:pt x="861" y="161"/>
                    </a:lnTo>
                    <a:lnTo>
                      <a:pt x="859" y="161"/>
                    </a:lnTo>
                    <a:close/>
                    <a:moveTo>
                      <a:pt x="768" y="161"/>
                    </a:moveTo>
                    <a:lnTo>
                      <a:pt x="767" y="161"/>
                    </a:lnTo>
                    <a:lnTo>
                      <a:pt x="765" y="162"/>
                    </a:lnTo>
                    <a:lnTo>
                      <a:pt x="764" y="163"/>
                    </a:lnTo>
                    <a:lnTo>
                      <a:pt x="763" y="164"/>
                    </a:lnTo>
                    <a:lnTo>
                      <a:pt x="763" y="167"/>
                    </a:lnTo>
                    <a:lnTo>
                      <a:pt x="763" y="169"/>
                    </a:lnTo>
                    <a:lnTo>
                      <a:pt x="765" y="172"/>
                    </a:lnTo>
                    <a:lnTo>
                      <a:pt x="766" y="173"/>
                    </a:lnTo>
                    <a:lnTo>
                      <a:pt x="768" y="174"/>
                    </a:lnTo>
                    <a:lnTo>
                      <a:pt x="772" y="173"/>
                    </a:lnTo>
                    <a:lnTo>
                      <a:pt x="774" y="172"/>
                    </a:lnTo>
                    <a:lnTo>
                      <a:pt x="775" y="169"/>
                    </a:lnTo>
                    <a:lnTo>
                      <a:pt x="775" y="167"/>
                    </a:lnTo>
                    <a:lnTo>
                      <a:pt x="775" y="164"/>
                    </a:lnTo>
                    <a:lnTo>
                      <a:pt x="774" y="163"/>
                    </a:lnTo>
                    <a:lnTo>
                      <a:pt x="773" y="162"/>
                    </a:lnTo>
                    <a:lnTo>
                      <a:pt x="770" y="161"/>
                    </a:lnTo>
                    <a:lnTo>
                      <a:pt x="768" y="161"/>
                    </a:lnTo>
                    <a:close/>
                    <a:moveTo>
                      <a:pt x="678" y="161"/>
                    </a:moveTo>
                    <a:lnTo>
                      <a:pt x="677" y="161"/>
                    </a:lnTo>
                    <a:lnTo>
                      <a:pt x="675" y="162"/>
                    </a:lnTo>
                    <a:lnTo>
                      <a:pt x="674" y="163"/>
                    </a:lnTo>
                    <a:lnTo>
                      <a:pt x="673" y="164"/>
                    </a:lnTo>
                    <a:lnTo>
                      <a:pt x="673" y="167"/>
                    </a:lnTo>
                    <a:lnTo>
                      <a:pt x="673" y="169"/>
                    </a:lnTo>
                    <a:lnTo>
                      <a:pt x="675" y="172"/>
                    </a:lnTo>
                    <a:lnTo>
                      <a:pt x="676" y="173"/>
                    </a:lnTo>
                    <a:lnTo>
                      <a:pt x="678" y="174"/>
                    </a:lnTo>
                    <a:lnTo>
                      <a:pt x="681" y="173"/>
                    </a:lnTo>
                    <a:lnTo>
                      <a:pt x="682" y="172"/>
                    </a:lnTo>
                    <a:lnTo>
                      <a:pt x="684" y="170"/>
                    </a:lnTo>
                    <a:lnTo>
                      <a:pt x="684" y="168"/>
                    </a:lnTo>
                    <a:lnTo>
                      <a:pt x="684" y="167"/>
                    </a:lnTo>
                    <a:lnTo>
                      <a:pt x="684" y="164"/>
                    </a:lnTo>
                    <a:lnTo>
                      <a:pt x="683" y="162"/>
                    </a:lnTo>
                    <a:lnTo>
                      <a:pt x="681" y="161"/>
                    </a:lnTo>
                    <a:lnTo>
                      <a:pt x="678" y="161"/>
                    </a:lnTo>
                    <a:close/>
                    <a:moveTo>
                      <a:pt x="590" y="161"/>
                    </a:moveTo>
                    <a:lnTo>
                      <a:pt x="587" y="161"/>
                    </a:lnTo>
                    <a:lnTo>
                      <a:pt x="584" y="162"/>
                    </a:lnTo>
                    <a:lnTo>
                      <a:pt x="583" y="164"/>
                    </a:lnTo>
                    <a:lnTo>
                      <a:pt x="583" y="167"/>
                    </a:lnTo>
                    <a:lnTo>
                      <a:pt x="583" y="168"/>
                    </a:lnTo>
                    <a:lnTo>
                      <a:pt x="584" y="170"/>
                    </a:lnTo>
                    <a:lnTo>
                      <a:pt x="585" y="172"/>
                    </a:lnTo>
                    <a:lnTo>
                      <a:pt x="588" y="173"/>
                    </a:lnTo>
                    <a:lnTo>
                      <a:pt x="590" y="174"/>
                    </a:lnTo>
                    <a:lnTo>
                      <a:pt x="592" y="173"/>
                    </a:lnTo>
                    <a:lnTo>
                      <a:pt x="594" y="172"/>
                    </a:lnTo>
                    <a:lnTo>
                      <a:pt x="595" y="169"/>
                    </a:lnTo>
                    <a:lnTo>
                      <a:pt x="596" y="167"/>
                    </a:lnTo>
                    <a:lnTo>
                      <a:pt x="595" y="164"/>
                    </a:lnTo>
                    <a:lnTo>
                      <a:pt x="595" y="163"/>
                    </a:lnTo>
                    <a:lnTo>
                      <a:pt x="593" y="162"/>
                    </a:lnTo>
                    <a:lnTo>
                      <a:pt x="592" y="161"/>
                    </a:lnTo>
                    <a:lnTo>
                      <a:pt x="590" y="161"/>
                    </a:lnTo>
                    <a:close/>
                    <a:moveTo>
                      <a:pt x="499" y="161"/>
                    </a:moveTo>
                    <a:lnTo>
                      <a:pt x="497" y="161"/>
                    </a:lnTo>
                    <a:lnTo>
                      <a:pt x="496" y="162"/>
                    </a:lnTo>
                    <a:lnTo>
                      <a:pt x="494" y="163"/>
                    </a:lnTo>
                    <a:lnTo>
                      <a:pt x="494" y="164"/>
                    </a:lnTo>
                    <a:lnTo>
                      <a:pt x="493" y="167"/>
                    </a:lnTo>
                    <a:lnTo>
                      <a:pt x="494" y="169"/>
                    </a:lnTo>
                    <a:lnTo>
                      <a:pt x="495" y="172"/>
                    </a:lnTo>
                    <a:lnTo>
                      <a:pt x="497" y="173"/>
                    </a:lnTo>
                    <a:lnTo>
                      <a:pt x="499" y="174"/>
                    </a:lnTo>
                    <a:lnTo>
                      <a:pt x="502" y="173"/>
                    </a:lnTo>
                    <a:lnTo>
                      <a:pt x="504" y="172"/>
                    </a:lnTo>
                    <a:lnTo>
                      <a:pt x="505" y="169"/>
                    </a:lnTo>
                    <a:lnTo>
                      <a:pt x="506" y="167"/>
                    </a:lnTo>
                    <a:lnTo>
                      <a:pt x="505" y="164"/>
                    </a:lnTo>
                    <a:lnTo>
                      <a:pt x="505" y="163"/>
                    </a:lnTo>
                    <a:lnTo>
                      <a:pt x="503" y="162"/>
                    </a:lnTo>
                    <a:lnTo>
                      <a:pt x="502" y="161"/>
                    </a:lnTo>
                    <a:lnTo>
                      <a:pt x="499" y="161"/>
                    </a:lnTo>
                    <a:close/>
                    <a:moveTo>
                      <a:pt x="409" y="161"/>
                    </a:moveTo>
                    <a:lnTo>
                      <a:pt x="407" y="161"/>
                    </a:lnTo>
                    <a:lnTo>
                      <a:pt x="406" y="162"/>
                    </a:lnTo>
                    <a:lnTo>
                      <a:pt x="404" y="163"/>
                    </a:lnTo>
                    <a:lnTo>
                      <a:pt x="403" y="164"/>
                    </a:lnTo>
                    <a:lnTo>
                      <a:pt x="403" y="167"/>
                    </a:lnTo>
                    <a:lnTo>
                      <a:pt x="404" y="169"/>
                    </a:lnTo>
                    <a:lnTo>
                      <a:pt x="405" y="172"/>
                    </a:lnTo>
                    <a:lnTo>
                      <a:pt x="407" y="173"/>
                    </a:lnTo>
                    <a:lnTo>
                      <a:pt x="409" y="174"/>
                    </a:lnTo>
                    <a:lnTo>
                      <a:pt x="411" y="173"/>
                    </a:lnTo>
                    <a:lnTo>
                      <a:pt x="413" y="172"/>
                    </a:lnTo>
                    <a:lnTo>
                      <a:pt x="414" y="170"/>
                    </a:lnTo>
                    <a:lnTo>
                      <a:pt x="416" y="168"/>
                    </a:lnTo>
                    <a:lnTo>
                      <a:pt x="416" y="167"/>
                    </a:lnTo>
                    <a:lnTo>
                      <a:pt x="414" y="164"/>
                    </a:lnTo>
                    <a:lnTo>
                      <a:pt x="413" y="162"/>
                    </a:lnTo>
                    <a:lnTo>
                      <a:pt x="412" y="161"/>
                    </a:lnTo>
                    <a:lnTo>
                      <a:pt x="409" y="161"/>
                    </a:lnTo>
                    <a:close/>
                    <a:moveTo>
                      <a:pt x="320" y="161"/>
                    </a:moveTo>
                    <a:lnTo>
                      <a:pt x="319" y="161"/>
                    </a:lnTo>
                    <a:lnTo>
                      <a:pt x="317" y="162"/>
                    </a:lnTo>
                    <a:lnTo>
                      <a:pt x="316" y="163"/>
                    </a:lnTo>
                    <a:lnTo>
                      <a:pt x="314" y="164"/>
                    </a:lnTo>
                    <a:lnTo>
                      <a:pt x="314" y="167"/>
                    </a:lnTo>
                    <a:lnTo>
                      <a:pt x="314" y="169"/>
                    </a:lnTo>
                    <a:lnTo>
                      <a:pt x="316" y="172"/>
                    </a:lnTo>
                    <a:lnTo>
                      <a:pt x="318" y="173"/>
                    </a:lnTo>
                    <a:lnTo>
                      <a:pt x="320" y="174"/>
                    </a:lnTo>
                    <a:lnTo>
                      <a:pt x="323" y="173"/>
                    </a:lnTo>
                    <a:lnTo>
                      <a:pt x="325" y="172"/>
                    </a:lnTo>
                    <a:lnTo>
                      <a:pt x="326" y="169"/>
                    </a:lnTo>
                    <a:lnTo>
                      <a:pt x="326" y="167"/>
                    </a:lnTo>
                    <a:lnTo>
                      <a:pt x="326" y="164"/>
                    </a:lnTo>
                    <a:lnTo>
                      <a:pt x="325" y="163"/>
                    </a:lnTo>
                    <a:lnTo>
                      <a:pt x="324" y="162"/>
                    </a:lnTo>
                    <a:lnTo>
                      <a:pt x="322" y="161"/>
                    </a:lnTo>
                    <a:lnTo>
                      <a:pt x="320" y="161"/>
                    </a:lnTo>
                    <a:close/>
                    <a:moveTo>
                      <a:pt x="230" y="161"/>
                    </a:moveTo>
                    <a:lnTo>
                      <a:pt x="228" y="161"/>
                    </a:lnTo>
                    <a:lnTo>
                      <a:pt x="226" y="162"/>
                    </a:lnTo>
                    <a:lnTo>
                      <a:pt x="225" y="163"/>
                    </a:lnTo>
                    <a:lnTo>
                      <a:pt x="224" y="164"/>
                    </a:lnTo>
                    <a:lnTo>
                      <a:pt x="224" y="167"/>
                    </a:lnTo>
                    <a:lnTo>
                      <a:pt x="224" y="169"/>
                    </a:lnTo>
                    <a:lnTo>
                      <a:pt x="225" y="172"/>
                    </a:lnTo>
                    <a:lnTo>
                      <a:pt x="227" y="173"/>
                    </a:lnTo>
                    <a:lnTo>
                      <a:pt x="230" y="174"/>
                    </a:lnTo>
                    <a:lnTo>
                      <a:pt x="233" y="173"/>
                    </a:lnTo>
                    <a:lnTo>
                      <a:pt x="235" y="172"/>
                    </a:lnTo>
                    <a:lnTo>
                      <a:pt x="236" y="169"/>
                    </a:lnTo>
                    <a:lnTo>
                      <a:pt x="236" y="167"/>
                    </a:lnTo>
                    <a:lnTo>
                      <a:pt x="236" y="164"/>
                    </a:lnTo>
                    <a:lnTo>
                      <a:pt x="235" y="163"/>
                    </a:lnTo>
                    <a:lnTo>
                      <a:pt x="234" y="162"/>
                    </a:lnTo>
                    <a:lnTo>
                      <a:pt x="232" y="161"/>
                    </a:lnTo>
                    <a:lnTo>
                      <a:pt x="230" y="161"/>
                    </a:lnTo>
                    <a:close/>
                    <a:moveTo>
                      <a:pt x="141" y="161"/>
                    </a:moveTo>
                    <a:lnTo>
                      <a:pt x="138" y="161"/>
                    </a:lnTo>
                    <a:lnTo>
                      <a:pt x="136" y="162"/>
                    </a:lnTo>
                    <a:lnTo>
                      <a:pt x="135" y="164"/>
                    </a:lnTo>
                    <a:lnTo>
                      <a:pt x="135" y="167"/>
                    </a:lnTo>
                    <a:lnTo>
                      <a:pt x="135" y="168"/>
                    </a:lnTo>
                    <a:lnTo>
                      <a:pt x="136" y="170"/>
                    </a:lnTo>
                    <a:lnTo>
                      <a:pt x="137" y="172"/>
                    </a:lnTo>
                    <a:lnTo>
                      <a:pt x="139" y="173"/>
                    </a:lnTo>
                    <a:lnTo>
                      <a:pt x="141" y="174"/>
                    </a:lnTo>
                    <a:lnTo>
                      <a:pt x="143" y="173"/>
                    </a:lnTo>
                    <a:lnTo>
                      <a:pt x="146" y="172"/>
                    </a:lnTo>
                    <a:lnTo>
                      <a:pt x="147" y="169"/>
                    </a:lnTo>
                    <a:lnTo>
                      <a:pt x="148" y="167"/>
                    </a:lnTo>
                    <a:lnTo>
                      <a:pt x="147" y="164"/>
                    </a:lnTo>
                    <a:lnTo>
                      <a:pt x="147" y="163"/>
                    </a:lnTo>
                    <a:lnTo>
                      <a:pt x="145" y="162"/>
                    </a:lnTo>
                    <a:lnTo>
                      <a:pt x="143" y="161"/>
                    </a:lnTo>
                    <a:lnTo>
                      <a:pt x="141" y="161"/>
                    </a:lnTo>
                    <a:close/>
                    <a:moveTo>
                      <a:pt x="51" y="161"/>
                    </a:moveTo>
                    <a:lnTo>
                      <a:pt x="49" y="161"/>
                    </a:lnTo>
                    <a:lnTo>
                      <a:pt x="47" y="162"/>
                    </a:lnTo>
                    <a:lnTo>
                      <a:pt x="46" y="163"/>
                    </a:lnTo>
                    <a:lnTo>
                      <a:pt x="45" y="164"/>
                    </a:lnTo>
                    <a:lnTo>
                      <a:pt x="45" y="167"/>
                    </a:lnTo>
                    <a:lnTo>
                      <a:pt x="45" y="169"/>
                    </a:lnTo>
                    <a:lnTo>
                      <a:pt x="47" y="172"/>
                    </a:lnTo>
                    <a:lnTo>
                      <a:pt x="49" y="173"/>
                    </a:lnTo>
                    <a:lnTo>
                      <a:pt x="51" y="174"/>
                    </a:lnTo>
                    <a:lnTo>
                      <a:pt x="53" y="173"/>
                    </a:lnTo>
                    <a:lnTo>
                      <a:pt x="55" y="172"/>
                    </a:lnTo>
                    <a:lnTo>
                      <a:pt x="56" y="169"/>
                    </a:lnTo>
                    <a:lnTo>
                      <a:pt x="57" y="167"/>
                    </a:lnTo>
                    <a:lnTo>
                      <a:pt x="56" y="164"/>
                    </a:lnTo>
                    <a:lnTo>
                      <a:pt x="56" y="163"/>
                    </a:lnTo>
                    <a:lnTo>
                      <a:pt x="54" y="162"/>
                    </a:lnTo>
                    <a:lnTo>
                      <a:pt x="53" y="161"/>
                    </a:lnTo>
                    <a:lnTo>
                      <a:pt x="51" y="161"/>
                    </a:lnTo>
                    <a:close/>
                    <a:moveTo>
                      <a:pt x="1532" y="65"/>
                    </a:moveTo>
                    <a:lnTo>
                      <a:pt x="1529" y="66"/>
                    </a:lnTo>
                    <a:lnTo>
                      <a:pt x="1527" y="67"/>
                    </a:lnTo>
                    <a:lnTo>
                      <a:pt x="1525" y="69"/>
                    </a:lnTo>
                    <a:lnTo>
                      <a:pt x="1525" y="71"/>
                    </a:lnTo>
                    <a:lnTo>
                      <a:pt x="1525" y="73"/>
                    </a:lnTo>
                    <a:lnTo>
                      <a:pt x="1527" y="76"/>
                    </a:lnTo>
                    <a:lnTo>
                      <a:pt x="1529" y="78"/>
                    </a:lnTo>
                    <a:lnTo>
                      <a:pt x="1532" y="78"/>
                    </a:lnTo>
                    <a:lnTo>
                      <a:pt x="1534" y="78"/>
                    </a:lnTo>
                    <a:lnTo>
                      <a:pt x="1536" y="76"/>
                    </a:lnTo>
                    <a:lnTo>
                      <a:pt x="1537" y="73"/>
                    </a:lnTo>
                    <a:lnTo>
                      <a:pt x="1538" y="71"/>
                    </a:lnTo>
                    <a:lnTo>
                      <a:pt x="1537" y="69"/>
                    </a:lnTo>
                    <a:lnTo>
                      <a:pt x="1536" y="67"/>
                    </a:lnTo>
                    <a:lnTo>
                      <a:pt x="1534" y="66"/>
                    </a:lnTo>
                    <a:lnTo>
                      <a:pt x="1532" y="65"/>
                    </a:lnTo>
                    <a:close/>
                    <a:moveTo>
                      <a:pt x="1443" y="65"/>
                    </a:moveTo>
                    <a:lnTo>
                      <a:pt x="1440" y="66"/>
                    </a:lnTo>
                    <a:lnTo>
                      <a:pt x="1438" y="66"/>
                    </a:lnTo>
                    <a:lnTo>
                      <a:pt x="1437" y="68"/>
                    </a:lnTo>
                    <a:lnTo>
                      <a:pt x="1436" y="69"/>
                    </a:lnTo>
                    <a:lnTo>
                      <a:pt x="1436" y="71"/>
                    </a:lnTo>
                    <a:lnTo>
                      <a:pt x="1436" y="73"/>
                    </a:lnTo>
                    <a:lnTo>
                      <a:pt x="1437" y="75"/>
                    </a:lnTo>
                    <a:lnTo>
                      <a:pt x="1438" y="77"/>
                    </a:lnTo>
                    <a:lnTo>
                      <a:pt x="1440" y="78"/>
                    </a:lnTo>
                    <a:lnTo>
                      <a:pt x="1443" y="78"/>
                    </a:lnTo>
                    <a:lnTo>
                      <a:pt x="1445" y="78"/>
                    </a:lnTo>
                    <a:lnTo>
                      <a:pt x="1447" y="76"/>
                    </a:lnTo>
                    <a:lnTo>
                      <a:pt x="1448" y="73"/>
                    </a:lnTo>
                    <a:lnTo>
                      <a:pt x="1449" y="71"/>
                    </a:lnTo>
                    <a:lnTo>
                      <a:pt x="1448" y="69"/>
                    </a:lnTo>
                    <a:lnTo>
                      <a:pt x="1447" y="67"/>
                    </a:lnTo>
                    <a:lnTo>
                      <a:pt x="1445" y="66"/>
                    </a:lnTo>
                    <a:lnTo>
                      <a:pt x="1443" y="65"/>
                    </a:lnTo>
                    <a:close/>
                    <a:moveTo>
                      <a:pt x="1352" y="65"/>
                    </a:moveTo>
                    <a:lnTo>
                      <a:pt x="1350" y="66"/>
                    </a:lnTo>
                    <a:lnTo>
                      <a:pt x="1348" y="67"/>
                    </a:lnTo>
                    <a:lnTo>
                      <a:pt x="1347" y="69"/>
                    </a:lnTo>
                    <a:lnTo>
                      <a:pt x="1346" y="71"/>
                    </a:lnTo>
                    <a:lnTo>
                      <a:pt x="1347" y="73"/>
                    </a:lnTo>
                    <a:lnTo>
                      <a:pt x="1348" y="76"/>
                    </a:lnTo>
                    <a:lnTo>
                      <a:pt x="1350" y="78"/>
                    </a:lnTo>
                    <a:lnTo>
                      <a:pt x="1352" y="78"/>
                    </a:lnTo>
                    <a:lnTo>
                      <a:pt x="1354" y="78"/>
                    </a:lnTo>
                    <a:lnTo>
                      <a:pt x="1357" y="76"/>
                    </a:lnTo>
                    <a:lnTo>
                      <a:pt x="1358" y="73"/>
                    </a:lnTo>
                    <a:lnTo>
                      <a:pt x="1359" y="71"/>
                    </a:lnTo>
                    <a:lnTo>
                      <a:pt x="1358" y="69"/>
                    </a:lnTo>
                    <a:lnTo>
                      <a:pt x="1357" y="67"/>
                    </a:lnTo>
                    <a:lnTo>
                      <a:pt x="1354" y="66"/>
                    </a:lnTo>
                    <a:lnTo>
                      <a:pt x="1352" y="65"/>
                    </a:lnTo>
                    <a:close/>
                    <a:moveTo>
                      <a:pt x="1262" y="65"/>
                    </a:moveTo>
                    <a:lnTo>
                      <a:pt x="1260" y="66"/>
                    </a:lnTo>
                    <a:lnTo>
                      <a:pt x="1258" y="67"/>
                    </a:lnTo>
                    <a:lnTo>
                      <a:pt x="1257" y="69"/>
                    </a:lnTo>
                    <a:lnTo>
                      <a:pt x="1255" y="71"/>
                    </a:lnTo>
                    <a:lnTo>
                      <a:pt x="1257" y="73"/>
                    </a:lnTo>
                    <a:lnTo>
                      <a:pt x="1258" y="76"/>
                    </a:lnTo>
                    <a:lnTo>
                      <a:pt x="1260" y="78"/>
                    </a:lnTo>
                    <a:lnTo>
                      <a:pt x="1262" y="78"/>
                    </a:lnTo>
                    <a:lnTo>
                      <a:pt x="1264" y="78"/>
                    </a:lnTo>
                    <a:lnTo>
                      <a:pt x="1266" y="76"/>
                    </a:lnTo>
                    <a:lnTo>
                      <a:pt x="1267" y="73"/>
                    </a:lnTo>
                    <a:lnTo>
                      <a:pt x="1268" y="71"/>
                    </a:lnTo>
                    <a:lnTo>
                      <a:pt x="1267" y="69"/>
                    </a:lnTo>
                    <a:lnTo>
                      <a:pt x="1266" y="67"/>
                    </a:lnTo>
                    <a:lnTo>
                      <a:pt x="1264" y="66"/>
                    </a:lnTo>
                    <a:lnTo>
                      <a:pt x="1262" y="65"/>
                    </a:lnTo>
                    <a:close/>
                    <a:moveTo>
                      <a:pt x="1173" y="65"/>
                    </a:moveTo>
                    <a:lnTo>
                      <a:pt x="1171" y="66"/>
                    </a:lnTo>
                    <a:lnTo>
                      <a:pt x="1168" y="66"/>
                    </a:lnTo>
                    <a:lnTo>
                      <a:pt x="1167" y="68"/>
                    </a:lnTo>
                    <a:lnTo>
                      <a:pt x="1167" y="69"/>
                    </a:lnTo>
                    <a:lnTo>
                      <a:pt x="1166" y="71"/>
                    </a:lnTo>
                    <a:lnTo>
                      <a:pt x="1167" y="73"/>
                    </a:lnTo>
                    <a:lnTo>
                      <a:pt x="1167" y="75"/>
                    </a:lnTo>
                    <a:lnTo>
                      <a:pt x="1168" y="77"/>
                    </a:lnTo>
                    <a:lnTo>
                      <a:pt x="1171" y="78"/>
                    </a:lnTo>
                    <a:lnTo>
                      <a:pt x="1173" y="78"/>
                    </a:lnTo>
                    <a:lnTo>
                      <a:pt x="1176" y="78"/>
                    </a:lnTo>
                    <a:lnTo>
                      <a:pt x="1178" y="76"/>
                    </a:lnTo>
                    <a:lnTo>
                      <a:pt x="1179" y="73"/>
                    </a:lnTo>
                    <a:lnTo>
                      <a:pt x="1179" y="71"/>
                    </a:lnTo>
                    <a:lnTo>
                      <a:pt x="1179" y="69"/>
                    </a:lnTo>
                    <a:lnTo>
                      <a:pt x="1178" y="67"/>
                    </a:lnTo>
                    <a:lnTo>
                      <a:pt x="1176" y="66"/>
                    </a:lnTo>
                    <a:lnTo>
                      <a:pt x="1173" y="65"/>
                    </a:lnTo>
                    <a:close/>
                    <a:moveTo>
                      <a:pt x="1082" y="65"/>
                    </a:moveTo>
                    <a:lnTo>
                      <a:pt x="1080" y="66"/>
                    </a:lnTo>
                    <a:lnTo>
                      <a:pt x="1078" y="67"/>
                    </a:lnTo>
                    <a:lnTo>
                      <a:pt x="1077" y="69"/>
                    </a:lnTo>
                    <a:lnTo>
                      <a:pt x="1076" y="71"/>
                    </a:lnTo>
                    <a:lnTo>
                      <a:pt x="1077" y="73"/>
                    </a:lnTo>
                    <a:lnTo>
                      <a:pt x="1078" y="76"/>
                    </a:lnTo>
                    <a:lnTo>
                      <a:pt x="1080" y="78"/>
                    </a:lnTo>
                    <a:lnTo>
                      <a:pt x="1082" y="78"/>
                    </a:lnTo>
                    <a:lnTo>
                      <a:pt x="1086" y="78"/>
                    </a:lnTo>
                    <a:lnTo>
                      <a:pt x="1087" y="76"/>
                    </a:lnTo>
                    <a:lnTo>
                      <a:pt x="1089" y="73"/>
                    </a:lnTo>
                    <a:lnTo>
                      <a:pt x="1089" y="71"/>
                    </a:lnTo>
                    <a:lnTo>
                      <a:pt x="1089" y="69"/>
                    </a:lnTo>
                    <a:lnTo>
                      <a:pt x="1087" y="67"/>
                    </a:lnTo>
                    <a:lnTo>
                      <a:pt x="1086" y="66"/>
                    </a:lnTo>
                    <a:lnTo>
                      <a:pt x="1082" y="65"/>
                    </a:lnTo>
                    <a:close/>
                    <a:moveTo>
                      <a:pt x="992" y="65"/>
                    </a:moveTo>
                    <a:lnTo>
                      <a:pt x="990" y="66"/>
                    </a:lnTo>
                    <a:lnTo>
                      <a:pt x="988" y="67"/>
                    </a:lnTo>
                    <a:lnTo>
                      <a:pt x="987" y="69"/>
                    </a:lnTo>
                    <a:lnTo>
                      <a:pt x="986" y="71"/>
                    </a:lnTo>
                    <a:lnTo>
                      <a:pt x="987" y="73"/>
                    </a:lnTo>
                    <a:lnTo>
                      <a:pt x="988" y="76"/>
                    </a:lnTo>
                    <a:lnTo>
                      <a:pt x="990" y="78"/>
                    </a:lnTo>
                    <a:lnTo>
                      <a:pt x="992" y="78"/>
                    </a:lnTo>
                    <a:lnTo>
                      <a:pt x="995" y="78"/>
                    </a:lnTo>
                    <a:lnTo>
                      <a:pt x="996" y="77"/>
                    </a:lnTo>
                    <a:lnTo>
                      <a:pt x="997" y="75"/>
                    </a:lnTo>
                    <a:lnTo>
                      <a:pt x="998" y="73"/>
                    </a:lnTo>
                    <a:lnTo>
                      <a:pt x="998" y="71"/>
                    </a:lnTo>
                    <a:lnTo>
                      <a:pt x="998" y="69"/>
                    </a:lnTo>
                    <a:lnTo>
                      <a:pt x="997" y="68"/>
                    </a:lnTo>
                    <a:lnTo>
                      <a:pt x="996" y="66"/>
                    </a:lnTo>
                    <a:lnTo>
                      <a:pt x="995" y="66"/>
                    </a:lnTo>
                    <a:lnTo>
                      <a:pt x="992" y="65"/>
                    </a:lnTo>
                    <a:close/>
                    <a:moveTo>
                      <a:pt x="904" y="65"/>
                    </a:moveTo>
                    <a:lnTo>
                      <a:pt x="902" y="66"/>
                    </a:lnTo>
                    <a:lnTo>
                      <a:pt x="900" y="67"/>
                    </a:lnTo>
                    <a:lnTo>
                      <a:pt x="897" y="69"/>
                    </a:lnTo>
                    <a:lnTo>
                      <a:pt x="897" y="71"/>
                    </a:lnTo>
                    <a:lnTo>
                      <a:pt x="897" y="73"/>
                    </a:lnTo>
                    <a:lnTo>
                      <a:pt x="900" y="76"/>
                    </a:lnTo>
                    <a:lnTo>
                      <a:pt x="902" y="78"/>
                    </a:lnTo>
                    <a:lnTo>
                      <a:pt x="904" y="78"/>
                    </a:lnTo>
                    <a:lnTo>
                      <a:pt x="906" y="78"/>
                    </a:lnTo>
                    <a:lnTo>
                      <a:pt x="908" y="76"/>
                    </a:lnTo>
                    <a:lnTo>
                      <a:pt x="909" y="73"/>
                    </a:lnTo>
                    <a:lnTo>
                      <a:pt x="910" y="71"/>
                    </a:lnTo>
                    <a:lnTo>
                      <a:pt x="909" y="69"/>
                    </a:lnTo>
                    <a:lnTo>
                      <a:pt x="908" y="67"/>
                    </a:lnTo>
                    <a:lnTo>
                      <a:pt x="906" y="66"/>
                    </a:lnTo>
                    <a:lnTo>
                      <a:pt x="904" y="65"/>
                    </a:lnTo>
                    <a:close/>
                    <a:moveTo>
                      <a:pt x="813" y="65"/>
                    </a:moveTo>
                    <a:lnTo>
                      <a:pt x="811" y="66"/>
                    </a:lnTo>
                    <a:lnTo>
                      <a:pt x="809" y="67"/>
                    </a:lnTo>
                    <a:lnTo>
                      <a:pt x="807" y="69"/>
                    </a:lnTo>
                    <a:lnTo>
                      <a:pt x="807" y="71"/>
                    </a:lnTo>
                    <a:lnTo>
                      <a:pt x="807" y="73"/>
                    </a:lnTo>
                    <a:lnTo>
                      <a:pt x="809" y="76"/>
                    </a:lnTo>
                    <a:lnTo>
                      <a:pt x="811" y="78"/>
                    </a:lnTo>
                    <a:lnTo>
                      <a:pt x="813" y="78"/>
                    </a:lnTo>
                    <a:lnTo>
                      <a:pt x="816" y="78"/>
                    </a:lnTo>
                    <a:lnTo>
                      <a:pt x="818" y="76"/>
                    </a:lnTo>
                    <a:lnTo>
                      <a:pt x="819" y="73"/>
                    </a:lnTo>
                    <a:lnTo>
                      <a:pt x="820" y="71"/>
                    </a:lnTo>
                    <a:lnTo>
                      <a:pt x="819" y="69"/>
                    </a:lnTo>
                    <a:lnTo>
                      <a:pt x="818" y="67"/>
                    </a:lnTo>
                    <a:lnTo>
                      <a:pt x="816" y="66"/>
                    </a:lnTo>
                    <a:lnTo>
                      <a:pt x="813" y="65"/>
                    </a:lnTo>
                    <a:close/>
                    <a:moveTo>
                      <a:pt x="724" y="65"/>
                    </a:moveTo>
                    <a:lnTo>
                      <a:pt x="722" y="66"/>
                    </a:lnTo>
                    <a:lnTo>
                      <a:pt x="720" y="66"/>
                    </a:lnTo>
                    <a:lnTo>
                      <a:pt x="719" y="68"/>
                    </a:lnTo>
                    <a:lnTo>
                      <a:pt x="719" y="69"/>
                    </a:lnTo>
                    <a:lnTo>
                      <a:pt x="718" y="71"/>
                    </a:lnTo>
                    <a:lnTo>
                      <a:pt x="719" y="73"/>
                    </a:lnTo>
                    <a:lnTo>
                      <a:pt x="719" y="75"/>
                    </a:lnTo>
                    <a:lnTo>
                      <a:pt x="720" y="77"/>
                    </a:lnTo>
                    <a:lnTo>
                      <a:pt x="722" y="78"/>
                    </a:lnTo>
                    <a:lnTo>
                      <a:pt x="724" y="78"/>
                    </a:lnTo>
                    <a:lnTo>
                      <a:pt x="726" y="78"/>
                    </a:lnTo>
                    <a:lnTo>
                      <a:pt x="729" y="76"/>
                    </a:lnTo>
                    <a:lnTo>
                      <a:pt x="731" y="73"/>
                    </a:lnTo>
                    <a:lnTo>
                      <a:pt x="731" y="71"/>
                    </a:lnTo>
                    <a:lnTo>
                      <a:pt x="731" y="69"/>
                    </a:lnTo>
                    <a:lnTo>
                      <a:pt x="729" y="67"/>
                    </a:lnTo>
                    <a:lnTo>
                      <a:pt x="726" y="66"/>
                    </a:lnTo>
                    <a:lnTo>
                      <a:pt x="724" y="65"/>
                    </a:lnTo>
                    <a:close/>
                    <a:moveTo>
                      <a:pt x="634" y="65"/>
                    </a:moveTo>
                    <a:lnTo>
                      <a:pt x="632" y="66"/>
                    </a:lnTo>
                    <a:lnTo>
                      <a:pt x="630" y="67"/>
                    </a:lnTo>
                    <a:lnTo>
                      <a:pt x="629" y="69"/>
                    </a:lnTo>
                    <a:lnTo>
                      <a:pt x="627" y="71"/>
                    </a:lnTo>
                    <a:lnTo>
                      <a:pt x="629" y="73"/>
                    </a:lnTo>
                    <a:lnTo>
                      <a:pt x="630" y="76"/>
                    </a:lnTo>
                    <a:lnTo>
                      <a:pt x="632" y="78"/>
                    </a:lnTo>
                    <a:lnTo>
                      <a:pt x="634" y="78"/>
                    </a:lnTo>
                    <a:lnTo>
                      <a:pt x="636" y="78"/>
                    </a:lnTo>
                    <a:lnTo>
                      <a:pt x="638" y="76"/>
                    </a:lnTo>
                    <a:lnTo>
                      <a:pt x="640" y="73"/>
                    </a:lnTo>
                    <a:lnTo>
                      <a:pt x="640" y="71"/>
                    </a:lnTo>
                    <a:lnTo>
                      <a:pt x="640" y="69"/>
                    </a:lnTo>
                    <a:lnTo>
                      <a:pt x="638" y="67"/>
                    </a:lnTo>
                    <a:lnTo>
                      <a:pt x="636" y="66"/>
                    </a:lnTo>
                    <a:lnTo>
                      <a:pt x="634" y="65"/>
                    </a:lnTo>
                    <a:close/>
                    <a:moveTo>
                      <a:pt x="544" y="65"/>
                    </a:moveTo>
                    <a:lnTo>
                      <a:pt x="541" y="66"/>
                    </a:lnTo>
                    <a:lnTo>
                      <a:pt x="539" y="67"/>
                    </a:lnTo>
                    <a:lnTo>
                      <a:pt x="538" y="69"/>
                    </a:lnTo>
                    <a:lnTo>
                      <a:pt x="537" y="71"/>
                    </a:lnTo>
                    <a:lnTo>
                      <a:pt x="538" y="73"/>
                    </a:lnTo>
                    <a:lnTo>
                      <a:pt x="539" y="76"/>
                    </a:lnTo>
                    <a:lnTo>
                      <a:pt x="541" y="78"/>
                    </a:lnTo>
                    <a:lnTo>
                      <a:pt x="544" y="78"/>
                    </a:lnTo>
                    <a:lnTo>
                      <a:pt x="546" y="78"/>
                    </a:lnTo>
                    <a:lnTo>
                      <a:pt x="548" y="77"/>
                    </a:lnTo>
                    <a:lnTo>
                      <a:pt x="549" y="75"/>
                    </a:lnTo>
                    <a:lnTo>
                      <a:pt x="550" y="73"/>
                    </a:lnTo>
                    <a:lnTo>
                      <a:pt x="550" y="71"/>
                    </a:lnTo>
                    <a:lnTo>
                      <a:pt x="550" y="69"/>
                    </a:lnTo>
                    <a:lnTo>
                      <a:pt x="549" y="68"/>
                    </a:lnTo>
                    <a:lnTo>
                      <a:pt x="548" y="66"/>
                    </a:lnTo>
                    <a:lnTo>
                      <a:pt x="546" y="66"/>
                    </a:lnTo>
                    <a:lnTo>
                      <a:pt x="544" y="65"/>
                    </a:lnTo>
                    <a:close/>
                    <a:moveTo>
                      <a:pt x="455" y="65"/>
                    </a:moveTo>
                    <a:lnTo>
                      <a:pt x="453" y="66"/>
                    </a:lnTo>
                    <a:lnTo>
                      <a:pt x="451" y="67"/>
                    </a:lnTo>
                    <a:lnTo>
                      <a:pt x="449" y="69"/>
                    </a:lnTo>
                    <a:lnTo>
                      <a:pt x="449" y="71"/>
                    </a:lnTo>
                    <a:lnTo>
                      <a:pt x="449" y="73"/>
                    </a:lnTo>
                    <a:lnTo>
                      <a:pt x="451" y="76"/>
                    </a:lnTo>
                    <a:lnTo>
                      <a:pt x="453" y="78"/>
                    </a:lnTo>
                    <a:lnTo>
                      <a:pt x="455" y="78"/>
                    </a:lnTo>
                    <a:lnTo>
                      <a:pt x="458" y="78"/>
                    </a:lnTo>
                    <a:lnTo>
                      <a:pt x="460" y="76"/>
                    </a:lnTo>
                    <a:lnTo>
                      <a:pt x="461" y="73"/>
                    </a:lnTo>
                    <a:lnTo>
                      <a:pt x="461" y="71"/>
                    </a:lnTo>
                    <a:lnTo>
                      <a:pt x="461" y="69"/>
                    </a:lnTo>
                    <a:lnTo>
                      <a:pt x="460" y="67"/>
                    </a:lnTo>
                    <a:lnTo>
                      <a:pt x="458" y="66"/>
                    </a:lnTo>
                    <a:lnTo>
                      <a:pt x="455" y="65"/>
                    </a:lnTo>
                    <a:close/>
                    <a:moveTo>
                      <a:pt x="365" y="65"/>
                    </a:moveTo>
                    <a:lnTo>
                      <a:pt x="363" y="66"/>
                    </a:lnTo>
                    <a:lnTo>
                      <a:pt x="361" y="67"/>
                    </a:lnTo>
                    <a:lnTo>
                      <a:pt x="359" y="69"/>
                    </a:lnTo>
                    <a:lnTo>
                      <a:pt x="359" y="71"/>
                    </a:lnTo>
                    <a:lnTo>
                      <a:pt x="359" y="73"/>
                    </a:lnTo>
                    <a:lnTo>
                      <a:pt x="361" y="76"/>
                    </a:lnTo>
                    <a:lnTo>
                      <a:pt x="363" y="78"/>
                    </a:lnTo>
                    <a:lnTo>
                      <a:pt x="365" y="78"/>
                    </a:lnTo>
                    <a:lnTo>
                      <a:pt x="367" y="78"/>
                    </a:lnTo>
                    <a:lnTo>
                      <a:pt x="369" y="76"/>
                    </a:lnTo>
                    <a:lnTo>
                      <a:pt x="370" y="73"/>
                    </a:lnTo>
                    <a:lnTo>
                      <a:pt x="370" y="71"/>
                    </a:lnTo>
                    <a:lnTo>
                      <a:pt x="370" y="69"/>
                    </a:lnTo>
                    <a:lnTo>
                      <a:pt x="369" y="67"/>
                    </a:lnTo>
                    <a:lnTo>
                      <a:pt x="367" y="66"/>
                    </a:lnTo>
                    <a:lnTo>
                      <a:pt x="365" y="65"/>
                    </a:lnTo>
                    <a:close/>
                    <a:moveTo>
                      <a:pt x="276" y="65"/>
                    </a:moveTo>
                    <a:lnTo>
                      <a:pt x="274" y="66"/>
                    </a:lnTo>
                    <a:lnTo>
                      <a:pt x="271" y="66"/>
                    </a:lnTo>
                    <a:lnTo>
                      <a:pt x="270" y="68"/>
                    </a:lnTo>
                    <a:lnTo>
                      <a:pt x="269" y="69"/>
                    </a:lnTo>
                    <a:lnTo>
                      <a:pt x="269" y="71"/>
                    </a:lnTo>
                    <a:lnTo>
                      <a:pt x="269" y="73"/>
                    </a:lnTo>
                    <a:lnTo>
                      <a:pt x="270" y="75"/>
                    </a:lnTo>
                    <a:lnTo>
                      <a:pt x="271" y="77"/>
                    </a:lnTo>
                    <a:lnTo>
                      <a:pt x="274" y="78"/>
                    </a:lnTo>
                    <a:lnTo>
                      <a:pt x="276" y="78"/>
                    </a:lnTo>
                    <a:lnTo>
                      <a:pt x="278" y="78"/>
                    </a:lnTo>
                    <a:lnTo>
                      <a:pt x="280" y="76"/>
                    </a:lnTo>
                    <a:lnTo>
                      <a:pt x="282" y="73"/>
                    </a:lnTo>
                    <a:lnTo>
                      <a:pt x="282" y="71"/>
                    </a:lnTo>
                    <a:lnTo>
                      <a:pt x="282" y="69"/>
                    </a:lnTo>
                    <a:lnTo>
                      <a:pt x="280" y="67"/>
                    </a:lnTo>
                    <a:lnTo>
                      <a:pt x="278" y="66"/>
                    </a:lnTo>
                    <a:lnTo>
                      <a:pt x="276" y="65"/>
                    </a:lnTo>
                    <a:close/>
                    <a:moveTo>
                      <a:pt x="185" y="65"/>
                    </a:moveTo>
                    <a:lnTo>
                      <a:pt x="183" y="66"/>
                    </a:lnTo>
                    <a:lnTo>
                      <a:pt x="181" y="67"/>
                    </a:lnTo>
                    <a:lnTo>
                      <a:pt x="180" y="69"/>
                    </a:lnTo>
                    <a:lnTo>
                      <a:pt x="179" y="71"/>
                    </a:lnTo>
                    <a:lnTo>
                      <a:pt x="180" y="73"/>
                    </a:lnTo>
                    <a:lnTo>
                      <a:pt x="181" y="76"/>
                    </a:lnTo>
                    <a:lnTo>
                      <a:pt x="183" y="78"/>
                    </a:lnTo>
                    <a:lnTo>
                      <a:pt x="185" y="78"/>
                    </a:lnTo>
                    <a:lnTo>
                      <a:pt x="188" y="78"/>
                    </a:lnTo>
                    <a:lnTo>
                      <a:pt x="190" y="76"/>
                    </a:lnTo>
                    <a:lnTo>
                      <a:pt x="192" y="73"/>
                    </a:lnTo>
                    <a:lnTo>
                      <a:pt x="192" y="71"/>
                    </a:lnTo>
                    <a:lnTo>
                      <a:pt x="192" y="69"/>
                    </a:lnTo>
                    <a:lnTo>
                      <a:pt x="190" y="67"/>
                    </a:lnTo>
                    <a:lnTo>
                      <a:pt x="188" y="66"/>
                    </a:lnTo>
                    <a:lnTo>
                      <a:pt x="185" y="65"/>
                    </a:lnTo>
                    <a:close/>
                    <a:moveTo>
                      <a:pt x="95" y="65"/>
                    </a:moveTo>
                    <a:lnTo>
                      <a:pt x="93" y="66"/>
                    </a:lnTo>
                    <a:lnTo>
                      <a:pt x="91" y="67"/>
                    </a:lnTo>
                    <a:lnTo>
                      <a:pt x="90" y="69"/>
                    </a:lnTo>
                    <a:lnTo>
                      <a:pt x="89" y="71"/>
                    </a:lnTo>
                    <a:lnTo>
                      <a:pt x="90" y="73"/>
                    </a:lnTo>
                    <a:lnTo>
                      <a:pt x="91" y="76"/>
                    </a:lnTo>
                    <a:lnTo>
                      <a:pt x="93" y="78"/>
                    </a:lnTo>
                    <a:lnTo>
                      <a:pt x="95" y="78"/>
                    </a:lnTo>
                    <a:lnTo>
                      <a:pt x="97" y="78"/>
                    </a:lnTo>
                    <a:lnTo>
                      <a:pt x="99" y="77"/>
                    </a:lnTo>
                    <a:lnTo>
                      <a:pt x="100" y="75"/>
                    </a:lnTo>
                    <a:lnTo>
                      <a:pt x="102" y="73"/>
                    </a:lnTo>
                    <a:lnTo>
                      <a:pt x="102" y="71"/>
                    </a:lnTo>
                    <a:lnTo>
                      <a:pt x="102" y="69"/>
                    </a:lnTo>
                    <a:lnTo>
                      <a:pt x="100" y="68"/>
                    </a:lnTo>
                    <a:lnTo>
                      <a:pt x="99" y="66"/>
                    </a:lnTo>
                    <a:lnTo>
                      <a:pt x="97" y="66"/>
                    </a:lnTo>
                    <a:lnTo>
                      <a:pt x="95" y="65"/>
                    </a:lnTo>
                    <a:close/>
                    <a:moveTo>
                      <a:pt x="7" y="65"/>
                    </a:moveTo>
                    <a:lnTo>
                      <a:pt x="4" y="66"/>
                    </a:lnTo>
                    <a:lnTo>
                      <a:pt x="3" y="66"/>
                    </a:lnTo>
                    <a:lnTo>
                      <a:pt x="0" y="68"/>
                    </a:lnTo>
                    <a:lnTo>
                      <a:pt x="0" y="69"/>
                    </a:lnTo>
                    <a:lnTo>
                      <a:pt x="0" y="71"/>
                    </a:lnTo>
                    <a:lnTo>
                      <a:pt x="0" y="73"/>
                    </a:lnTo>
                    <a:lnTo>
                      <a:pt x="0" y="75"/>
                    </a:lnTo>
                    <a:lnTo>
                      <a:pt x="3" y="77"/>
                    </a:lnTo>
                    <a:lnTo>
                      <a:pt x="4" y="78"/>
                    </a:lnTo>
                    <a:lnTo>
                      <a:pt x="7" y="78"/>
                    </a:lnTo>
                    <a:lnTo>
                      <a:pt x="9" y="78"/>
                    </a:lnTo>
                    <a:lnTo>
                      <a:pt x="11" y="76"/>
                    </a:lnTo>
                    <a:lnTo>
                      <a:pt x="12" y="73"/>
                    </a:lnTo>
                    <a:lnTo>
                      <a:pt x="13" y="71"/>
                    </a:lnTo>
                    <a:lnTo>
                      <a:pt x="12" y="69"/>
                    </a:lnTo>
                    <a:lnTo>
                      <a:pt x="11" y="67"/>
                    </a:lnTo>
                    <a:lnTo>
                      <a:pt x="9" y="66"/>
                    </a:lnTo>
                    <a:lnTo>
                      <a:pt x="7" y="65"/>
                    </a:lnTo>
                    <a:close/>
                    <a:moveTo>
                      <a:pt x="1487" y="0"/>
                    </a:moveTo>
                    <a:lnTo>
                      <a:pt x="1485" y="0"/>
                    </a:lnTo>
                    <a:lnTo>
                      <a:pt x="1482" y="2"/>
                    </a:lnTo>
                    <a:lnTo>
                      <a:pt x="1481" y="5"/>
                    </a:lnTo>
                    <a:lnTo>
                      <a:pt x="1480" y="7"/>
                    </a:lnTo>
                    <a:lnTo>
                      <a:pt x="1481" y="9"/>
                    </a:lnTo>
                    <a:lnTo>
                      <a:pt x="1482" y="11"/>
                    </a:lnTo>
                    <a:lnTo>
                      <a:pt x="1483" y="12"/>
                    </a:lnTo>
                    <a:lnTo>
                      <a:pt x="1485" y="12"/>
                    </a:lnTo>
                    <a:lnTo>
                      <a:pt x="1487" y="13"/>
                    </a:lnTo>
                    <a:lnTo>
                      <a:pt x="1489" y="12"/>
                    </a:lnTo>
                    <a:lnTo>
                      <a:pt x="1491" y="12"/>
                    </a:lnTo>
                    <a:lnTo>
                      <a:pt x="1492" y="11"/>
                    </a:lnTo>
                    <a:lnTo>
                      <a:pt x="1493" y="9"/>
                    </a:lnTo>
                    <a:lnTo>
                      <a:pt x="1493" y="7"/>
                    </a:lnTo>
                    <a:lnTo>
                      <a:pt x="1493" y="5"/>
                    </a:lnTo>
                    <a:lnTo>
                      <a:pt x="1491" y="2"/>
                    </a:lnTo>
                    <a:lnTo>
                      <a:pt x="1489" y="0"/>
                    </a:lnTo>
                    <a:lnTo>
                      <a:pt x="1487" y="0"/>
                    </a:lnTo>
                    <a:close/>
                    <a:moveTo>
                      <a:pt x="1396" y="0"/>
                    </a:moveTo>
                    <a:lnTo>
                      <a:pt x="1394" y="0"/>
                    </a:lnTo>
                    <a:lnTo>
                      <a:pt x="1392" y="2"/>
                    </a:lnTo>
                    <a:lnTo>
                      <a:pt x="1391" y="5"/>
                    </a:lnTo>
                    <a:lnTo>
                      <a:pt x="1390" y="7"/>
                    </a:lnTo>
                    <a:lnTo>
                      <a:pt x="1391" y="9"/>
                    </a:lnTo>
                    <a:lnTo>
                      <a:pt x="1392" y="11"/>
                    </a:lnTo>
                    <a:lnTo>
                      <a:pt x="1393" y="12"/>
                    </a:lnTo>
                    <a:lnTo>
                      <a:pt x="1394" y="12"/>
                    </a:lnTo>
                    <a:lnTo>
                      <a:pt x="1396" y="13"/>
                    </a:lnTo>
                    <a:lnTo>
                      <a:pt x="1399" y="12"/>
                    </a:lnTo>
                    <a:lnTo>
                      <a:pt x="1401" y="12"/>
                    </a:lnTo>
                    <a:lnTo>
                      <a:pt x="1402" y="11"/>
                    </a:lnTo>
                    <a:lnTo>
                      <a:pt x="1403" y="9"/>
                    </a:lnTo>
                    <a:lnTo>
                      <a:pt x="1403" y="7"/>
                    </a:lnTo>
                    <a:lnTo>
                      <a:pt x="1403" y="5"/>
                    </a:lnTo>
                    <a:lnTo>
                      <a:pt x="1401" y="2"/>
                    </a:lnTo>
                    <a:lnTo>
                      <a:pt x="1399" y="0"/>
                    </a:lnTo>
                    <a:lnTo>
                      <a:pt x="1396" y="0"/>
                    </a:lnTo>
                    <a:close/>
                    <a:moveTo>
                      <a:pt x="1308" y="0"/>
                    </a:moveTo>
                    <a:lnTo>
                      <a:pt x="1305" y="0"/>
                    </a:lnTo>
                    <a:lnTo>
                      <a:pt x="1304" y="1"/>
                    </a:lnTo>
                    <a:lnTo>
                      <a:pt x="1302" y="2"/>
                    </a:lnTo>
                    <a:lnTo>
                      <a:pt x="1302" y="5"/>
                    </a:lnTo>
                    <a:lnTo>
                      <a:pt x="1302" y="7"/>
                    </a:lnTo>
                    <a:lnTo>
                      <a:pt x="1302" y="9"/>
                    </a:lnTo>
                    <a:lnTo>
                      <a:pt x="1303" y="11"/>
                    </a:lnTo>
                    <a:lnTo>
                      <a:pt x="1305" y="12"/>
                    </a:lnTo>
                    <a:lnTo>
                      <a:pt x="1308" y="13"/>
                    </a:lnTo>
                    <a:lnTo>
                      <a:pt x="1310" y="12"/>
                    </a:lnTo>
                    <a:lnTo>
                      <a:pt x="1311" y="12"/>
                    </a:lnTo>
                    <a:lnTo>
                      <a:pt x="1312" y="11"/>
                    </a:lnTo>
                    <a:lnTo>
                      <a:pt x="1314" y="9"/>
                    </a:lnTo>
                    <a:lnTo>
                      <a:pt x="1315" y="7"/>
                    </a:lnTo>
                    <a:lnTo>
                      <a:pt x="1314" y="5"/>
                    </a:lnTo>
                    <a:lnTo>
                      <a:pt x="1312" y="2"/>
                    </a:lnTo>
                    <a:lnTo>
                      <a:pt x="1310" y="0"/>
                    </a:lnTo>
                    <a:lnTo>
                      <a:pt x="1308" y="0"/>
                    </a:lnTo>
                    <a:close/>
                  </a:path>
                </a:pathLst>
              </a:custGeom>
              <a:solidFill>
                <a:srgbClr val="24385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06" name="Freeform 256"/>
              <p:cNvSpPr>
                <a:spLocks/>
              </p:cNvSpPr>
              <p:nvPr/>
            </p:nvSpPr>
            <p:spPr bwMode="auto">
              <a:xfrm>
                <a:off x="1683" y="2784"/>
                <a:ext cx="2344" cy="1472"/>
              </a:xfrm>
              <a:custGeom>
                <a:avLst/>
                <a:gdLst>
                  <a:gd name="T0" fmla="*/ 1291 w 2344"/>
                  <a:gd name="T1" fmla="*/ 6 h 1472"/>
                  <a:gd name="T2" fmla="*/ 1412 w 2344"/>
                  <a:gd name="T3" fmla="*/ 23 h 1472"/>
                  <a:gd name="T4" fmla="*/ 1575 w 2344"/>
                  <a:gd name="T5" fmla="*/ 67 h 1472"/>
                  <a:gd name="T6" fmla="*/ 1729 w 2344"/>
                  <a:gd name="T7" fmla="*/ 134 h 1472"/>
                  <a:gd name="T8" fmla="*/ 1870 w 2344"/>
                  <a:gd name="T9" fmla="*/ 219 h 1472"/>
                  <a:gd name="T10" fmla="*/ 1960 w 2344"/>
                  <a:gd name="T11" fmla="*/ 290 h 1472"/>
                  <a:gd name="T12" fmla="*/ 2075 w 2344"/>
                  <a:gd name="T13" fmla="*/ 404 h 1472"/>
                  <a:gd name="T14" fmla="*/ 2172 w 2344"/>
                  <a:gd name="T15" fmla="*/ 533 h 1472"/>
                  <a:gd name="T16" fmla="*/ 2228 w 2344"/>
                  <a:gd name="T17" fmla="*/ 631 h 1472"/>
                  <a:gd name="T18" fmla="*/ 2290 w 2344"/>
                  <a:gd name="T19" fmla="*/ 781 h 1472"/>
                  <a:gd name="T20" fmla="*/ 2321 w 2344"/>
                  <a:gd name="T21" fmla="*/ 893 h 1472"/>
                  <a:gd name="T22" fmla="*/ 2342 w 2344"/>
                  <a:gd name="T23" fmla="*/ 1058 h 1472"/>
                  <a:gd name="T24" fmla="*/ 2338 w 2344"/>
                  <a:gd name="T25" fmla="*/ 1227 h 1472"/>
                  <a:gd name="T26" fmla="*/ 2320 w 2344"/>
                  <a:gd name="T27" fmla="*/ 1342 h 1472"/>
                  <a:gd name="T28" fmla="*/ 2282 w 2344"/>
                  <a:gd name="T29" fmla="*/ 1472 h 1472"/>
                  <a:gd name="T30" fmla="*/ 2278 w 2344"/>
                  <a:gd name="T31" fmla="*/ 1383 h 1472"/>
                  <a:gd name="T32" fmla="*/ 2307 w 2344"/>
                  <a:gd name="T33" fmla="*/ 1227 h 1472"/>
                  <a:gd name="T34" fmla="*/ 2311 w 2344"/>
                  <a:gd name="T35" fmla="*/ 1058 h 1472"/>
                  <a:gd name="T36" fmla="*/ 2290 w 2344"/>
                  <a:gd name="T37" fmla="*/ 896 h 1472"/>
                  <a:gd name="T38" fmla="*/ 2243 w 2344"/>
                  <a:gd name="T39" fmla="*/ 742 h 1472"/>
                  <a:gd name="T40" fmla="*/ 2174 w 2344"/>
                  <a:gd name="T41" fmla="*/ 596 h 1472"/>
                  <a:gd name="T42" fmla="*/ 2119 w 2344"/>
                  <a:gd name="T43" fmla="*/ 511 h 1472"/>
                  <a:gd name="T44" fmla="*/ 2016 w 2344"/>
                  <a:gd name="T45" fmla="*/ 387 h 1472"/>
                  <a:gd name="T46" fmla="*/ 1896 w 2344"/>
                  <a:gd name="T47" fmla="*/ 278 h 1472"/>
                  <a:gd name="T48" fmla="*/ 1813 w 2344"/>
                  <a:gd name="T49" fmla="*/ 218 h 1472"/>
                  <a:gd name="T50" fmla="*/ 1668 w 2344"/>
                  <a:gd name="T51" fmla="*/ 138 h 1472"/>
                  <a:gd name="T52" fmla="*/ 1510 w 2344"/>
                  <a:gd name="T53" fmla="*/ 79 h 1472"/>
                  <a:gd name="T54" fmla="*/ 1348 w 2344"/>
                  <a:gd name="T55" fmla="*/ 43 h 1472"/>
                  <a:gd name="T56" fmla="*/ 1173 w 2344"/>
                  <a:gd name="T57" fmla="*/ 32 h 1472"/>
                  <a:gd name="T58" fmla="*/ 997 w 2344"/>
                  <a:gd name="T59" fmla="*/ 43 h 1472"/>
                  <a:gd name="T60" fmla="*/ 834 w 2344"/>
                  <a:gd name="T61" fmla="*/ 79 h 1472"/>
                  <a:gd name="T62" fmla="*/ 677 w 2344"/>
                  <a:gd name="T63" fmla="*/ 138 h 1472"/>
                  <a:gd name="T64" fmla="*/ 531 w 2344"/>
                  <a:gd name="T65" fmla="*/ 218 h 1472"/>
                  <a:gd name="T66" fmla="*/ 447 w 2344"/>
                  <a:gd name="T67" fmla="*/ 278 h 1472"/>
                  <a:gd name="T68" fmla="*/ 327 w 2344"/>
                  <a:gd name="T69" fmla="*/ 387 h 1472"/>
                  <a:gd name="T70" fmla="*/ 223 w 2344"/>
                  <a:gd name="T71" fmla="*/ 511 h 1472"/>
                  <a:gd name="T72" fmla="*/ 169 w 2344"/>
                  <a:gd name="T73" fmla="*/ 596 h 1472"/>
                  <a:gd name="T74" fmla="*/ 100 w 2344"/>
                  <a:gd name="T75" fmla="*/ 742 h 1472"/>
                  <a:gd name="T76" fmla="*/ 52 w 2344"/>
                  <a:gd name="T77" fmla="*/ 896 h 1472"/>
                  <a:gd name="T78" fmla="*/ 32 w 2344"/>
                  <a:gd name="T79" fmla="*/ 1058 h 1472"/>
                  <a:gd name="T80" fmla="*/ 36 w 2344"/>
                  <a:gd name="T81" fmla="*/ 1227 h 1472"/>
                  <a:gd name="T82" fmla="*/ 65 w 2344"/>
                  <a:gd name="T83" fmla="*/ 1383 h 1472"/>
                  <a:gd name="T84" fmla="*/ 61 w 2344"/>
                  <a:gd name="T85" fmla="*/ 1472 h 1472"/>
                  <a:gd name="T86" fmla="*/ 23 w 2344"/>
                  <a:gd name="T87" fmla="*/ 1342 h 1472"/>
                  <a:gd name="T88" fmla="*/ 5 w 2344"/>
                  <a:gd name="T89" fmla="*/ 1227 h 1472"/>
                  <a:gd name="T90" fmla="*/ 1 w 2344"/>
                  <a:gd name="T91" fmla="*/ 1058 h 1472"/>
                  <a:gd name="T92" fmla="*/ 22 w 2344"/>
                  <a:gd name="T93" fmla="*/ 893 h 1472"/>
                  <a:gd name="T94" fmla="*/ 52 w 2344"/>
                  <a:gd name="T95" fmla="*/ 781 h 1472"/>
                  <a:gd name="T96" fmla="*/ 115 w 2344"/>
                  <a:gd name="T97" fmla="*/ 631 h 1472"/>
                  <a:gd name="T98" fmla="*/ 171 w 2344"/>
                  <a:gd name="T99" fmla="*/ 533 h 1472"/>
                  <a:gd name="T100" fmla="*/ 268 w 2344"/>
                  <a:gd name="T101" fmla="*/ 404 h 1472"/>
                  <a:gd name="T102" fmla="*/ 383 w 2344"/>
                  <a:gd name="T103" fmla="*/ 290 h 1472"/>
                  <a:gd name="T104" fmla="*/ 474 w 2344"/>
                  <a:gd name="T105" fmla="*/ 219 h 1472"/>
                  <a:gd name="T106" fmla="*/ 615 w 2344"/>
                  <a:gd name="T107" fmla="*/ 134 h 1472"/>
                  <a:gd name="T108" fmla="*/ 769 w 2344"/>
                  <a:gd name="T109" fmla="*/ 67 h 1472"/>
                  <a:gd name="T110" fmla="*/ 933 w 2344"/>
                  <a:gd name="T111" fmla="*/ 23 h 1472"/>
                  <a:gd name="T112" fmla="*/ 1055 w 2344"/>
                  <a:gd name="T113" fmla="*/ 6 h 14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344" h="1472">
                    <a:moveTo>
                      <a:pt x="1173" y="0"/>
                    </a:moveTo>
                    <a:lnTo>
                      <a:pt x="1232" y="1"/>
                    </a:lnTo>
                    <a:lnTo>
                      <a:pt x="1291" y="6"/>
                    </a:lnTo>
                    <a:lnTo>
                      <a:pt x="1348" y="12"/>
                    </a:lnTo>
                    <a:lnTo>
                      <a:pt x="1405" y="22"/>
                    </a:lnTo>
                    <a:lnTo>
                      <a:pt x="1412" y="23"/>
                    </a:lnTo>
                    <a:lnTo>
                      <a:pt x="1468" y="36"/>
                    </a:lnTo>
                    <a:lnTo>
                      <a:pt x="1522" y="50"/>
                    </a:lnTo>
                    <a:lnTo>
                      <a:pt x="1575" y="67"/>
                    </a:lnTo>
                    <a:lnTo>
                      <a:pt x="1628" y="88"/>
                    </a:lnTo>
                    <a:lnTo>
                      <a:pt x="1680" y="109"/>
                    </a:lnTo>
                    <a:lnTo>
                      <a:pt x="1729" y="134"/>
                    </a:lnTo>
                    <a:lnTo>
                      <a:pt x="1777" y="160"/>
                    </a:lnTo>
                    <a:lnTo>
                      <a:pt x="1825" y="189"/>
                    </a:lnTo>
                    <a:lnTo>
                      <a:pt x="1870" y="219"/>
                    </a:lnTo>
                    <a:lnTo>
                      <a:pt x="1875" y="222"/>
                    </a:lnTo>
                    <a:lnTo>
                      <a:pt x="1918" y="256"/>
                    </a:lnTo>
                    <a:lnTo>
                      <a:pt x="1960" y="290"/>
                    </a:lnTo>
                    <a:lnTo>
                      <a:pt x="2001" y="326"/>
                    </a:lnTo>
                    <a:lnTo>
                      <a:pt x="2039" y="364"/>
                    </a:lnTo>
                    <a:lnTo>
                      <a:pt x="2075" y="404"/>
                    </a:lnTo>
                    <a:lnTo>
                      <a:pt x="2110" y="445"/>
                    </a:lnTo>
                    <a:lnTo>
                      <a:pt x="2142" y="488"/>
                    </a:lnTo>
                    <a:lnTo>
                      <a:pt x="2172" y="533"/>
                    </a:lnTo>
                    <a:lnTo>
                      <a:pt x="2175" y="539"/>
                    </a:lnTo>
                    <a:lnTo>
                      <a:pt x="2203" y="584"/>
                    </a:lnTo>
                    <a:lnTo>
                      <a:pt x="2228" y="631"/>
                    </a:lnTo>
                    <a:lnTo>
                      <a:pt x="2252" y="681"/>
                    </a:lnTo>
                    <a:lnTo>
                      <a:pt x="2272" y="731"/>
                    </a:lnTo>
                    <a:lnTo>
                      <a:pt x="2290" y="781"/>
                    </a:lnTo>
                    <a:lnTo>
                      <a:pt x="2307" y="834"/>
                    </a:lnTo>
                    <a:lnTo>
                      <a:pt x="2320" y="887"/>
                    </a:lnTo>
                    <a:lnTo>
                      <a:pt x="2321" y="893"/>
                    </a:lnTo>
                    <a:lnTo>
                      <a:pt x="2330" y="947"/>
                    </a:lnTo>
                    <a:lnTo>
                      <a:pt x="2338" y="1002"/>
                    </a:lnTo>
                    <a:lnTo>
                      <a:pt x="2342" y="1058"/>
                    </a:lnTo>
                    <a:lnTo>
                      <a:pt x="2344" y="1114"/>
                    </a:lnTo>
                    <a:lnTo>
                      <a:pt x="2342" y="1171"/>
                    </a:lnTo>
                    <a:lnTo>
                      <a:pt x="2338" y="1227"/>
                    </a:lnTo>
                    <a:lnTo>
                      <a:pt x="2330" y="1282"/>
                    </a:lnTo>
                    <a:lnTo>
                      <a:pt x="2321" y="1336"/>
                    </a:lnTo>
                    <a:lnTo>
                      <a:pt x="2320" y="1342"/>
                    </a:lnTo>
                    <a:lnTo>
                      <a:pt x="2307" y="1395"/>
                    </a:lnTo>
                    <a:lnTo>
                      <a:pt x="2290" y="1447"/>
                    </a:lnTo>
                    <a:lnTo>
                      <a:pt x="2282" y="1472"/>
                    </a:lnTo>
                    <a:lnTo>
                      <a:pt x="2249" y="1472"/>
                    </a:lnTo>
                    <a:lnTo>
                      <a:pt x="2261" y="1435"/>
                    </a:lnTo>
                    <a:lnTo>
                      <a:pt x="2278" y="1383"/>
                    </a:lnTo>
                    <a:lnTo>
                      <a:pt x="2290" y="1333"/>
                    </a:lnTo>
                    <a:lnTo>
                      <a:pt x="2299" y="1282"/>
                    </a:lnTo>
                    <a:lnTo>
                      <a:pt x="2307" y="1227"/>
                    </a:lnTo>
                    <a:lnTo>
                      <a:pt x="2311" y="1171"/>
                    </a:lnTo>
                    <a:lnTo>
                      <a:pt x="2313" y="1114"/>
                    </a:lnTo>
                    <a:lnTo>
                      <a:pt x="2311" y="1058"/>
                    </a:lnTo>
                    <a:lnTo>
                      <a:pt x="2307" y="1002"/>
                    </a:lnTo>
                    <a:lnTo>
                      <a:pt x="2299" y="947"/>
                    </a:lnTo>
                    <a:lnTo>
                      <a:pt x="2290" y="896"/>
                    </a:lnTo>
                    <a:lnTo>
                      <a:pt x="2278" y="846"/>
                    </a:lnTo>
                    <a:lnTo>
                      <a:pt x="2261" y="793"/>
                    </a:lnTo>
                    <a:lnTo>
                      <a:pt x="2243" y="742"/>
                    </a:lnTo>
                    <a:lnTo>
                      <a:pt x="2223" y="693"/>
                    </a:lnTo>
                    <a:lnTo>
                      <a:pt x="2199" y="643"/>
                    </a:lnTo>
                    <a:lnTo>
                      <a:pt x="2174" y="596"/>
                    </a:lnTo>
                    <a:lnTo>
                      <a:pt x="2150" y="556"/>
                    </a:lnTo>
                    <a:lnTo>
                      <a:pt x="2119" y="511"/>
                    </a:lnTo>
                    <a:lnTo>
                      <a:pt x="2087" y="468"/>
                    </a:lnTo>
                    <a:lnTo>
                      <a:pt x="2053" y="427"/>
                    </a:lnTo>
                    <a:lnTo>
                      <a:pt x="2016" y="387"/>
                    </a:lnTo>
                    <a:lnTo>
                      <a:pt x="1979" y="348"/>
                    </a:lnTo>
                    <a:lnTo>
                      <a:pt x="1938" y="313"/>
                    </a:lnTo>
                    <a:lnTo>
                      <a:pt x="1896" y="278"/>
                    </a:lnTo>
                    <a:lnTo>
                      <a:pt x="1853" y="245"/>
                    </a:lnTo>
                    <a:lnTo>
                      <a:pt x="1813" y="218"/>
                    </a:lnTo>
                    <a:lnTo>
                      <a:pt x="1766" y="189"/>
                    </a:lnTo>
                    <a:lnTo>
                      <a:pt x="1717" y="163"/>
                    </a:lnTo>
                    <a:lnTo>
                      <a:pt x="1668" y="138"/>
                    </a:lnTo>
                    <a:lnTo>
                      <a:pt x="1616" y="117"/>
                    </a:lnTo>
                    <a:lnTo>
                      <a:pt x="1563" y="96"/>
                    </a:lnTo>
                    <a:lnTo>
                      <a:pt x="1510" y="79"/>
                    </a:lnTo>
                    <a:lnTo>
                      <a:pt x="1456" y="65"/>
                    </a:lnTo>
                    <a:lnTo>
                      <a:pt x="1402" y="53"/>
                    </a:lnTo>
                    <a:lnTo>
                      <a:pt x="1348" y="43"/>
                    </a:lnTo>
                    <a:lnTo>
                      <a:pt x="1291" y="37"/>
                    </a:lnTo>
                    <a:lnTo>
                      <a:pt x="1232" y="33"/>
                    </a:lnTo>
                    <a:lnTo>
                      <a:pt x="1173" y="32"/>
                    </a:lnTo>
                    <a:lnTo>
                      <a:pt x="1114" y="33"/>
                    </a:lnTo>
                    <a:lnTo>
                      <a:pt x="1055" y="37"/>
                    </a:lnTo>
                    <a:lnTo>
                      <a:pt x="997" y="43"/>
                    </a:lnTo>
                    <a:lnTo>
                      <a:pt x="943" y="53"/>
                    </a:lnTo>
                    <a:lnTo>
                      <a:pt x="889" y="65"/>
                    </a:lnTo>
                    <a:lnTo>
                      <a:pt x="834" y="79"/>
                    </a:lnTo>
                    <a:lnTo>
                      <a:pt x="781" y="96"/>
                    </a:lnTo>
                    <a:lnTo>
                      <a:pt x="728" y="117"/>
                    </a:lnTo>
                    <a:lnTo>
                      <a:pt x="677" y="138"/>
                    </a:lnTo>
                    <a:lnTo>
                      <a:pt x="627" y="163"/>
                    </a:lnTo>
                    <a:lnTo>
                      <a:pt x="578" y="189"/>
                    </a:lnTo>
                    <a:lnTo>
                      <a:pt x="531" y="218"/>
                    </a:lnTo>
                    <a:lnTo>
                      <a:pt x="491" y="245"/>
                    </a:lnTo>
                    <a:lnTo>
                      <a:pt x="447" y="278"/>
                    </a:lnTo>
                    <a:lnTo>
                      <a:pt x="405" y="313"/>
                    </a:lnTo>
                    <a:lnTo>
                      <a:pt x="365" y="348"/>
                    </a:lnTo>
                    <a:lnTo>
                      <a:pt x="327" y="387"/>
                    </a:lnTo>
                    <a:lnTo>
                      <a:pt x="290" y="427"/>
                    </a:lnTo>
                    <a:lnTo>
                      <a:pt x="256" y="468"/>
                    </a:lnTo>
                    <a:lnTo>
                      <a:pt x="223" y="511"/>
                    </a:lnTo>
                    <a:lnTo>
                      <a:pt x="193" y="556"/>
                    </a:lnTo>
                    <a:lnTo>
                      <a:pt x="169" y="596"/>
                    </a:lnTo>
                    <a:lnTo>
                      <a:pt x="144" y="643"/>
                    </a:lnTo>
                    <a:lnTo>
                      <a:pt x="120" y="693"/>
                    </a:lnTo>
                    <a:lnTo>
                      <a:pt x="100" y="742"/>
                    </a:lnTo>
                    <a:lnTo>
                      <a:pt x="81" y="793"/>
                    </a:lnTo>
                    <a:lnTo>
                      <a:pt x="65" y="846"/>
                    </a:lnTo>
                    <a:lnTo>
                      <a:pt x="52" y="896"/>
                    </a:lnTo>
                    <a:lnTo>
                      <a:pt x="44" y="947"/>
                    </a:lnTo>
                    <a:lnTo>
                      <a:pt x="36" y="1002"/>
                    </a:lnTo>
                    <a:lnTo>
                      <a:pt x="32" y="1058"/>
                    </a:lnTo>
                    <a:lnTo>
                      <a:pt x="31" y="1114"/>
                    </a:lnTo>
                    <a:lnTo>
                      <a:pt x="32" y="1171"/>
                    </a:lnTo>
                    <a:lnTo>
                      <a:pt x="36" y="1227"/>
                    </a:lnTo>
                    <a:lnTo>
                      <a:pt x="44" y="1282"/>
                    </a:lnTo>
                    <a:lnTo>
                      <a:pt x="52" y="1333"/>
                    </a:lnTo>
                    <a:lnTo>
                      <a:pt x="65" y="1383"/>
                    </a:lnTo>
                    <a:lnTo>
                      <a:pt x="81" y="1435"/>
                    </a:lnTo>
                    <a:lnTo>
                      <a:pt x="94" y="1472"/>
                    </a:lnTo>
                    <a:lnTo>
                      <a:pt x="61" y="1472"/>
                    </a:lnTo>
                    <a:lnTo>
                      <a:pt x="52" y="1447"/>
                    </a:lnTo>
                    <a:lnTo>
                      <a:pt x="36" y="1395"/>
                    </a:lnTo>
                    <a:lnTo>
                      <a:pt x="23" y="1342"/>
                    </a:lnTo>
                    <a:lnTo>
                      <a:pt x="22" y="1336"/>
                    </a:lnTo>
                    <a:lnTo>
                      <a:pt x="13" y="1282"/>
                    </a:lnTo>
                    <a:lnTo>
                      <a:pt x="5" y="1227"/>
                    </a:lnTo>
                    <a:lnTo>
                      <a:pt x="1" y="1171"/>
                    </a:lnTo>
                    <a:lnTo>
                      <a:pt x="0" y="1114"/>
                    </a:lnTo>
                    <a:lnTo>
                      <a:pt x="1" y="1058"/>
                    </a:lnTo>
                    <a:lnTo>
                      <a:pt x="5" y="1002"/>
                    </a:lnTo>
                    <a:lnTo>
                      <a:pt x="13" y="947"/>
                    </a:lnTo>
                    <a:lnTo>
                      <a:pt x="22" y="893"/>
                    </a:lnTo>
                    <a:lnTo>
                      <a:pt x="23" y="887"/>
                    </a:lnTo>
                    <a:lnTo>
                      <a:pt x="36" y="834"/>
                    </a:lnTo>
                    <a:lnTo>
                      <a:pt x="52" y="781"/>
                    </a:lnTo>
                    <a:lnTo>
                      <a:pt x="71" y="731"/>
                    </a:lnTo>
                    <a:lnTo>
                      <a:pt x="91" y="681"/>
                    </a:lnTo>
                    <a:lnTo>
                      <a:pt x="115" y="631"/>
                    </a:lnTo>
                    <a:lnTo>
                      <a:pt x="140" y="584"/>
                    </a:lnTo>
                    <a:lnTo>
                      <a:pt x="168" y="539"/>
                    </a:lnTo>
                    <a:lnTo>
                      <a:pt x="171" y="533"/>
                    </a:lnTo>
                    <a:lnTo>
                      <a:pt x="201" y="488"/>
                    </a:lnTo>
                    <a:lnTo>
                      <a:pt x="233" y="445"/>
                    </a:lnTo>
                    <a:lnTo>
                      <a:pt x="268" y="404"/>
                    </a:lnTo>
                    <a:lnTo>
                      <a:pt x="304" y="364"/>
                    </a:lnTo>
                    <a:lnTo>
                      <a:pt x="343" y="326"/>
                    </a:lnTo>
                    <a:lnTo>
                      <a:pt x="383" y="290"/>
                    </a:lnTo>
                    <a:lnTo>
                      <a:pt x="425" y="256"/>
                    </a:lnTo>
                    <a:lnTo>
                      <a:pt x="469" y="222"/>
                    </a:lnTo>
                    <a:lnTo>
                      <a:pt x="474" y="219"/>
                    </a:lnTo>
                    <a:lnTo>
                      <a:pt x="519" y="189"/>
                    </a:lnTo>
                    <a:lnTo>
                      <a:pt x="567" y="160"/>
                    </a:lnTo>
                    <a:lnTo>
                      <a:pt x="615" y="134"/>
                    </a:lnTo>
                    <a:lnTo>
                      <a:pt x="665" y="109"/>
                    </a:lnTo>
                    <a:lnTo>
                      <a:pt x="716" y="88"/>
                    </a:lnTo>
                    <a:lnTo>
                      <a:pt x="769" y="67"/>
                    </a:lnTo>
                    <a:lnTo>
                      <a:pt x="822" y="50"/>
                    </a:lnTo>
                    <a:lnTo>
                      <a:pt x="877" y="36"/>
                    </a:lnTo>
                    <a:lnTo>
                      <a:pt x="933" y="23"/>
                    </a:lnTo>
                    <a:lnTo>
                      <a:pt x="940" y="22"/>
                    </a:lnTo>
                    <a:lnTo>
                      <a:pt x="997" y="12"/>
                    </a:lnTo>
                    <a:lnTo>
                      <a:pt x="1055" y="6"/>
                    </a:lnTo>
                    <a:lnTo>
                      <a:pt x="1114" y="1"/>
                    </a:lnTo>
                    <a:lnTo>
                      <a:pt x="1173"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07" name="Freeform 257"/>
              <p:cNvSpPr>
                <a:spLocks/>
              </p:cNvSpPr>
              <p:nvPr/>
            </p:nvSpPr>
            <p:spPr bwMode="auto">
              <a:xfrm>
                <a:off x="3751" y="3348"/>
                <a:ext cx="341" cy="341"/>
              </a:xfrm>
              <a:custGeom>
                <a:avLst/>
                <a:gdLst>
                  <a:gd name="T0" fmla="*/ 172 w 341"/>
                  <a:gd name="T1" fmla="*/ 0 h 341"/>
                  <a:gd name="T2" fmla="*/ 202 w 341"/>
                  <a:gd name="T3" fmla="*/ 3 h 341"/>
                  <a:gd name="T4" fmla="*/ 230 w 341"/>
                  <a:gd name="T5" fmla="*/ 10 h 341"/>
                  <a:gd name="T6" fmla="*/ 257 w 341"/>
                  <a:gd name="T7" fmla="*/ 23 h 341"/>
                  <a:gd name="T8" fmla="*/ 281 w 341"/>
                  <a:gd name="T9" fmla="*/ 39 h 341"/>
                  <a:gd name="T10" fmla="*/ 301 w 341"/>
                  <a:gd name="T11" fmla="*/ 60 h 341"/>
                  <a:gd name="T12" fmla="*/ 318 w 341"/>
                  <a:gd name="T13" fmla="*/ 85 h 341"/>
                  <a:gd name="T14" fmla="*/ 330 w 341"/>
                  <a:gd name="T15" fmla="*/ 111 h 341"/>
                  <a:gd name="T16" fmla="*/ 339 w 341"/>
                  <a:gd name="T17" fmla="*/ 140 h 341"/>
                  <a:gd name="T18" fmla="*/ 341 w 341"/>
                  <a:gd name="T19" fmla="*/ 171 h 341"/>
                  <a:gd name="T20" fmla="*/ 339 w 341"/>
                  <a:gd name="T21" fmla="*/ 201 h 341"/>
                  <a:gd name="T22" fmla="*/ 330 w 341"/>
                  <a:gd name="T23" fmla="*/ 230 h 341"/>
                  <a:gd name="T24" fmla="*/ 318 w 341"/>
                  <a:gd name="T25" fmla="*/ 257 h 341"/>
                  <a:gd name="T26" fmla="*/ 301 w 341"/>
                  <a:gd name="T27" fmla="*/ 281 h 341"/>
                  <a:gd name="T28" fmla="*/ 281 w 341"/>
                  <a:gd name="T29" fmla="*/ 301 h 341"/>
                  <a:gd name="T30" fmla="*/ 257 w 341"/>
                  <a:gd name="T31" fmla="*/ 317 h 341"/>
                  <a:gd name="T32" fmla="*/ 230 w 341"/>
                  <a:gd name="T33" fmla="*/ 330 h 341"/>
                  <a:gd name="T34" fmla="*/ 202 w 341"/>
                  <a:gd name="T35" fmla="*/ 338 h 341"/>
                  <a:gd name="T36" fmla="*/ 172 w 341"/>
                  <a:gd name="T37" fmla="*/ 341 h 341"/>
                  <a:gd name="T38" fmla="*/ 141 w 341"/>
                  <a:gd name="T39" fmla="*/ 338 h 341"/>
                  <a:gd name="T40" fmla="*/ 112 w 341"/>
                  <a:gd name="T41" fmla="*/ 330 h 341"/>
                  <a:gd name="T42" fmla="*/ 85 w 341"/>
                  <a:gd name="T43" fmla="*/ 317 h 341"/>
                  <a:gd name="T44" fmla="*/ 61 w 341"/>
                  <a:gd name="T45" fmla="*/ 301 h 341"/>
                  <a:gd name="T46" fmla="*/ 41 w 341"/>
                  <a:gd name="T47" fmla="*/ 281 h 341"/>
                  <a:gd name="T48" fmla="*/ 24 w 341"/>
                  <a:gd name="T49" fmla="*/ 257 h 341"/>
                  <a:gd name="T50" fmla="*/ 11 w 341"/>
                  <a:gd name="T51" fmla="*/ 230 h 341"/>
                  <a:gd name="T52" fmla="*/ 3 w 341"/>
                  <a:gd name="T53" fmla="*/ 201 h 341"/>
                  <a:gd name="T54" fmla="*/ 0 w 341"/>
                  <a:gd name="T55" fmla="*/ 171 h 341"/>
                  <a:gd name="T56" fmla="*/ 3 w 341"/>
                  <a:gd name="T57" fmla="*/ 140 h 341"/>
                  <a:gd name="T58" fmla="*/ 11 w 341"/>
                  <a:gd name="T59" fmla="*/ 111 h 341"/>
                  <a:gd name="T60" fmla="*/ 24 w 341"/>
                  <a:gd name="T61" fmla="*/ 85 h 341"/>
                  <a:gd name="T62" fmla="*/ 41 w 341"/>
                  <a:gd name="T63" fmla="*/ 60 h 341"/>
                  <a:gd name="T64" fmla="*/ 61 w 341"/>
                  <a:gd name="T65" fmla="*/ 39 h 341"/>
                  <a:gd name="T66" fmla="*/ 85 w 341"/>
                  <a:gd name="T67" fmla="*/ 23 h 341"/>
                  <a:gd name="T68" fmla="*/ 112 w 341"/>
                  <a:gd name="T69" fmla="*/ 10 h 341"/>
                  <a:gd name="T70" fmla="*/ 141 w 341"/>
                  <a:gd name="T71" fmla="*/ 3 h 341"/>
                  <a:gd name="T72" fmla="*/ 172 w 341"/>
                  <a:gd name="T73" fmla="*/ 0 h 34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41" h="341">
                    <a:moveTo>
                      <a:pt x="172" y="0"/>
                    </a:moveTo>
                    <a:lnTo>
                      <a:pt x="202" y="3"/>
                    </a:lnTo>
                    <a:lnTo>
                      <a:pt x="230" y="10"/>
                    </a:lnTo>
                    <a:lnTo>
                      <a:pt x="257" y="23"/>
                    </a:lnTo>
                    <a:lnTo>
                      <a:pt x="281" y="39"/>
                    </a:lnTo>
                    <a:lnTo>
                      <a:pt x="301" y="60"/>
                    </a:lnTo>
                    <a:lnTo>
                      <a:pt x="318" y="85"/>
                    </a:lnTo>
                    <a:lnTo>
                      <a:pt x="330" y="111"/>
                    </a:lnTo>
                    <a:lnTo>
                      <a:pt x="339" y="140"/>
                    </a:lnTo>
                    <a:lnTo>
                      <a:pt x="341" y="171"/>
                    </a:lnTo>
                    <a:lnTo>
                      <a:pt x="339" y="201"/>
                    </a:lnTo>
                    <a:lnTo>
                      <a:pt x="330" y="230"/>
                    </a:lnTo>
                    <a:lnTo>
                      <a:pt x="318" y="257"/>
                    </a:lnTo>
                    <a:lnTo>
                      <a:pt x="301" y="281"/>
                    </a:lnTo>
                    <a:lnTo>
                      <a:pt x="281" y="301"/>
                    </a:lnTo>
                    <a:lnTo>
                      <a:pt x="257" y="317"/>
                    </a:lnTo>
                    <a:lnTo>
                      <a:pt x="230" y="330"/>
                    </a:lnTo>
                    <a:lnTo>
                      <a:pt x="202" y="338"/>
                    </a:lnTo>
                    <a:lnTo>
                      <a:pt x="172" y="341"/>
                    </a:lnTo>
                    <a:lnTo>
                      <a:pt x="141" y="338"/>
                    </a:lnTo>
                    <a:lnTo>
                      <a:pt x="112" y="330"/>
                    </a:lnTo>
                    <a:lnTo>
                      <a:pt x="85" y="317"/>
                    </a:lnTo>
                    <a:lnTo>
                      <a:pt x="61" y="301"/>
                    </a:lnTo>
                    <a:lnTo>
                      <a:pt x="41" y="281"/>
                    </a:lnTo>
                    <a:lnTo>
                      <a:pt x="24" y="257"/>
                    </a:lnTo>
                    <a:lnTo>
                      <a:pt x="11" y="230"/>
                    </a:lnTo>
                    <a:lnTo>
                      <a:pt x="3" y="201"/>
                    </a:lnTo>
                    <a:lnTo>
                      <a:pt x="0" y="171"/>
                    </a:lnTo>
                    <a:lnTo>
                      <a:pt x="3" y="140"/>
                    </a:lnTo>
                    <a:lnTo>
                      <a:pt x="11" y="111"/>
                    </a:lnTo>
                    <a:lnTo>
                      <a:pt x="24" y="85"/>
                    </a:lnTo>
                    <a:lnTo>
                      <a:pt x="41" y="60"/>
                    </a:lnTo>
                    <a:lnTo>
                      <a:pt x="61" y="39"/>
                    </a:lnTo>
                    <a:lnTo>
                      <a:pt x="85" y="23"/>
                    </a:lnTo>
                    <a:lnTo>
                      <a:pt x="112" y="10"/>
                    </a:lnTo>
                    <a:lnTo>
                      <a:pt x="141" y="3"/>
                    </a:lnTo>
                    <a:lnTo>
                      <a:pt x="172" y="0"/>
                    </a:lnTo>
                    <a:close/>
                  </a:path>
                </a:pathLst>
              </a:custGeom>
              <a:solidFill>
                <a:srgbClr val="29426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08" name="Freeform 258"/>
              <p:cNvSpPr>
                <a:spLocks noEditPoints="1"/>
              </p:cNvSpPr>
              <p:nvPr/>
            </p:nvSpPr>
            <p:spPr bwMode="auto">
              <a:xfrm>
                <a:off x="3734" y="3330"/>
                <a:ext cx="375" cy="375"/>
              </a:xfrm>
              <a:custGeom>
                <a:avLst/>
                <a:gdLst>
                  <a:gd name="T0" fmla="*/ 162 w 375"/>
                  <a:gd name="T1" fmla="*/ 24 h 375"/>
                  <a:gd name="T2" fmla="*/ 113 w 375"/>
                  <a:gd name="T3" fmla="*/ 40 h 375"/>
                  <a:gd name="T4" fmla="*/ 71 w 375"/>
                  <a:gd name="T5" fmla="*/ 71 h 375"/>
                  <a:gd name="T6" fmla="*/ 39 w 375"/>
                  <a:gd name="T7" fmla="*/ 112 h 375"/>
                  <a:gd name="T8" fmla="*/ 23 w 375"/>
                  <a:gd name="T9" fmla="*/ 162 h 375"/>
                  <a:gd name="T10" fmla="*/ 23 w 375"/>
                  <a:gd name="T11" fmla="*/ 214 h 375"/>
                  <a:gd name="T12" fmla="*/ 39 w 375"/>
                  <a:gd name="T13" fmla="*/ 263 h 375"/>
                  <a:gd name="T14" fmla="*/ 71 w 375"/>
                  <a:gd name="T15" fmla="*/ 305 h 375"/>
                  <a:gd name="T16" fmla="*/ 119 w 375"/>
                  <a:gd name="T17" fmla="*/ 339 h 375"/>
                  <a:gd name="T18" fmla="*/ 174 w 375"/>
                  <a:gd name="T19" fmla="*/ 353 h 375"/>
                  <a:gd name="T20" fmla="*/ 230 w 375"/>
                  <a:gd name="T21" fmla="*/ 348 h 375"/>
                  <a:gd name="T22" fmla="*/ 281 w 375"/>
                  <a:gd name="T23" fmla="*/ 325 h 375"/>
                  <a:gd name="T24" fmla="*/ 321 w 375"/>
                  <a:gd name="T25" fmla="*/ 286 h 375"/>
                  <a:gd name="T26" fmla="*/ 345 w 375"/>
                  <a:gd name="T27" fmla="*/ 239 h 375"/>
                  <a:gd name="T28" fmla="*/ 353 w 375"/>
                  <a:gd name="T29" fmla="*/ 188 h 375"/>
                  <a:gd name="T30" fmla="*/ 345 w 375"/>
                  <a:gd name="T31" fmla="*/ 137 h 375"/>
                  <a:gd name="T32" fmla="*/ 321 w 375"/>
                  <a:gd name="T33" fmla="*/ 91 h 375"/>
                  <a:gd name="T34" fmla="*/ 285 w 375"/>
                  <a:gd name="T35" fmla="*/ 54 h 375"/>
                  <a:gd name="T36" fmla="*/ 238 w 375"/>
                  <a:gd name="T37" fmla="*/ 31 h 375"/>
                  <a:gd name="T38" fmla="*/ 189 w 375"/>
                  <a:gd name="T39" fmla="*/ 22 h 375"/>
                  <a:gd name="T40" fmla="*/ 218 w 375"/>
                  <a:gd name="T41" fmla="*/ 3 h 375"/>
                  <a:gd name="T42" fmla="*/ 273 w 375"/>
                  <a:gd name="T43" fmla="*/ 20 h 375"/>
                  <a:gd name="T44" fmla="*/ 320 w 375"/>
                  <a:gd name="T45" fmla="*/ 55 h 375"/>
                  <a:gd name="T46" fmla="*/ 355 w 375"/>
                  <a:gd name="T47" fmla="*/ 103 h 375"/>
                  <a:gd name="T48" fmla="*/ 373 w 375"/>
                  <a:gd name="T49" fmla="*/ 158 h 375"/>
                  <a:gd name="T50" fmla="*/ 373 w 375"/>
                  <a:gd name="T51" fmla="*/ 217 h 375"/>
                  <a:gd name="T52" fmla="*/ 355 w 375"/>
                  <a:gd name="T53" fmla="*/ 273 h 375"/>
                  <a:gd name="T54" fmla="*/ 320 w 375"/>
                  <a:gd name="T55" fmla="*/ 320 h 375"/>
                  <a:gd name="T56" fmla="*/ 272 w 375"/>
                  <a:gd name="T57" fmla="*/ 356 h 375"/>
                  <a:gd name="T58" fmla="*/ 216 w 375"/>
                  <a:gd name="T59" fmla="*/ 373 h 375"/>
                  <a:gd name="T60" fmla="*/ 159 w 375"/>
                  <a:gd name="T61" fmla="*/ 373 h 375"/>
                  <a:gd name="T62" fmla="*/ 104 w 375"/>
                  <a:gd name="T63" fmla="*/ 356 h 375"/>
                  <a:gd name="T64" fmla="*/ 56 w 375"/>
                  <a:gd name="T65" fmla="*/ 320 h 375"/>
                  <a:gd name="T66" fmla="*/ 20 w 375"/>
                  <a:gd name="T67" fmla="*/ 273 h 375"/>
                  <a:gd name="T68" fmla="*/ 2 w 375"/>
                  <a:gd name="T69" fmla="*/ 217 h 375"/>
                  <a:gd name="T70" fmla="*/ 2 w 375"/>
                  <a:gd name="T71" fmla="*/ 158 h 375"/>
                  <a:gd name="T72" fmla="*/ 20 w 375"/>
                  <a:gd name="T73" fmla="*/ 103 h 375"/>
                  <a:gd name="T74" fmla="*/ 56 w 375"/>
                  <a:gd name="T75" fmla="*/ 55 h 375"/>
                  <a:gd name="T76" fmla="*/ 103 w 375"/>
                  <a:gd name="T77" fmla="*/ 20 h 375"/>
                  <a:gd name="T78" fmla="*/ 159 w 375"/>
                  <a:gd name="T79" fmla="*/ 3 h 37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75" h="375">
                    <a:moveTo>
                      <a:pt x="189" y="22"/>
                    </a:moveTo>
                    <a:lnTo>
                      <a:pt x="162" y="24"/>
                    </a:lnTo>
                    <a:lnTo>
                      <a:pt x="136" y="31"/>
                    </a:lnTo>
                    <a:lnTo>
                      <a:pt x="113" y="40"/>
                    </a:lnTo>
                    <a:lnTo>
                      <a:pt x="90" y="54"/>
                    </a:lnTo>
                    <a:lnTo>
                      <a:pt x="71" y="71"/>
                    </a:lnTo>
                    <a:lnTo>
                      <a:pt x="53" y="91"/>
                    </a:lnTo>
                    <a:lnTo>
                      <a:pt x="39" y="112"/>
                    </a:lnTo>
                    <a:lnTo>
                      <a:pt x="30" y="137"/>
                    </a:lnTo>
                    <a:lnTo>
                      <a:pt x="23" y="162"/>
                    </a:lnTo>
                    <a:lnTo>
                      <a:pt x="21" y="188"/>
                    </a:lnTo>
                    <a:lnTo>
                      <a:pt x="23" y="214"/>
                    </a:lnTo>
                    <a:lnTo>
                      <a:pt x="30" y="239"/>
                    </a:lnTo>
                    <a:lnTo>
                      <a:pt x="39" y="263"/>
                    </a:lnTo>
                    <a:lnTo>
                      <a:pt x="53" y="286"/>
                    </a:lnTo>
                    <a:lnTo>
                      <a:pt x="71" y="305"/>
                    </a:lnTo>
                    <a:lnTo>
                      <a:pt x="93" y="325"/>
                    </a:lnTo>
                    <a:lnTo>
                      <a:pt x="119" y="339"/>
                    </a:lnTo>
                    <a:lnTo>
                      <a:pt x="146" y="348"/>
                    </a:lnTo>
                    <a:lnTo>
                      <a:pt x="174" y="353"/>
                    </a:lnTo>
                    <a:lnTo>
                      <a:pt x="202" y="353"/>
                    </a:lnTo>
                    <a:lnTo>
                      <a:pt x="230" y="348"/>
                    </a:lnTo>
                    <a:lnTo>
                      <a:pt x="257" y="339"/>
                    </a:lnTo>
                    <a:lnTo>
                      <a:pt x="281" y="325"/>
                    </a:lnTo>
                    <a:lnTo>
                      <a:pt x="304" y="305"/>
                    </a:lnTo>
                    <a:lnTo>
                      <a:pt x="321" y="286"/>
                    </a:lnTo>
                    <a:lnTo>
                      <a:pt x="335" y="263"/>
                    </a:lnTo>
                    <a:lnTo>
                      <a:pt x="345" y="239"/>
                    </a:lnTo>
                    <a:lnTo>
                      <a:pt x="351" y="214"/>
                    </a:lnTo>
                    <a:lnTo>
                      <a:pt x="353" y="188"/>
                    </a:lnTo>
                    <a:lnTo>
                      <a:pt x="351" y="162"/>
                    </a:lnTo>
                    <a:lnTo>
                      <a:pt x="345" y="137"/>
                    </a:lnTo>
                    <a:lnTo>
                      <a:pt x="335" y="112"/>
                    </a:lnTo>
                    <a:lnTo>
                      <a:pt x="321" y="91"/>
                    </a:lnTo>
                    <a:lnTo>
                      <a:pt x="304" y="71"/>
                    </a:lnTo>
                    <a:lnTo>
                      <a:pt x="285" y="54"/>
                    </a:lnTo>
                    <a:lnTo>
                      <a:pt x="262" y="40"/>
                    </a:lnTo>
                    <a:lnTo>
                      <a:pt x="238" y="31"/>
                    </a:lnTo>
                    <a:lnTo>
                      <a:pt x="214" y="24"/>
                    </a:lnTo>
                    <a:lnTo>
                      <a:pt x="189" y="22"/>
                    </a:lnTo>
                    <a:close/>
                    <a:moveTo>
                      <a:pt x="189" y="0"/>
                    </a:moveTo>
                    <a:lnTo>
                      <a:pt x="218" y="3"/>
                    </a:lnTo>
                    <a:lnTo>
                      <a:pt x="246" y="9"/>
                    </a:lnTo>
                    <a:lnTo>
                      <a:pt x="273" y="20"/>
                    </a:lnTo>
                    <a:lnTo>
                      <a:pt x="298" y="36"/>
                    </a:lnTo>
                    <a:lnTo>
                      <a:pt x="320" y="55"/>
                    </a:lnTo>
                    <a:lnTo>
                      <a:pt x="339" y="78"/>
                    </a:lnTo>
                    <a:lnTo>
                      <a:pt x="355" y="103"/>
                    </a:lnTo>
                    <a:lnTo>
                      <a:pt x="366" y="130"/>
                    </a:lnTo>
                    <a:lnTo>
                      <a:pt x="373" y="158"/>
                    </a:lnTo>
                    <a:lnTo>
                      <a:pt x="375" y="188"/>
                    </a:lnTo>
                    <a:lnTo>
                      <a:pt x="373" y="217"/>
                    </a:lnTo>
                    <a:lnTo>
                      <a:pt x="366" y="246"/>
                    </a:lnTo>
                    <a:lnTo>
                      <a:pt x="355" y="273"/>
                    </a:lnTo>
                    <a:lnTo>
                      <a:pt x="339" y="299"/>
                    </a:lnTo>
                    <a:lnTo>
                      <a:pt x="320" y="320"/>
                    </a:lnTo>
                    <a:lnTo>
                      <a:pt x="296" y="341"/>
                    </a:lnTo>
                    <a:lnTo>
                      <a:pt x="272" y="356"/>
                    </a:lnTo>
                    <a:lnTo>
                      <a:pt x="244" y="367"/>
                    </a:lnTo>
                    <a:lnTo>
                      <a:pt x="216" y="373"/>
                    </a:lnTo>
                    <a:lnTo>
                      <a:pt x="188" y="375"/>
                    </a:lnTo>
                    <a:lnTo>
                      <a:pt x="159" y="373"/>
                    </a:lnTo>
                    <a:lnTo>
                      <a:pt x="131" y="367"/>
                    </a:lnTo>
                    <a:lnTo>
                      <a:pt x="104" y="356"/>
                    </a:lnTo>
                    <a:lnTo>
                      <a:pt x="78" y="341"/>
                    </a:lnTo>
                    <a:lnTo>
                      <a:pt x="56" y="320"/>
                    </a:lnTo>
                    <a:lnTo>
                      <a:pt x="35" y="299"/>
                    </a:lnTo>
                    <a:lnTo>
                      <a:pt x="20" y="273"/>
                    </a:lnTo>
                    <a:lnTo>
                      <a:pt x="8" y="246"/>
                    </a:lnTo>
                    <a:lnTo>
                      <a:pt x="2" y="217"/>
                    </a:lnTo>
                    <a:lnTo>
                      <a:pt x="0" y="188"/>
                    </a:lnTo>
                    <a:lnTo>
                      <a:pt x="2" y="158"/>
                    </a:lnTo>
                    <a:lnTo>
                      <a:pt x="8" y="130"/>
                    </a:lnTo>
                    <a:lnTo>
                      <a:pt x="20" y="103"/>
                    </a:lnTo>
                    <a:lnTo>
                      <a:pt x="35" y="78"/>
                    </a:lnTo>
                    <a:lnTo>
                      <a:pt x="56" y="55"/>
                    </a:lnTo>
                    <a:lnTo>
                      <a:pt x="77" y="36"/>
                    </a:lnTo>
                    <a:lnTo>
                      <a:pt x="103" y="20"/>
                    </a:lnTo>
                    <a:lnTo>
                      <a:pt x="130" y="9"/>
                    </a:lnTo>
                    <a:lnTo>
                      <a:pt x="159" y="3"/>
                    </a:lnTo>
                    <a:lnTo>
                      <a:pt x="189"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09" name="Rectangle 259"/>
              <p:cNvSpPr>
                <a:spLocks noChangeArrowheads="1"/>
              </p:cNvSpPr>
              <p:nvPr/>
            </p:nvSpPr>
            <p:spPr bwMode="auto">
              <a:xfrm>
                <a:off x="3844" y="3435"/>
                <a:ext cx="143" cy="11"/>
              </a:xfrm>
              <a:prstGeom prst="rect">
                <a:avLst/>
              </a:prstGeom>
              <a:solidFill>
                <a:srgbClr val="FFFFFF"/>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eaLnBrk="1" hangingPunct="1"/>
                <a:endParaRPr lang="es-ES" altLang="es-CL" dirty="0">
                  <a:solidFill>
                    <a:srgbClr val="333333"/>
                  </a:solidFill>
                  <a:latin typeface="Arial" pitchFamily="34" charset="0"/>
                </a:endParaRPr>
              </a:p>
            </p:txBody>
          </p:sp>
          <p:sp>
            <p:nvSpPr>
              <p:cNvPr id="2110" name="Rectangle 260"/>
              <p:cNvSpPr>
                <a:spLocks noChangeArrowheads="1"/>
              </p:cNvSpPr>
              <p:nvPr/>
            </p:nvSpPr>
            <p:spPr bwMode="auto">
              <a:xfrm>
                <a:off x="3905" y="3428"/>
                <a:ext cx="22" cy="165"/>
              </a:xfrm>
              <a:prstGeom prst="rect">
                <a:avLst/>
              </a:prstGeom>
              <a:solidFill>
                <a:srgbClr val="FFFFFF"/>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eaLnBrk="1" hangingPunct="1"/>
                <a:endParaRPr lang="es-ES" altLang="es-CL" dirty="0">
                  <a:solidFill>
                    <a:srgbClr val="333333"/>
                  </a:solidFill>
                  <a:latin typeface="Arial" pitchFamily="34" charset="0"/>
                </a:endParaRPr>
              </a:p>
            </p:txBody>
          </p:sp>
          <p:sp>
            <p:nvSpPr>
              <p:cNvPr id="2111" name="Freeform 261"/>
              <p:cNvSpPr>
                <a:spLocks/>
              </p:cNvSpPr>
              <p:nvPr/>
            </p:nvSpPr>
            <p:spPr bwMode="auto">
              <a:xfrm>
                <a:off x="3867" y="3582"/>
                <a:ext cx="98" cy="26"/>
              </a:xfrm>
              <a:custGeom>
                <a:avLst/>
                <a:gdLst>
                  <a:gd name="T0" fmla="*/ 49 w 98"/>
                  <a:gd name="T1" fmla="*/ 0 h 26"/>
                  <a:gd name="T2" fmla="*/ 65 w 98"/>
                  <a:gd name="T3" fmla="*/ 3 h 26"/>
                  <a:gd name="T4" fmla="*/ 79 w 98"/>
                  <a:gd name="T5" fmla="*/ 7 h 26"/>
                  <a:gd name="T6" fmla="*/ 90 w 98"/>
                  <a:gd name="T7" fmla="*/ 14 h 26"/>
                  <a:gd name="T8" fmla="*/ 98 w 98"/>
                  <a:gd name="T9" fmla="*/ 24 h 26"/>
                  <a:gd name="T10" fmla="*/ 0 w 98"/>
                  <a:gd name="T11" fmla="*/ 26 h 26"/>
                  <a:gd name="T12" fmla="*/ 8 w 98"/>
                  <a:gd name="T13" fmla="*/ 15 h 26"/>
                  <a:gd name="T14" fmla="*/ 19 w 98"/>
                  <a:gd name="T15" fmla="*/ 7 h 26"/>
                  <a:gd name="T16" fmla="*/ 33 w 98"/>
                  <a:gd name="T17" fmla="*/ 3 h 26"/>
                  <a:gd name="T18" fmla="*/ 49 w 98"/>
                  <a:gd name="T19" fmla="*/ 0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98" h="26">
                    <a:moveTo>
                      <a:pt x="49" y="0"/>
                    </a:moveTo>
                    <a:lnTo>
                      <a:pt x="65" y="3"/>
                    </a:lnTo>
                    <a:lnTo>
                      <a:pt x="79" y="7"/>
                    </a:lnTo>
                    <a:lnTo>
                      <a:pt x="90" y="14"/>
                    </a:lnTo>
                    <a:lnTo>
                      <a:pt x="98" y="24"/>
                    </a:lnTo>
                    <a:lnTo>
                      <a:pt x="0" y="26"/>
                    </a:lnTo>
                    <a:lnTo>
                      <a:pt x="8" y="15"/>
                    </a:lnTo>
                    <a:lnTo>
                      <a:pt x="19" y="7"/>
                    </a:lnTo>
                    <a:lnTo>
                      <a:pt x="33" y="3"/>
                    </a:lnTo>
                    <a:lnTo>
                      <a:pt x="49"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12" name="Freeform 262"/>
              <p:cNvSpPr>
                <a:spLocks/>
              </p:cNvSpPr>
              <p:nvPr/>
            </p:nvSpPr>
            <p:spPr bwMode="auto">
              <a:xfrm>
                <a:off x="3942" y="3525"/>
                <a:ext cx="79" cy="34"/>
              </a:xfrm>
              <a:custGeom>
                <a:avLst/>
                <a:gdLst>
                  <a:gd name="T0" fmla="*/ 2 w 79"/>
                  <a:gd name="T1" fmla="*/ 0 h 34"/>
                  <a:gd name="T2" fmla="*/ 77 w 79"/>
                  <a:gd name="T3" fmla="*/ 0 h 34"/>
                  <a:gd name="T4" fmla="*/ 78 w 79"/>
                  <a:gd name="T5" fmla="*/ 1 h 34"/>
                  <a:gd name="T6" fmla="*/ 78 w 79"/>
                  <a:gd name="T7" fmla="*/ 4 h 34"/>
                  <a:gd name="T8" fmla="*/ 79 w 79"/>
                  <a:gd name="T9" fmla="*/ 7 h 34"/>
                  <a:gd name="T10" fmla="*/ 76 w 79"/>
                  <a:gd name="T11" fmla="*/ 16 h 34"/>
                  <a:gd name="T12" fmla="*/ 67 w 79"/>
                  <a:gd name="T13" fmla="*/ 25 h 34"/>
                  <a:gd name="T14" fmla="*/ 54 w 79"/>
                  <a:gd name="T15" fmla="*/ 32 h 34"/>
                  <a:gd name="T16" fmla="*/ 39 w 79"/>
                  <a:gd name="T17" fmla="*/ 34 h 34"/>
                  <a:gd name="T18" fmla="*/ 24 w 79"/>
                  <a:gd name="T19" fmla="*/ 32 h 34"/>
                  <a:gd name="T20" fmla="*/ 12 w 79"/>
                  <a:gd name="T21" fmla="*/ 25 h 34"/>
                  <a:gd name="T22" fmla="*/ 4 w 79"/>
                  <a:gd name="T23" fmla="*/ 16 h 34"/>
                  <a:gd name="T24" fmla="*/ 0 w 79"/>
                  <a:gd name="T25" fmla="*/ 7 h 34"/>
                  <a:gd name="T26" fmla="*/ 1 w 79"/>
                  <a:gd name="T27" fmla="*/ 4 h 34"/>
                  <a:gd name="T28" fmla="*/ 1 w 79"/>
                  <a:gd name="T29" fmla="*/ 1 h 34"/>
                  <a:gd name="T30" fmla="*/ 2 w 79"/>
                  <a:gd name="T31" fmla="*/ 0 h 3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79" h="34">
                    <a:moveTo>
                      <a:pt x="2" y="0"/>
                    </a:moveTo>
                    <a:lnTo>
                      <a:pt x="77" y="0"/>
                    </a:lnTo>
                    <a:lnTo>
                      <a:pt x="78" y="1"/>
                    </a:lnTo>
                    <a:lnTo>
                      <a:pt x="78" y="4"/>
                    </a:lnTo>
                    <a:lnTo>
                      <a:pt x="79" y="7"/>
                    </a:lnTo>
                    <a:lnTo>
                      <a:pt x="76" y="16"/>
                    </a:lnTo>
                    <a:lnTo>
                      <a:pt x="67" y="25"/>
                    </a:lnTo>
                    <a:lnTo>
                      <a:pt x="54" y="32"/>
                    </a:lnTo>
                    <a:lnTo>
                      <a:pt x="39" y="34"/>
                    </a:lnTo>
                    <a:lnTo>
                      <a:pt x="24" y="32"/>
                    </a:lnTo>
                    <a:lnTo>
                      <a:pt x="12" y="25"/>
                    </a:lnTo>
                    <a:lnTo>
                      <a:pt x="4" y="16"/>
                    </a:lnTo>
                    <a:lnTo>
                      <a:pt x="0" y="7"/>
                    </a:lnTo>
                    <a:lnTo>
                      <a:pt x="1" y="4"/>
                    </a:lnTo>
                    <a:lnTo>
                      <a:pt x="1" y="1"/>
                    </a:lnTo>
                    <a:lnTo>
                      <a:pt x="2"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13" name="Freeform 263"/>
              <p:cNvSpPr>
                <a:spLocks/>
              </p:cNvSpPr>
              <p:nvPr/>
            </p:nvSpPr>
            <p:spPr bwMode="auto">
              <a:xfrm>
                <a:off x="3813" y="3525"/>
                <a:ext cx="76" cy="34"/>
              </a:xfrm>
              <a:custGeom>
                <a:avLst/>
                <a:gdLst>
                  <a:gd name="T0" fmla="*/ 0 w 76"/>
                  <a:gd name="T1" fmla="*/ 0 h 34"/>
                  <a:gd name="T2" fmla="*/ 76 w 76"/>
                  <a:gd name="T3" fmla="*/ 0 h 34"/>
                  <a:gd name="T4" fmla="*/ 76 w 76"/>
                  <a:gd name="T5" fmla="*/ 7 h 34"/>
                  <a:gd name="T6" fmla="*/ 73 w 76"/>
                  <a:gd name="T7" fmla="*/ 16 h 34"/>
                  <a:gd name="T8" fmla="*/ 65 w 76"/>
                  <a:gd name="T9" fmla="*/ 25 h 34"/>
                  <a:gd name="T10" fmla="*/ 53 w 76"/>
                  <a:gd name="T11" fmla="*/ 32 h 34"/>
                  <a:gd name="T12" fmla="*/ 38 w 76"/>
                  <a:gd name="T13" fmla="*/ 34 h 34"/>
                  <a:gd name="T14" fmla="*/ 23 w 76"/>
                  <a:gd name="T15" fmla="*/ 32 h 34"/>
                  <a:gd name="T16" fmla="*/ 11 w 76"/>
                  <a:gd name="T17" fmla="*/ 25 h 34"/>
                  <a:gd name="T18" fmla="*/ 2 w 76"/>
                  <a:gd name="T19" fmla="*/ 16 h 34"/>
                  <a:gd name="T20" fmla="*/ 0 w 76"/>
                  <a:gd name="T21" fmla="*/ 7 h 34"/>
                  <a:gd name="T22" fmla="*/ 0 w 76"/>
                  <a:gd name="T23" fmla="*/ 0 h 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6" h="34">
                    <a:moveTo>
                      <a:pt x="0" y="0"/>
                    </a:moveTo>
                    <a:lnTo>
                      <a:pt x="76" y="0"/>
                    </a:lnTo>
                    <a:lnTo>
                      <a:pt x="76" y="7"/>
                    </a:lnTo>
                    <a:lnTo>
                      <a:pt x="73" y="16"/>
                    </a:lnTo>
                    <a:lnTo>
                      <a:pt x="65" y="25"/>
                    </a:lnTo>
                    <a:lnTo>
                      <a:pt x="53" y="32"/>
                    </a:lnTo>
                    <a:lnTo>
                      <a:pt x="38" y="34"/>
                    </a:lnTo>
                    <a:lnTo>
                      <a:pt x="23" y="32"/>
                    </a:lnTo>
                    <a:lnTo>
                      <a:pt x="11" y="25"/>
                    </a:lnTo>
                    <a:lnTo>
                      <a:pt x="2" y="16"/>
                    </a:lnTo>
                    <a:lnTo>
                      <a:pt x="0" y="7"/>
                    </a:lnTo>
                    <a:lnTo>
                      <a:pt x="0"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14" name="Line 264"/>
              <p:cNvSpPr>
                <a:spLocks noChangeShapeType="1"/>
              </p:cNvSpPr>
              <p:nvPr/>
            </p:nvSpPr>
            <p:spPr bwMode="auto">
              <a:xfrm flipH="1" flipV="1">
                <a:off x="3851" y="3446"/>
                <a:ext cx="38" cy="79"/>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4">
                    <a:solidFill>
                      <a:srgbClr val="000000"/>
                    </a:solidFill>
                    <a:round/>
                    <a:headEnd/>
                    <a:tailEnd/>
                  </a14:hiddenLine>
                </a:ext>
              </a:extLst>
            </p:spPr>
            <p:txBody>
              <a:bodyPr/>
              <a:lstStyle/>
              <a:p>
                <a:endParaRPr lang="es-CL" dirty="0"/>
              </a:p>
            </p:txBody>
          </p:sp>
          <p:sp>
            <p:nvSpPr>
              <p:cNvPr id="2115" name="Line 265"/>
              <p:cNvSpPr>
                <a:spLocks noChangeShapeType="1"/>
              </p:cNvSpPr>
              <p:nvPr/>
            </p:nvSpPr>
            <p:spPr bwMode="auto">
              <a:xfrm flipH="1">
                <a:off x="3813" y="3446"/>
                <a:ext cx="38" cy="79"/>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4">
                    <a:solidFill>
                      <a:srgbClr val="000000"/>
                    </a:solidFill>
                    <a:round/>
                    <a:headEnd/>
                    <a:tailEnd/>
                  </a14:hiddenLine>
                </a:ext>
              </a:extLst>
            </p:spPr>
            <p:txBody>
              <a:bodyPr/>
              <a:lstStyle/>
              <a:p>
                <a:endParaRPr lang="es-CL" dirty="0"/>
              </a:p>
            </p:txBody>
          </p:sp>
          <p:sp>
            <p:nvSpPr>
              <p:cNvPr id="2116" name="Line 266"/>
              <p:cNvSpPr>
                <a:spLocks noChangeShapeType="1"/>
              </p:cNvSpPr>
              <p:nvPr/>
            </p:nvSpPr>
            <p:spPr bwMode="auto">
              <a:xfrm flipH="1">
                <a:off x="3812" y="3525"/>
                <a:ext cx="1" cy="1"/>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4">
                    <a:solidFill>
                      <a:srgbClr val="000000"/>
                    </a:solidFill>
                    <a:round/>
                    <a:headEnd/>
                    <a:tailEnd/>
                  </a14:hiddenLine>
                </a:ext>
              </a:extLst>
            </p:spPr>
            <p:txBody>
              <a:bodyPr/>
              <a:lstStyle/>
              <a:p>
                <a:endParaRPr lang="es-CL" dirty="0"/>
              </a:p>
            </p:txBody>
          </p:sp>
          <p:sp>
            <p:nvSpPr>
              <p:cNvPr id="2117" name="Line 267"/>
              <p:cNvSpPr>
                <a:spLocks noChangeShapeType="1"/>
              </p:cNvSpPr>
              <p:nvPr/>
            </p:nvSpPr>
            <p:spPr bwMode="auto">
              <a:xfrm>
                <a:off x="3812" y="3526"/>
                <a:ext cx="0" cy="4"/>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4">
                    <a:solidFill>
                      <a:srgbClr val="000000"/>
                    </a:solidFill>
                    <a:round/>
                    <a:headEnd/>
                    <a:tailEnd/>
                  </a14:hiddenLine>
                </a:ext>
              </a:extLst>
            </p:spPr>
            <p:txBody>
              <a:bodyPr/>
              <a:lstStyle/>
              <a:p>
                <a:endParaRPr lang="es-CL" dirty="0"/>
              </a:p>
            </p:txBody>
          </p:sp>
          <p:sp>
            <p:nvSpPr>
              <p:cNvPr id="2118" name="Line 268"/>
              <p:cNvSpPr>
                <a:spLocks noChangeShapeType="1"/>
              </p:cNvSpPr>
              <p:nvPr/>
            </p:nvSpPr>
            <p:spPr bwMode="auto">
              <a:xfrm>
                <a:off x="3812" y="3530"/>
                <a:ext cx="0" cy="4"/>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4">
                    <a:solidFill>
                      <a:srgbClr val="000000"/>
                    </a:solidFill>
                    <a:round/>
                    <a:headEnd/>
                    <a:tailEnd/>
                  </a14:hiddenLine>
                </a:ext>
              </a:extLst>
            </p:spPr>
            <p:txBody>
              <a:bodyPr/>
              <a:lstStyle/>
              <a:p>
                <a:endParaRPr lang="es-CL" dirty="0"/>
              </a:p>
            </p:txBody>
          </p:sp>
          <p:sp>
            <p:nvSpPr>
              <p:cNvPr id="2119" name="Line 269"/>
              <p:cNvSpPr>
                <a:spLocks noChangeShapeType="1"/>
              </p:cNvSpPr>
              <p:nvPr/>
            </p:nvSpPr>
            <p:spPr bwMode="auto">
              <a:xfrm>
                <a:off x="3812" y="3534"/>
                <a:ext cx="2" cy="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4">
                    <a:solidFill>
                      <a:srgbClr val="000000"/>
                    </a:solidFill>
                    <a:round/>
                    <a:headEnd/>
                    <a:tailEnd/>
                  </a14:hiddenLine>
                </a:ext>
              </a:extLst>
            </p:spPr>
            <p:txBody>
              <a:bodyPr/>
              <a:lstStyle/>
              <a:p>
                <a:endParaRPr lang="es-CL" dirty="0"/>
              </a:p>
            </p:txBody>
          </p:sp>
          <p:sp>
            <p:nvSpPr>
              <p:cNvPr id="2120" name="Line 270"/>
              <p:cNvSpPr>
                <a:spLocks noChangeShapeType="1"/>
              </p:cNvSpPr>
              <p:nvPr/>
            </p:nvSpPr>
            <p:spPr bwMode="auto">
              <a:xfrm>
                <a:off x="3814" y="3539"/>
                <a:ext cx="4" cy="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4">
                    <a:solidFill>
                      <a:srgbClr val="000000"/>
                    </a:solidFill>
                    <a:round/>
                    <a:headEnd/>
                    <a:tailEnd/>
                  </a14:hiddenLine>
                </a:ext>
              </a:extLst>
            </p:spPr>
            <p:txBody>
              <a:bodyPr/>
              <a:lstStyle/>
              <a:p>
                <a:endParaRPr lang="es-CL" dirty="0"/>
              </a:p>
            </p:txBody>
          </p:sp>
          <p:sp>
            <p:nvSpPr>
              <p:cNvPr id="2121" name="Line 271"/>
              <p:cNvSpPr>
                <a:spLocks noChangeShapeType="1"/>
              </p:cNvSpPr>
              <p:nvPr/>
            </p:nvSpPr>
            <p:spPr bwMode="auto">
              <a:xfrm>
                <a:off x="3818" y="3546"/>
                <a:ext cx="7" cy="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4">
                    <a:solidFill>
                      <a:srgbClr val="000000"/>
                    </a:solidFill>
                    <a:round/>
                    <a:headEnd/>
                    <a:tailEnd/>
                  </a14:hiddenLine>
                </a:ext>
              </a:extLst>
            </p:spPr>
            <p:txBody>
              <a:bodyPr/>
              <a:lstStyle/>
              <a:p>
                <a:endParaRPr lang="es-CL" dirty="0"/>
              </a:p>
            </p:txBody>
          </p:sp>
          <p:sp>
            <p:nvSpPr>
              <p:cNvPr id="2122" name="Line 272"/>
              <p:cNvSpPr>
                <a:spLocks noChangeShapeType="1"/>
              </p:cNvSpPr>
              <p:nvPr/>
            </p:nvSpPr>
            <p:spPr bwMode="auto">
              <a:xfrm>
                <a:off x="3825" y="3551"/>
                <a:ext cx="11" cy="4"/>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4">
                    <a:solidFill>
                      <a:srgbClr val="000000"/>
                    </a:solidFill>
                    <a:round/>
                    <a:headEnd/>
                    <a:tailEnd/>
                  </a14:hiddenLine>
                </a:ext>
              </a:extLst>
            </p:spPr>
            <p:txBody>
              <a:bodyPr/>
              <a:lstStyle/>
              <a:p>
                <a:endParaRPr lang="es-CL" dirty="0"/>
              </a:p>
            </p:txBody>
          </p:sp>
          <p:sp>
            <p:nvSpPr>
              <p:cNvPr id="2123" name="Line 273"/>
              <p:cNvSpPr>
                <a:spLocks noChangeShapeType="1"/>
              </p:cNvSpPr>
              <p:nvPr/>
            </p:nvSpPr>
            <p:spPr bwMode="auto">
              <a:xfrm>
                <a:off x="3836" y="3555"/>
                <a:ext cx="15" cy="4"/>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4">
                    <a:solidFill>
                      <a:srgbClr val="000000"/>
                    </a:solidFill>
                    <a:round/>
                    <a:headEnd/>
                    <a:tailEnd/>
                  </a14:hiddenLine>
                </a:ext>
              </a:extLst>
            </p:spPr>
            <p:txBody>
              <a:bodyPr/>
              <a:lstStyle/>
              <a:p>
                <a:endParaRPr lang="es-CL" dirty="0"/>
              </a:p>
            </p:txBody>
          </p:sp>
          <p:sp>
            <p:nvSpPr>
              <p:cNvPr id="2124" name="Line 274"/>
              <p:cNvSpPr>
                <a:spLocks noChangeShapeType="1"/>
              </p:cNvSpPr>
              <p:nvPr/>
            </p:nvSpPr>
            <p:spPr bwMode="auto">
              <a:xfrm flipV="1">
                <a:off x="3851" y="3558"/>
                <a:ext cx="14" cy="1"/>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4">
                    <a:solidFill>
                      <a:srgbClr val="000000"/>
                    </a:solidFill>
                    <a:round/>
                    <a:headEnd/>
                    <a:tailEnd/>
                  </a14:hiddenLine>
                </a:ext>
              </a:extLst>
            </p:spPr>
            <p:txBody>
              <a:bodyPr/>
              <a:lstStyle/>
              <a:p>
                <a:endParaRPr lang="es-CL" dirty="0"/>
              </a:p>
            </p:txBody>
          </p:sp>
          <p:sp>
            <p:nvSpPr>
              <p:cNvPr id="2125" name="Line 275"/>
              <p:cNvSpPr>
                <a:spLocks noChangeShapeType="1"/>
              </p:cNvSpPr>
              <p:nvPr/>
            </p:nvSpPr>
            <p:spPr bwMode="auto">
              <a:xfrm flipV="1">
                <a:off x="3865" y="3554"/>
                <a:ext cx="10" cy="4"/>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4">
                    <a:solidFill>
                      <a:srgbClr val="000000"/>
                    </a:solidFill>
                    <a:round/>
                    <a:headEnd/>
                    <a:tailEnd/>
                  </a14:hiddenLine>
                </a:ext>
              </a:extLst>
            </p:spPr>
            <p:txBody>
              <a:bodyPr/>
              <a:lstStyle/>
              <a:p>
                <a:endParaRPr lang="es-CL" dirty="0"/>
              </a:p>
            </p:txBody>
          </p:sp>
          <p:sp>
            <p:nvSpPr>
              <p:cNvPr id="2126" name="Line 276"/>
              <p:cNvSpPr>
                <a:spLocks noChangeShapeType="1"/>
              </p:cNvSpPr>
              <p:nvPr/>
            </p:nvSpPr>
            <p:spPr bwMode="auto">
              <a:xfrm flipV="1">
                <a:off x="3875" y="3549"/>
                <a:ext cx="6" cy="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4">
                    <a:solidFill>
                      <a:srgbClr val="000000"/>
                    </a:solidFill>
                    <a:round/>
                    <a:headEnd/>
                    <a:tailEnd/>
                  </a14:hiddenLine>
                </a:ext>
              </a:extLst>
            </p:spPr>
            <p:txBody>
              <a:bodyPr/>
              <a:lstStyle/>
              <a:p>
                <a:endParaRPr lang="es-CL" dirty="0"/>
              </a:p>
            </p:txBody>
          </p:sp>
          <p:sp>
            <p:nvSpPr>
              <p:cNvPr id="2127" name="Line 277"/>
              <p:cNvSpPr>
                <a:spLocks noChangeShapeType="1"/>
              </p:cNvSpPr>
              <p:nvPr/>
            </p:nvSpPr>
            <p:spPr bwMode="auto">
              <a:xfrm flipV="1">
                <a:off x="3881" y="3544"/>
                <a:ext cx="4" cy="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4">
                    <a:solidFill>
                      <a:srgbClr val="000000"/>
                    </a:solidFill>
                    <a:round/>
                    <a:headEnd/>
                    <a:tailEnd/>
                  </a14:hiddenLine>
                </a:ext>
              </a:extLst>
            </p:spPr>
            <p:txBody>
              <a:bodyPr/>
              <a:lstStyle/>
              <a:p>
                <a:endParaRPr lang="es-CL" dirty="0"/>
              </a:p>
            </p:txBody>
          </p:sp>
          <p:sp>
            <p:nvSpPr>
              <p:cNvPr id="2128" name="Line 278"/>
              <p:cNvSpPr>
                <a:spLocks noChangeShapeType="1"/>
              </p:cNvSpPr>
              <p:nvPr/>
            </p:nvSpPr>
            <p:spPr bwMode="auto">
              <a:xfrm flipV="1">
                <a:off x="3885" y="3537"/>
                <a:ext cx="2" cy="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4">
                    <a:solidFill>
                      <a:srgbClr val="000000"/>
                    </a:solidFill>
                    <a:round/>
                    <a:headEnd/>
                    <a:tailEnd/>
                  </a14:hiddenLine>
                </a:ext>
              </a:extLst>
            </p:spPr>
            <p:txBody>
              <a:bodyPr/>
              <a:lstStyle/>
              <a:p>
                <a:endParaRPr lang="es-CL" dirty="0"/>
              </a:p>
            </p:txBody>
          </p:sp>
          <p:sp>
            <p:nvSpPr>
              <p:cNvPr id="2129" name="Line 279"/>
              <p:cNvSpPr>
                <a:spLocks noChangeShapeType="1"/>
              </p:cNvSpPr>
              <p:nvPr/>
            </p:nvSpPr>
            <p:spPr bwMode="auto">
              <a:xfrm flipV="1">
                <a:off x="3887" y="3532"/>
                <a:ext cx="2" cy="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4">
                    <a:solidFill>
                      <a:srgbClr val="000000"/>
                    </a:solidFill>
                    <a:round/>
                    <a:headEnd/>
                    <a:tailEnd/>
                  </a14:hiddenLine>
                </a:ext>
              </a:extLst>
            </p:spPr>
            <p:txBody>
              <a:bodyPr/>
              <a:lstStyle/>
              <a:p>
                <a:endParaRPr lang="es-CL" dirty="0"/>
              </a:p>
            </p:txBody>
          </p:sp>
          <p:sp>
            <p:nvSpPr>
              <p:cNvPr id="2130" name="Line 280"/>
              <p:cNvSpPr>
                <a:spLocks noChangeShapeType="1"/>
              </p:cNvSpPr>
              <p:nvPr/>
            </p:nvSpPr>
            <p:spPr bwMode="auto">
              <a:xfrm flipV="1">
                <a:off x="3889" y="3529"/>
                <a:ext cx="0" cy="3"/>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4">
                    <a:solidFill>
                      <a:srgbClr val="000000"/>
                    </a:solidFill>
                    <a:round/>
                    <a:headEnd/>
                    <a:tailEnd/>
                  </a14:hiddenLine>
                </a:ext>
              </a:extLst>
            </p:spPr>
            <p:txBody>
              <a:bodyPr/>
              <a:lstStyle/>
              <a:p>
                <a:endParaRPr lang="es-CL" dirty="0"/>
              </a:p>
            </p:txBody>
          </p:sp>
          <p:sp>
            <p:nvSpPr>
              <p:cNvPr id="2131" name="Line 281"/>
              <p:cNvSpPr>
                <a:spLocks noChangeShapeType="1"/>
              </p:cNvSpPr>
              <p:nvPr/>
            </p:nvSpPr>
            <p:spPr bwMode="auto">
              <a:xfrm flipV="1">
                <a:off x="3889" y="3526"/>
                <a:ext cx="0" cy="3"/>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4">
                    <a:solidFill>
                      <a:srgbClr val="000000"/>
                    </a:solidFill>
                    <a:round/>
                    <a:headEnd/>
                    <a:tailEnd/>
                  </a14:hiddenLine>
                </a:ext>
              </a:extLst>
            </p:spPr>
            <p:txBody>
              <a:bodyPr/>
              <a:lstStyle/>
              <a:p>
                <a:endParaRPr lang="es-CL" dirty="0"/>
              </a:p>
            </p:txBody>
          </p:sp>
          <p:sp>
            <p:nvSpPr>
              <p:cNvPr id="2132" name="Line 282"/>
              <p:cNvSpPr>
                <a:spLocks noChangeShapeType="1"/>
              </p:cNvSpPr>
              <p:nvPr/>
            </p:nvSpPr>
            <p:spPr bwMode="auto">
              <a:xfrm flipH="1" flipV="1">
                <a:off x="3981" y="3446"/>
                <a:ext cx="38" cy="79"/>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4">
                    <a:solidFill>
                      <a:srgbClr val="000000"/>
                    </a:solidFill>
                    <a:round/>
                    <a:headEnd/>
                    <a:tailEnd/>
                  </a14:hiddenLine>
                </a:ext>
              </a:extLst>
            </p:spPr>
            <p:txBody>
              <a:bodyPr/>
              <a:lstStyle/>
              <a:p>
                <a:endParaRPr lang="es-CL" dirty="0"/>
              </a:p>
            </p:txBody>
          </p:sp>
          <p:sp>
            <p:nvSpPr>
              <p:cNvPr id="2133" name="Line 283"/>
              <p:cNvSpPr>
                <a:spLocks noChangeShapeType="1"/>
              </p:cNvSpPr>
              <p:nvPr/>
            </p:nvSpPr>
            <p:spPr bwMode="auto">
              <a:xfrm flipH="1">
                <a:off x="3944" y="3446"/>
                <a:ext cx="37" cy="79"/>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4">
                    <a:solidFill>
                      <a:srgbClr val="000000"/>
                    </a:solidFill>
                    <a:round/>
                    <a:headEnd/>
                    <a:tailEnd/>
                  </a14:hiddenLine>
                </a:ext>
              </a:extLst>
            </p:spPr>
            <p:txBody>
              <a:bodyPr/>
              <a:lstStyle/>
              <a:p>
                <a:endParaRPr lang="es-CL" dirty="0"/>
              </a:p>
            </p:txBody>
          </p:sp>
          <p:sp>
            <p:nvSpPr>
              <p:cNvPr id="2134" name="Line 284"/>
              <p:cNvSpPr>
                <a:spLocks noChangeShapeType="1"/>
              </p:cNvSpPr>
              <p:nvPr/>
            </p:nvSpPr>
            <p:spPr bwMode="auto">
              <a:xfrm>
                <a:off x="3944" y="3525"/>
                <a:ext cx="0" cy="1"/>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4">
                    <a:solidFill>
                      <a:srgbClr val="000000"/>
                    </a:solidFill>
                    <a:round/>
                    <a:headEnd/>
                    <a:tailEnd/>
                  </a14:hiddenLine>
                </a:ext>
              </a:extLst>
            </p:spPr>
            <p:txBody>
              <a:bodyPr/>
              <a:lstStyle/>
              <a:p>
                <a:endParaRPr lang="es-CL" dirty="0"/>
              </a:p>
            </p:txBody>
          </p:sp>
          <p:sp>
            <p:nvSpPr>
              <p:cNvPr id="2135" name="Line 285"/>
              <p:cNvSpPr>
                <a:spLocks noChangeShapeType="1"/>
              </p:cNvSpPr>
              <p:nvPr/>
            </p:nvSpPr>
            <p:spPr bwMode="auto">
              <a:xfrm flipH="1">
                <a:off x="3943" y="3526"/>
                <a:ext cx="1" cy="4"/>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4">
                    <a:solidFill>
                      <a:srgbClr val="000000"/>
                    </a:solidFill>
                    <a:round/>
                    <a:headEnd/>
                    <a:tailEnd/>
                  </a14:hiddenLine>
                </a:ext>
              </a:extLst>
            </p:spPr>
            <p:txBody>
              <a:bodyPr/>
              <a:lstStyle/>
              <a:p>
                <a:endParaRPr lang="es-CL" dirty="0"/>
              </a:p>
            </p:txBody>
          </p:sp>
          <p:sp>
            <p:nvSpPr>
              <p:cNvPr id="2136" name="Line 286"/>
              <p:cNvSpPr>
                <a:spLocks noChangeShapeType="1"/>
              </p:cNvSpPr>
              <p:nvPr/>
            </p:nvSpPr>
            <p:spPr bwMode="auto">
              <a:xfrm>
                <a:off x="3943" y="3530"/>
                <a:ext cx="1" cy="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4">
                    <a:solidFill>
                      <a:srgbClr val="000000"/>
                    </a:solidFill>
                    <a:round/>
                    <a:headEnd/>
                    <a:tailEnd/>
                  </a14:hiddenLine>
                </a:ext>
              </a:extLst>
            </p:spPr>
            <p:txBody>
              <a:bodyPr/>
              <a:lstStyle/>
              <a:p>
                <a:endParaRPr lang="es-CL" dirty="0"/>
              </a:p>
            </p:txBody>
          </p:sp>
          <p:sp>
            <p:nvSpPr>
              <p:cNvPr id="2137" name="Line 287"/>
              <p:cNvSpPr>
                <a:spLocks noChangeShapeType="1"/>
              </p:cNvSpPr>
              <p:nvPr/>
            </p:nvSpPr>
            <p:spPr bwMode="auto">
              <a:xfrm>
                <a:off x="3944" y="3535"/>
                <a:ext cx="2" cy="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4">
                    <a:solidFill>
                      <a:srgbClr val="000000"/>
                    </a:solidFill>
                    <a:round/>
                    <a:headEnd/>
                    <a:tailEnd/>
                  </a14:hiddenLine>
                </a:ext>
              </a:extLst>
            </p:spPr>
            <p:txBody>
              <a:bodyPr/>
              <a:lstStyle/>
              <a:p>
                <a:endParaRPr lang="es-CL" dirty="0"/>
              </a:p>
            </p:txBody>
          </p:sp>
          <p:sp>
            <p:nvSpPr>
              <p:cNvPr id="2138" name="Line 288"/>
              <p:cNvSpPr>
                <a:spLocks noChangeShapeType="1"/>
              </p:cNvSpPr>
              <p:nvPr/>
            </p:nvSpPr>
            <p:spPr bwMode="auto">
              <a:xfrm>
                <a:off x="3946" y="3540"/>
                <a:ext cx="3" cy="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4">
                    <a:solidFill>
                      <a:srgbClr val="000000"/>
                    </a:solidFill>
                    <a:round/>
                    <a:headEnd/>
                    <a:tailEnd/>
                  </a14:hiddenLine>
                </a:ext>
              </a:extLst>
            </p:spPr>
            <p:txBody>
              <a:bodyPr/>
              <a:lstStyle/>
              <a:p>
                <a:endParaRPr lang="es-CL" dirty="0"/>
              </a:p>
            </p:txBody>
          </p:sp>
          <p:sp>
            <p:nvSpPr>
              <p:cNvPr id="2139" name="Line 289"/>
              <p:cNvSpPr>
                <a:spLocks noChangeShapeType="1"/>
              </p:cNvSpPr>
              <p:nvPr/>
            </p:nvSpPr>
            <p:spPr bwMode="auto">
              <a:xfrm>
                <a:off x="3949" y="3547"/>
                <a:ext cx="7" cy="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4">
                    <a:solidFill>
                      <a:srgbClr val="000000"/>
                    </a:solidFill>
                    <a:round/>
                    <a:headEnd/>
                    <a:tailEnd/>
                  </a14:hiddenLine>
                </a:ext>
              </a:extLst>
            </p:spPr>
            <p:txBody>
              <a:bodyPr/>
              <a:lstStyle/>
              <a:p>
                <a:endParaRPr lang="es-CL" dirty="0"/>
              </a:p>
            </p:txBody>
          </p:sp>
          <p:sp>
            <p:nvSpPr>
              <p:cNvPr id="2140" name="Line 290"/>
              <p:cNvSpPr>
                <a:spLocks noChangeShapeType="1"/>
              </p:cNvSpPr>
              <p:nvPr/>
            </p:nvSpPr>
            <p:spPr bwMode="auto">
              <a:xfrm>
                <a:off x="3956" y="3552"/>
                <a:ext cx="10" cy="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4">
                    <a:solidFill>
                      <a:srgbClr val="000000"/>
                    </a:solidFill>
                    <a:round/>
                    <a:headEnd/>
                    <a:tailEnd/>
                  </a14:hiddenLine>
                </a:ext>
              </a:extLst>
            </p:spPr>
            <p:txBody>
              <a:bodyPr/>
              <a:lstStyle/>
              <a:p>
                <a:endParaRPr lang="es-CL" dirty="0"/>
              </a:p>
            </p:txBody>
          </p:sp>
          <p:sp>
            <p:nvSpPr>
              <p:cNvPr id="2141" name="Line 291"/>
              <p:cNvSpPr>
                <a:spLocks noChangeShapeType="1"/>
              </p:cNvSpPr>
              <p:nvPr/>
            </p:nvSpPr>
            <p:spPr bwMode="auto">
              <a:xfrm>
                <a:off x="3966" y="3557"/>
                <a:ext cx="15" cy="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4">
                    <a:solidFill>
                      <a:srgbClr val="000000"/>
                    </a:solidFill>
                    <a:round/>
                    <a:headEnd/>
                    <a:tailEnd/>
                  </a14:hiddenLine>
                </a:ext>
              </a:extLst>
            </p:spPr>
            <p:txBody>
              <a:bodyPr/>
              <a:lstStyle/>
              <a:p>
                <a:endParaRPr lang="es-CL" dirty="0"/>
              </a:p>
            </p:txBody>
          </p:sp>
          <p:sp>
            <p:nvSpPr>
              <p:cNvPr id="2142" name="Line 292"/>
              <p:cNvSpPr>
                <a:spLocks noChangeShapeType="1"/>
              </p:cNvSpPr>
              <p:nvPr/>
            </p:nvSpPr>
            <p:spPr bwMode="auto">
              <a:xfrm flipV="1">
                <a:off x="3981" y="3558"/>
                <a:ext cx="14" cy="1"/>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4">
                    <a:solidFill>
                      <a:srgbClr val="000000"/>
                    </a:solidFill>
                    <a:round/>
                    <a:headEnd/>
                    <a:tailEnd/>
                  </a14:hiddenLine>
                </a:ext>
              </a:extLst>
            </p:spPr>
            <p:txBody>
              <a:bodyPr/>
              <a:lstStyle/>
              <a:p>
                <a:endParaRPr lang="es-CL" dirty="0"/>
              </a:p>
            </p:txBody>
          </p:sp>
          <p:sp>
            <p:nvSpPr>
              <p:cNvPr id="2143" name="Line 293"/>
              <p:cNvSpPr>
                <a:spLocks noChangeShapeType="1"/>
              </p:cNvSpPr>
              <p:nvPr/>
            </p:nvSpPr>
            <p:spPr bwMode="auto">
              <a:xfrm flipV="1">
                <a:off x="3995" y="3555"/>
                <a:ext cx="10" cy="3"/>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4">
                    <a:solidFill>
                      <a:srgbClr val="000000"/>
                    </a:solidFill>
                    <a:round/>
                    <a:headEnd/>
                    <a:tailEnd/>
                  </a14:hiddenLine>
                </a:ext>
              </a:extLst>
            </p:spPr>
            <p:txBody>
              <a:bodyPr/>
              <a:lstStyle/>
              <a:p>
                <a:endParaRPr lang="es-CL" dirty="0"/>
              </a:p>
            </p:txBody>
          </p:sp>
          <p:sp>
            <p:nvSpPr>
              <p:cNvPr id="2144" name="Line 294"/>
              <p:cNvSpPr>
                <a:spLocks noChangeShapeType="1"/>
              </p:cNvSpPr>
              <p:nvPr/>
            </p:nvSpPr>
            <p:spPr bwMode="auto">
              <a:xfrm flipV="1">
                <a:off x="4005" y="3551"/>
                <a:ext cx="7" cy="4"/>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4">
                    <a:solidFill>
                      <a:srgbClr val="000000"/>
                    </a:solidFill>
                    <a:round/>
                    <a:headEnd/>
                    <a:tailEnd/>
                  </a14:hiddenLine>
                </a:ext>
              </a:extLst>
            </p:spPr>
            <p:txBody>
              <a:bodyPr/>
              <a:lstStyle/>
              <a:p>
                <a:endParaRPr lang="es-CL" dirty="0"/>
              </a:p>
            </p:txBody>
          </p:sp>
          <p:sp>
            <p:nvSpPr>
              <p:cNvPr id="2145" name="Line 295"/>
              <p:cNvSpPr>
                <a:spLocks noChangeShapeType="1"/>
              </p:cNvSpPr>
              <p:nvPr/>
            </p:nvSpPr>
            <p:spPr bwMode="auto">
              <a:xfrm flipV="1">
                <a:off x="4012" y="3546"/>
                <a:ext cx="4" cy="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4">
                    <a:solidFill>
                      <a:srgbClr val="000000"/>
                    </a:solidFill>
                    <a:round/>
                    <a:headEnd/>
                    <a:tailEnd/>
                  </a14:hiddenLine>
                </a:ext>
              </a:extLst>
            </p:spPr>
            <p:txBody>
              <a:bodyPr/>
              <a:lstStyle/>
              <a:p>
                <a:endParaRPr lang="es-CL" dirty="0"/>
              </a:p>
            </p:txBody>
          </p:sp>
          <p:sp>
            <p:nvSpPr>
              <p:cNvPr id="2146" name="Line 296"/>
              <p:cNvSpPr>
                <a:spLocks noChangeShapeType="1"/>
              </p:cNvSpPr>
              <p:nvPr/>
            </p:nvSpPr>
            <p:spPr bwMode="auto">
              <a:xfrm flipV="1">
                <a:off x="4016" y="3539"/>
                <a:ext cx="3" cy="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4">
                    <a:solidFill>
                      <a:srgbClr val="000000"/>
                    </a:solidFill>
                    <a:round/>
                    <a:headEnd/>
                    <a:tailEnd/>
                  </a14:hiddenLine>
                </a:ext>
              </a:extLst>
            </p:spPr>
            <p:txBody>
              <a:bodyPr/>
              <a:lstStyle/>
              <a:p>
                <a:endParaRPr lang="es-CL" dirty="0"/>
              </a:p>
            </p:txBody>
          </p:sp>
          <p:sp>
            <p:nvSpPr>
              <p:cNvPr id="2147" name="Line 297"/>
              <p:cNvSpPr>
                <a:spLocks noChangeShapeType="1"/>
              </p:cNvSpPr>
              <p:nvPr/>
            </p:nvSpPr>
            <p:spPr bwMode="auto">
              <a:xfrm flipV="1">
                <a:off x="4019" y="3534"/>
                <a:ext cx="1" cy="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4">
                    <a:solidFill>
                      <a:srgbClr val="000000"/>
                    </a:solidFill>
                    <a:round/>
                    <a:headEnd/>
                    <a:tailEnd/>
                  </a14:hiddenLine>
                </a:ext>
              </a:extLst>
            </p:spPr>
            <p:txBody>
              <a:bodyPr/>
              <a:lstStyle/>
              <a:p>
                <a:endParaRPr lang="es-CL" dirty="0"/>
              </a:p>
            </p:txBody>
          </p:sp>
          <p:sp>
            <p:nvSpPr>
              <p:cNvPr id="2148" name="Line 298"/>
              <p:cNvSpPr>
                <a:spLocks noChangeShapeType="1"/>
              </p:cNvSpPr>
              <p:nvPr/>
            </p:nvSpPr>
            <p:spPr bwMode="auto">
              <a:xfrm flipV="1">
                <a:off x="4020" y="3530"/>
                <a:ext cx="0" cy="4"/>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4">
                    <a:solidFill>
                      <a:srgbClr val="000000"/>
                    </a:solidFill>
                    <a:round/>
                    <a:headEnd/>
                    <a:tailEnd/>
                  </a14:hiddenLine>
                </a:ext>
              </a:extLst>
            </p:spPr>
            <p:txBody>
              <a:bodyPr/>
              <a:lstStyle/>
              <a:p>
                <a:endParaRPr lang="es-CL" dirty="0"/>
              </a:p>
            </p:txBody>
          </p:sp>
          <p:sp>
            <p:nvSpPr>
              <p:cNvPr id="2149" name="Line 299"/>
              <p:cNvSpPr>
                <a:spLocks noChangeShapeType="1"/>
              </p:cNvSpPr>
              <p:nvPr/>
            </p:nvSpPr>
            <p:spPr bwMode="auto">
              <a:xfrm flipH="1" flipV="1">
                <a:off x="4019" y="3526"/>
                <a:ext cx="1" cy="4"/>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4">
                    <a:solidFill>
                      <a:srgbClr val="000000"/>
                    </a:solidFill>
                    <a:round/>
                    <a:headEnd/>
                    <a:tailEnd/>
                  </a14:hiddenLine>
                </a:ext>
              </a:extLst>
            </p:spPr>
            <p:txBody>
              <a:bodyPr/>
              <a:lstStyle/>
              <a:p>
                <a:endParaRPr lang="es-CL" dirty="0"/>
              </a:p>
            </p:txBody>
          </p:sp>
          <p:sp>
            <p:nvSpPr>
              <p:cNvPr id="2150" name="Line 300"/>
              <p:cNvSpPr>
                <a:spLocks noChangeShapeType="1"/>
              </p:cNvSpPr>
              <p:nvPr/>
            </p:nvSpPr>
            <p:spPr bwMode="auto">
              <a:xfrm flipV="1">
                <a:off x="4019" y="3525"/>
                <a:ext cx="0" cy="1"/>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4">
                    <a:solidFill>
                      <a:srgbClr val="000000"/>
                    </a:solidFill>
                    <a:round/>
                    <a:headEnd/>
                    <a:tailEnd/>
                  </a14:hiddenLine>
                </a:ext>
              </a:extLst>
            </p:spPr>
            <p:txBody>
              <a:bodyPr/>
              <a:lstStyle/>
              <a:p>
                <a:endParaRPr lang="es-CL" dirty="0"/>
              </a:p>
            </p:txBody>
          </p:sp>
          <p:sp>
            <p:nvSpPr>
              <p:cNvPr id="2151" name="Freeform 301"/>
              <p:cNvSpPr>
                <a:spLocks/>
              </p:cNvSpPr>
              <p:nvPr/>
            </p:nvSpPr>
            <p:spPr bwMode="auto">
              <a:xfrm>
                <a:off x="3229" y="1854"/>
                <a:ext cx="176" cy="174"/>
              </a:xfrm>
              <a:custGeom>
                <a:avLst/>
                <a:gdLst>
                  <a:gd name="T0" fmla="*/ 87 w 176"/>
                  <a:gd name="T1" fmla="*/ 0 h 174"/>
                  <a:gd name="T2" fmla="*/ 111 w 176"/>
                  <a:gd name="T3" fmla="*/ 3 h 174"/>
                  <a:gd name="T4" fmla="*/ 133 w 176"/>
                  <a:gd name="T5" fmla="*/ 12 h 174"/>
                  <a:gd name="T6" fmla="*/ 150 w 176"/>
                  <a:gd name="T7" fmla="*/ 25 h 174"/>
                  <a:gd name="T8" fmla="*/ 164 w 176"/>
                  <a:gd name="T9" fmla="*/ 43 h 174"/>
                  <a:gd name="T10" fmla="*/ 172 w 176"/>
                  <a:gd name="T11" fmla="*/ 63 h 174"/>
                  <a:gd name="T12" fmla="*/ 176 w 176"/>
                  <a:gd name="T13" fmla="*/ 87 h 174"/>
                  <a:gd name="T14" fmla="*/ 172 w 176"/>
                  <a:gd name="T15" fmla="*/ 110 h 174"/>
                  <a:gd name="T16" fmla="*/ 164 w 176"/>
                  <a:gd name="T17" fmla="*/ 131 h 174"/>
                  <a:gd name="T18" fmla="*/ 150 w 176"/>
                  <a:gd name="T19" fmla="*/ 148 h 174"/>
                  <a:gd name="T20" fmla="*/ 133 w 176"/>
                  <a:gd name="T21" fmla="*/ 162 h 174"/>
                  <a:gd name="T22" fmla="*/ 111 w 176"/>
                  <a:gd name="T23" fmla="*/ 171 h 174"/>
                  <a:gd name="T24" fmla="*/ 87 w 176"/>
                  <a:gd name="T25" fmla="*/ 174 h 174"/>
                  <a:gd name="T26" fmla="*/ 65 w 176"/>
                  <a:gd name="T27" fmla="*/ 171 h 174"/>
                  <a:gd name="T28" fmla="*/ 44 w 176"/>
                  <a:gd name="T29" fmla="*/ 162 h 174"/>
                  <a:gd name="T30" fmla="*/ 26 w 176"/>
                  <a:gd name="T31" fmla="*/ 148 h 174"/>
                  <a:gd name="T32" fmla="*/ 12 w 176"/>
                  <a:gd name="T33" fmla="*/ 131 h 174"/>
                  <a:gd name="T34" fmla="*/ 3 w 176"/>
                  <a:gd name="T35" fmla="*/ 110 h 174"/>
                  <a:gd name="T36" fmla="*/ 0 w 176"/>
                  <a:gd name="T37" fmla="*/ 87 h 174"/>
                  <a:gd name="T38" fmla="*/ 3 w 176"/>
                  <a:gd name="T39" fmla="*/ 63 h 174"/>
                  <a:gd name="T40" fmla="*/ 12 w 176"/>
                  <a:gd name="T41" fmla="*/ 43 h 174"/>
                  <a:gd name="T42" fmla="*/ 26 w 176"/>
                  <a:gd name="T43" fmla="*/ 25 h 174"/>
                  <a:gd name="T44" fmla="*/ 44 w 176"/>
                  <a:gd name="T45" fmla="*/ 12 h 174"/>
                  <a:gd name="T46" fmla="*/ 65 w 176"/>
                  <a:gd name="T47" fmla="*/ 3 h 174"/>
                  <a:gd name="T48" fmla="*/ 87 w 176"/>
                  <a:gd name="T49" fmla="*/ 0 h 1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76" h="174">
                    <a:moveTo>
                      <a:pt x="87" y="0"/>
                    </a:moveTo>
                    <a:lnTo>
                      <a:pt x="111" y="3"/>
                    </a:lnTo>
                    <a:lnTo>
                      <a:pt x="133" y="12"/>
                    </a:lnTo>
                    <a:lnTo>
                      <a:pt x="150" y="25"/>
                    </a:lnTo>
                    <a:lnTo>
                      <a:pt x="164" y="43"/>
                    </a:lnTo>
                    <a:lnTo>
                      <a:pt x="172" y="63"/>
                    </a:lnTo>
                    <a:lnTo>
                      <a:pt x="176" y="87"/>
                    </a:lnTo>
                    <a:lnTo>
                      <a:pt x="172" y="110"/>
                    </a:lnTo>
                    <a:lnTo>
                      <a:pt x="164" y="131"/>
                    </a:lnTo>
                    <a:lnTo>
                      <a:pt x="150" y="148"/>
                    </a:lnTo>
                    <a:lnTo>
                      <a:pt x="133" y="162"/>
                    </a:lnTo>
                    <a:lnTo>
                      <a:pt x="111" y="171"/>
                    </a:lnTo>
                    <a:lnTo>
                      <a:pt x="87" y="174"/>
                    </a:lnTo>
                    <a:lnTo>
                      <a:pt x="65" y="171"/>
                    </a:lnTo>
                    <a:lnTo>
                      <a:pt x="44" y="162"/>
                    </a:lnTo>
                    <a:lnTo>
                      <a:pt x="26" y="148"/>
                    </a:lnTo>
                    <a:lnTo>
                      <a:pt x="12" y="131"/>
                    </a:lnTo>
                    <a:lnTo>
                      <a:pt x="3" y="110"/>
                    </a:lnTo>
                    <a:lnTo>
                      <a:pt x="0" y="87"/>
                    </a:lnTo>
                    <a:lnTo>
                      <a:pt x="3" y="63"/>
                    </a:lnTo>
                    <a:lnTo>
                      <a:pt x="12" y="43"/>
                    </a:lnTo>
                    <a:lnTo>
                      <a:pt x="26" y="25"/>
                    </a:lnTo>
                    <a:lnTo>
                      <a:pt x="44" y="12"/>
                    </a:lnTo>
                    <a:lnTo>
                      <a:pt x="65" y="3"/>
                    </a:lnTo>
                    <a:lnTo>
                      <a:pt x="87" y="0"/>
                    </a:lnTo>
                    <a:close/>
                  </a:path>
                </a:pathLst>
              </a:custGeom>
              <a:solidFill>
                <a:srgbClr val="29426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52" name="Freeform 302"/>
              <p:cNvSpPr>
                <a:spLocks noEditPoints="1"/>
              </p:cNvSpPr>
              <p:nvPr/>
            </p:nvSpPr>
            <p:spPr bwMode="auto">
              <a:xfrm>
                <a:off x="3225" y="1847"/>
                <a:ext cx="185" cy="186"/>
              </a:xfrm>
              <a:custGeom>
                <a:avLst/>
                <a:gdLst>
                  <a:gd name="T0" fmla="*/ 94 w 185"/>
                  <a:gd name="T1" fmla="*/ 10 h 186"/>
                  <a:gd name="T2" fmla="*/ 72 w 185"/>
                  <a:gd name="T3" fmla="*/ 12 h 186"/>
                  <a:gd name="T4" fmla="*/ 52 w 185"/>
                  <a:gd name="T5" fmla="*/ 22 h 186"/>
                  <a:gd name="T6" fmla="*/ 34 w 185"/>
                  <a:gd name="T7" fmla="*/ 35 h 186"/>
                  <a:gd name="T8" fmla="*/ 23 w 185"/>
                  <a:gd name="T9" fmla="*/ 51 h 186"/>
                  <a:gd name="T10" fmla="*/ 14 w 185"/>
                  <a:gd name="T11" fmla="*/ 70 h 186"/>
                  <a:gd name="T12" fmla="*/ 11 w 185"/>
                  <a:gd name="T13" fmla="*/ 92 h 186"/>
                  <a:gd name="T14" fmla="*/ 14 w 185"/>
                  <a:gd name="T15" fmla="*/ 113 h 186"/>
                  <a:gd name="T16" fmla="*/ 23 w 185"/>
                  <a:gd name="T17" fmla="*/ 134 h 186"/>
                  <a:gd name="T18" fmla="*/ 34 w 185"/>
                  <a:gd name="T19" fmla="*/ 151 h 186"/>
                  <a:gd name="T20" fmla="*/ 52 w 185"/>
                  <a:gd name="T21" fmla="*/ 164 h 186"/>
                  <a:gd name="T22" fmla="*/ 72 w 185"/>
                  <a:gd name="T23" fmla="*/ 172 h 186"/>
                  <a:gd name="T24" fmla="*/ 94 w 185"/>
                  <a:gd name="T25" fmla="*/ 175 h 186"/>
                  <a:gd name="T26" fmla="*/ 110 w 185"/>
                  <a:gd name="T27" fmla="*/ 174 h 186"/>
                  <a:gd name="T28" fmla="*/ 125 w 185"/>
                  <a:gd name="T29" fmla="*/ 168 h 186"/>
                  <a:gd name="T30" fmla="*/ 139 w 185"/>
                  <a:gd name="T31" fmla="*/ 161 h 186"/>
                  <a:gd name="T32" fmla="*/ 151 w 185"/>
                  <a:gd name="T33" fmla="*/ 151 h 186"/>
                  <a:gd name="T34" fmla="*/ 164 w 185"/>
                  <a:gd name="T35" fmla="*/ 134 h 186"/>
                  <a:gd name="T36" fmla="*/ 173 w 185"/>
                  <a:gd name="T37" fmla="*/ 113 h 186"/>
                  <a:gd name="T38" fmla="*/ 175 w 185"/>
                  <a:gd name="T39" fmla="*/ 92 h 186"/>
                  <a:gd name="T40" fmla="*/ 173 w 185"/>
                  <a:gd name="T41" fmla="*/ 70 h 186"/>
                  <a:gd name="T42" fmla="*/ 164 w 185"/>
                  <a:gd name="T43" fmla="*/ 51 h 186"/>
                  <a:gd name="T44" fmla="*/ 151 w 185"/>
                  <a:gd name="T45" fmla="*/ 35 h 186"/>
                  <a:gd name="T46" fmla="*/ 134 w 185"/>
                  <a:gd name="T47" fmla="*/ 22 h 186"/>
                  <a:gd name="T48" fmla="*/ 115 w 185"/>
                  <a:gd name="T49" fmla="*/ 12 h 186"/>
                  <a:gd name="T50" fmla="*/ 94 w 185"/>
                  <a:gd name="T51" fmla="*/ 10 h 186"/>
                  <a:gd name="T52" fmla="*/ 94 w 185"/>
                  <a:gd name="T53" fmla="*/ 0 h 186"/>
                  <a:gd name="T54" fmla="*/ 112 w 185"/>
                  <a:gd name="T55" fmla="*/ 1 h 186"/>
                  <a:gd name="T56" fmla="*/ 129 w 185"/>
                  <a:gd name="T57" fmla="*/ 7 h 186"/>
                  <a:gd name="T58" fmla="*/ 144 w 185"/>
                  <a:gd name="T59" fmla="*/ 15 h 186"/>
                  <a:gd name="T60" fmla="*/ 158 w 185"/>
                  <a:gd name="T61" fmla="*/ 27 h 186"/>
                  <a:gd name="T62" fmla="*/ 170 w 185"/>
                  <a:gd name="T63" fmla="*/ 41 h 186"/>
                  <a:gd name="T64" fmla="*/ 178 w 185"/>
                  <a:gd name="T65" fmla="*/ 57 h 186"/>
                  <a:gd name="T66" fmla="*/ 184 w 185"/>
                  <a:gd name="T67" fmla="*/ 75 h 186"/>
                  <a:gd name="T68" fmla="*/ 185 w 185"/>
                  <a:gd name="T69" fmla="*/ 92 h 186"/>
                  <a:gd name="T70" fmla="*/ 184 w 185"/>
                  <a:gd name="T71" fmla="*/ 111 h 186"/>
                  <a:gd name="T72" fmla="*/ 178 w 185"/>
                  <a:gd name="T73" fmla="*/ 128 h 186"/>
                  <a:gd name="T74" fmla="*/ 170 w 185"/>
                  <a:gd name="T75" fmla="*/ 145 h 186"/>
                  <a:gd name="T76" fmla="*/ 158 w 185"/>
                  <a:gd name="T77" fmla="*/ 159 h 186"/>
                  <a:gd name="T78" fmla="*/ 144 w 185"/>
                  <a:gd name="T79" fmla="*/ 170 h 186"/>
                  <a:gd name="T80" fmla="*/ 129 w 185"/>
                  <a:gd name="T81" fmla="*/ 179 h 186"/>
                  <a:gd name="T82" fmla="*/ 112 w 185"/>
                  <a:gd name="T83" fmla="*/ 184 h 186"/>
                  <a:gd name="T84" fmla="*/ 94 w 185"/>
                  <a:gd name="T85" fmla="*/ 186 h 186"/>
                  <a:gd name="T86" fmla="*/ 69 w 185"/>
                  <a:gd name="T87" fmla="*/ 182 h 186"/>
                  <a:gd name="T88" fmla="*/ 47 w 185"/>
                  <a:gd name="T89" fmla="*/ 174 h 186"/>
                  <a:gd name="T90" fmla="*/ 28 w 185"/>
                  <a:gd name="T91" fmla="*/ 159 h 186"/>
                  <a:gd name="T92" fmla="*/ 16 w 185"/>
                  <a:gd name="T93" fmla="*/ 145 h 186"/>
                  <a:gd name="T94" fmla="*/ 7 w 185"/>
                  <a:gd name="T95" fmla="*/ 128 h 186"/>
                  <a:gd name="T96" fmla="*/ 2 w 185"/>
                  <a:gd name="T97" fmla="*/ 111 h 186"/>
                  <a:gd name="T98" fmla="*/ 0 w 185"/>
                  <a:gd name="T99" fmla="*/ 92 h 186"/>
                  <a:gd name="T100" fmla="*/ 2 w 185"/>
                  <a:gd name="T101" fmla="*/ 75 h 186"/>
                  <a:gd name="T102" fmla="*/ 7 w 185"/>
                  <a:gd name="T103" fmla="*/ 57 h 186"/>
                  <a:gd name="T104" fmla="*/ 16 w 185"/>
                  <a:gd name="T105" fmla="*/ 41 h 186"/>
                  <a:gd name="T106" fmla="*/ 28 w 185"/>
                  <a:gd name="T107" fmla="*/ 27 h 186"/>
                  <a:gd name="T108" fmla="*/ 42 w 185"/>
                  <a:gd name="T109" fmla="*/ 15 h 186"/>
                  <a:gd name="T110" fmla="*/ 58 w 185"/>
                  <a:gd name="T111" fmla="*/ 7 h 186"/>
                  <a:gd name="T112" fmla="*/ 75 w 185"/>
                  <a:gd name="T113" fmla="*/ 1 h 186"/>
                  <a:gd name="T114" fmla="*/ 94 w 185"/>
                  <a:gd name="T115" fmla="*/ 0 h 18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85" h="186">
                    <a:moveTo>
                      <a:pt x="94" y="10"/>
                    </a:moveTo>
                    <a:lnTo>
                      <a:pt x="72" y="12"/>
                    </a:lnTo>
                    <a:lnTo>
                      <a:pt x="52" y="22"/>
                    </a:lnTo>
                    <a:lnTo>
                      <a:pt x="34" y="35"/>
                    </a:lnTo>
                    <a:lnTo>
                      <a:pt x="23" y="51"/>
                    </a:lnTo>
                    <a:lnTo>
                      <a:pt x="14" y="70"/>
                    </a:lnTo>
                    <a:lnTo>
                      <a:pt x="11" y="92"/>
                    </a:lnTo>
                    <a:lnTo>
                      <a:pt x="14" y="113"/>
                    </a:lnTo>
                    <a:lnTo>
                      <a:pt x="23" y="134"/>
                    </a:lnTo>
                    <a:lnTo>
                      <a:pt x="34" y="151"/>
                    </a:lnTo>
                    <a:lnTo>
                      <a:pt x="52" y="164"/>
                    </a:lnTo>
                    <a:lnTo>
                      <a:pt x="72" y="172"/>
                    </a:lnTo>
                    <a:lnTo>
                      <a:pt x="94" y="175"/>
                    </a:lnTo>
                    <a:lnTo>
                      <a:pt x="110" y="174"/>
                    </a:lnTo>
                    <a:lnTo>
                      <a:pt x="125" y="168"/>
                    </a:lnTo>
                    <a:lnTo>
                      <a:pt x="139" y="161"/>
                    </a:lnTo>
                    <a:lnTo>
                      <a:pt x="151" y="151"/>
                    </a:lnTo>
                    <a:lnTo>
                      <a:pt x="164" y="134"/>
                    </a:lnTo>
                    <a:lnTo>
                      <a:pt x="173" y="113"/>
                    </a:lnTo>
                    <a:lnTo>
                      <a:pt x="175" y="92"/>
                    </a:lnTo>
                    <a:lnTo>
                      <a:pt x="173" y="70"/>
                    </a:lnTo>
                    <a:lnTo>
                      <a:pt x="164" y="51"/>
                    </a:lnTo>
                    <a:lnTo>
                      <a:pt x="151" y="35"/>
                    </a:lnTo>
                    <a:lnTo>
                      <a:pt x="134" y="22"/>
                    </a:lnTo>
                    <a:lnTo>
                      <a:pt x="115" y="12"/>
                    </a:lnTo>
                    <a:lnTo>
                      <a:pt x="94" y="10"/>
                    </a:lnTo>
                    <a:close/>
                    <a:moveTo>
                      <a:pt x="94" y="0"/>
                    </a:moveTo>
                    <a:lnTo>
                      <a:pt x="112" y="1"/>
                    </a:lnTo>
                    <a:lnTo>
                      <a:pt x="129" y="7"/>
                    </a:lnTo>
                    <a:lnTo>
                      <a:pt x="144" y="15"/>
                    </a:lnTo>
                    <a:lnTo>
                      <a:pt x="158" y="27"/>
                    </a:lnTo>
                    <a:lnTo>
                      <a:pt x="170" y="41"/>
                    </a:lnTo>
                    <a:lnTo>
                      <a:pt x="178" y="57"/>
                    </a:lnTo>
                    <a:lnTo>
                      <a:pt x="184" y="75"/>
                    </a:lnTo>
                    <a:lnTo>
                      <a:pt x="185" y="92"/>
                    </a:lnTo>
                    <a:lnTo>
                      <a:pt x="184" y="111"/>
                    </a:lnTo>
                    <a:lnTo>
                      <a:pt x="178" y="128"/>
                    </a:lnTo>
                    <a:lnTo>
                      <a:pt x="170" y="145"/>
                    </a:lnTo>
                    <a:lnTo>
                      <a:pt x="158" y="159"/>
                    </a:lnTo>
                    <a:lnTo>
                      <a:pt x="144" y="170"/>
                    </a:lnTo>
                    <a:lnTo>
                      <a:pt x="129" y="179"/>
                    </a:lnTo>
                    <a:lnTo>
                      <a:pt x="112" y="184"/>
                    </a:lnTo>
                    <a:lnTo>
                      <a:pt x="94" y="186"/>
                    </a:lnTo>
                    <a:lnTo>
                      <a:pt x="69" y="182"/>
                    </a:lnTo>
                    <a:lnTo>
                      <a:pt x="47" y="174"/>
                    </a:lnTo>
                    <a:lnTo>
                      <a:pt x="28" y="159"/>
                    </a:lnTo>
                    <a:lnTo>
                      <a:pt x="16" y="145"/>
                    </a:lnTo>
                    <a:lnTo>
                      <a:pt x="7" y="128"/>
                    </a:lnTo>
                    <a:lnTo>
                      <a:pt x="2" y="111"/>
                    </a:lnTo>
                    <a:lnTo>
                      <a:pt x="0" y="92"/>
                    </a:lnTo>
                    <a:lnTo>
                      <a:pt x="2" y="75"/>
                    </a:lnTo>
                    <a:lnTo>
                      <a:pt x="7" y="57"/>
                    </a:lnTo>
                    <a:lnTo>
                      <a:pt x="16" y="41"/>
                    </a:lnTo>
                    <a:lnTo>
                      <a:pt x="28" y="27"/>
                    </a:lnTo>
                    <a:lnTo>
                      <a:pt x="42" y="15"/>
                    </a:lnTo>
                    <a:lnTo>
                      <a:pt x="58" y="7"/>
                    </a:lnTo>
                    <a:lnTo>
                      <a:pt x="75" y="1"/>
                    </a:lnTo>
                    <a:lnTo>
                      <a:pt x="94" y="0"/>
                    </a:lnTo>
                    <a:close/>
                  </a:path>
                </a:pathLst>
              </a:custGeom>
              <a:solidFill>
                <a:srgbClr val="2F5AA8"/>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53" name="Freeform 303"/>
              <p:cNvSpPr>
                <a:spLocks noEditPoints="1"/>
              </p:cNvSpPr>
              <p:nvPr/>
            </p:nvSpPr>
            <p:spPr bwMode="auto">
              <a:xfrm>
                <a:off x="3296" y="1904"/>
                <a:ext cx="45" cy="78"/>
              </a:xfrm>
              <a:custGeom>
                <a:avLst/>
                <a:gdLst>
                  <a:gd name="T0" fmla="*/ 19 w 45"/>
                  <a:gd name="T1" fmla="*/ 26 h 78"/>
                  <a:gd name="T2" fmla="*/ 18 w 45"/>
                  <a:gd name="T3" fmla="*/ 28 h 78"/>
                  <a:gd name="T4" fmla="*/ 17 w 45"/>
                  <a:gd name="T5" fmla="*/ 29 h 78"/>
                  <a:gd name="T6" fmla="*/ 17 w 45"/>
                  <a:gd name="T7" fmla="*/ 32 h 78"/>
                  <a:gd name="T8" fmla="*/ 16 w 45"/>
                  <a:gd name="T9" fmla="*/ 34 h 78"/>
                  <a:gd name="T10" fmla="*/ 14 w 45"/>
                  <a:gd name="T11" fmla="*/ 37 h 78"/>
                  <a:gd name="T12" fmla="*/ 13 w 45"/>
                  <a:gd name="T13" fmla="*/ 39 h 78"/>
                  <a:gd name="T14" fmla="*/ 12 w 45"/>
                  <a:gd name="T15" fmla="*/ 40 h 78"/>
                  <a:gd name="T16" fmla="*/ 10 w 45"/>
                  <a:gd name="T17" fmla="*/ 43 h 78"/>
                  <a:gd name="T18" fmla="*/ 10 w 45"/>
                  <a:gd name="T19" fmla="*/ 45 h 78"/>
                  <a:gd name="T20" fmla="*/ 7 w 45"/>
                  <a:gd name="T21" fmla="*/ 48 h 78"/>
                  <a:gd name="T22" fmla="*/ 7 w 45"/>
                  <a:gd name="T23" fmla="*/ 51 h 78"/>
                  <a:gd name="T24" fmla="*/ 6 w 45"/>
                  <a:gd name="T25" fmla="*/ 54 h 78"/>
                  <a:gd name="T26" fmla="*/ 6 w 45"/>
                  <a:gd name="T27" fmla="*/ 59 h 78"/>
                  <a:gd name="T28" fmla="*/ 10 w 45"/>
                  <a:gd name="T29" fmla="*/ 61 h 78"/>
                  <a:gd name="T30" fmla="*/ 13 w 45"/>
                  <a:gd name="T31" fmla="*/ 61 h 78"/>
                  <a:gd name="T32" fmla="*/ 14 w 45"/>
                  <a:gd name="T33" fmla="*/ 57 h 78"/>
                  <a:gd name="T34" fmla="*/ 14 w 45"/>
                  <a:gd name="T35" fmla="*/ 51 h 78"/>
                  <a:gd name="T36" fmla="*/ 15 w 45"/>
                  <a:gd name="T37" fmla="*/ 46 h 78"/>
                  <a:gd name="T38" fmla="*/ 16 w 45"/>
                  <a:gd name="T39" fmla="*/ 41 h 78"/>
                  <a:gd name="T40" fmla="*/ 18 w 45"/>
                  <a:gd name="T41" fmla="*/ 38 h 78"/>
                  <a:gd name="T42" fmla="*/ 18 w 45"/>
                  <a:gd name="T43" fmla="*/ 35 h 78"/>
                  <a:gd name="T44" fmla="*/ 19 w 45"/>
                  <a:gd name="T45" fmla="*/ 33 h 78"/>
                  <a:gd name="T46" fmla="*/ 20 w 45"/>
                  <a:gd name="T47" fmla="*/ 29 h 78"/>
                  <a:gd name="T48" fmla="*/ 21 w 45"/>
                  <a:gd name="T49" fmla="*/ 26 h 78"/>
                  <a:gd name="T50" fmla="*/ 23 w 45"/>
                  <a:gd name="T51" fmla="*/ 0 h 78"/>
                  <a:gd name="T52" fmla="*/ 26 w 45"/>
                  <a:gd name="T53" fmla="*/ 12 h 78"/>
                  <a:gd name="T54" fmla="*/ 39 w 45"/>
                  <a:gd name="T55" fmla="*/ 34 h 78"/>
                  <a:gd name="T56" fmla="*/ 45 w 45"/>
                  <a:gd name="T57" fmla="*/ 49 h 78"/>
                  <a:gd name="T58" fmla="*/ 44 w 45"/>
                  <a:gd name="T59" fmla="*/ 55 h 78"/>
                  <a:gd name="T60" fmla="*/ 33 w 45"/>
                  <a:gd name="T61" fmla="*/ 75 h 78"/>
                  <a:gd name="T62" fmla="*/ 14 w 45"/>
                  <a:gd name="T63" fmla="*/ 77 h 78"/>
                  <a:gd name="T64" fmla="*/ 2 w 45"/>
                  <a:gd name="T65" fmla="*/ 65 h 78"/>
                  <a:gd name="T66" fmla="*/ 0 w 45"/>
                  <a:gd name="T67" fmla="*/ 54 h 78"/>
                  <a:gd name="T68" fmla="*/ 2 w 45"/>
                  <a:gd name="T69" fmla="*/ 45 h 78"/>
                  <a:gd name="T70" fmla="*/ 14 w 45"/>
                  <a:gd name="T71" fmla="*/ 23 h 78"/>
                  <a:gd name="T72" fmla="*/ 21 w 45"/>
                  <a:gd name="T73" fmla="*/ 4 h 7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5" h="78">
                    <a:moveTo>
                      <a:pt x="20" y="25"/>
                    </a:moveTo>
                    <a:lnTo>
                      <a:pt x="19" y="26"/>
                    </a:lnTo>
                    <a:lnTo>
                      <a:pt x="19" y="27"/>
                    </a:lnTo>
                    <a:lnTo>
                      <a:pt x="18" y="28"/>
                    </a:lnTo>
                    <a:lnTo>
                      <a:pt x="17" y="29"/>
                    </a:lnTo>
                    <a:lnTo>
                      <a:pt x="17" y="31"/>
                    </a:lnTo>
                    <a:lnTo>
                      <a:pt x="17" y="32"/>
                    </a:lnTo>
                    <a:lnTo>
                      <a:pt x="16" y="32"/>
                    </a:lnTo>
                    <a:lnTo>
                      <a:pt x="16" y="34"/>
                    </a:lnTo>
                    <a:lnTo>
                      <a:pt x="15" y="35"/>
                    </a:lnTo>
                    <a:lnTo>
                      <a:pt x="14" y="37"/>
                    </a:lnTo>
                    <a:lnTo>
                      <a:pt x="13" y="38"/>
                    </a:lnTo>
                    <a:lnTo>
                      <a:pt x="13" y="39"/>
                    </a:lnTo>
                    <a:lnTo>
                      <a:pt x="12" y="40"/>
                    </a:lnTo>
                    <a:lnTo>
                      <a:pt x="11" y="41"/>
                    </a:lnTo>
                    <a:lnTo>
                      <a:pt x="10" y="43"/>
                    </a:lnTo>
                    <a:lnTo>
                      <a:pt x="10" y="45"/>
                    </a:lnTo>
                    <a:lnTo>
                      <a:pt x="9" y="47"/>
                    </a:lnTo>
                    <a:lnTo>
                      <a:pt x="7" y="48"/>
                    </a:lnTo>
                    <a:lnTo>
                      <a:pt x="7" y="50"/>
                    </a:lnTo>
                    <a:lnTo>
                      <a:pt x="7" y="51"/>
                    </a:lnTo>
                    <a:lnTo>
                      <a:pt x="6" y="53"/>
                    </a:lnTo>
                    <a:lnTo>
                      <a:pt x="6" y="54"/>
                    </a:lnTo>
                    <a:lnTo>
                      <a:pt x="6" y="57"/>
                    </a:lnTo>
                    <a:lnTo>
                      <a:pt x="6" y="59"/>
                    </a:lnTo>
                    <a:lnTo>
                      <a:pt x="9" y="61"/>
                    </a:lnTo>
                    <a:lnTo>
                      <a:pt x="10" y="61"/>
                    </a:lnTo>
                    <a:lnTo>
                      <a:pt x="12" y="62"/>
                    </a:lnTo>
                    <a:lnTo>
                      <a:pt x="13" y="61"/>
                    </a:lnTo>
                    <a:lnTo>
                      <a:pt x="14" y="57"/>
                    </a:lnTo>
                    <a:lnTo>
                      <a:pt x="14" y="54"/>
                    </a:lnTo>
                    <a:lnTo>
                      <a:pt x="14" y="51"/>
                    </a:lnTo>
                    <a:lnTo>
                      <a:pt x="14" y="48"/>
                    </a:lnTo>
                    <a:lnTo>
                      <a:pt x="15" y="46"/>
                    </a:lnTo>
                    <a:lnTo>
                      <a:pt x="16" y="43"/>
                    </a:lnTo>
                    <a:lnTo>
                      <a:pt x="16" y="41"/>
                    </a:lnTo>
                    <a:lnTo>
                      <a:pt x="16" y="40"/>
                    </a:lnTo>
                    <a:lnTo>
                      <a:pt x="18" y="38"/>
                    </a:lnTo>
                    <a:lnTo>
                      <a:pt x="18" y="37"/>
                    </a:lnTo>
                    <a:lnTo>
                      <a:pt x="18" y="35"/>
                    </a:lnTo>
                    <a:lnTo>
                      <a:pt x="19" y="34"/>
                    </a:lnTo>
                    <a:lnTo>
                      <a:pt x="19" y="33"/>
                    </a:lnTo>
                    <a:lnTo>
                      <a:pt x="20" y="31"/>
                    </a:lnTo>
                    <a:lnTo>
                      <a:pt x="20" y="29"/>
                    </a:lnTo>
                    <a:lnTo>
                      <a:pt x="21" y="27"/>
                    </a:lnTo>
                    <a:lnTo>
                      <a:pt x="21" y="26"/>
                    </a:lnTo>
                    <a:lnTo>
                      <a:pt x="20" y="25"/>
                    </a:lnTo>
                    <a:close/>
                    <a:moveTo>
                      <a:pt x="23" y="0"/>
                    </a:moveTo>
                    <a:lnTo>
                      <a:pt x="23" y="4"/>
                    </a:lnTo>
                    <a:lnTo>
                      <a:pt x="26" y="12"/>
                    </a:lnTo>
                    <a:lnTo>
                      <a:pt x="31" y="23"/>
                    </a:lnTo>
                    <a:lnTo>
                      <a:pt x="39" y="34"/>
                    </a:lnTo>
                    <a:lnTo>
                      <a:pt x="43" y="42"/>
                    </a:lnTo>
                    <a:lnTo>
                      <a:pt x="45" y="49"/>
                    </a:lnTo>
                    <a:lnTo>
                      <a:pt x="45" y="54"/>
                    </a:lnTo>
                    <a:lnTo>
                      <a:pt x="44" y="55"/>
                    </a:lnTo>
                    <a:lnTo>
                      <a:pt x="42" y="67"/>
                    </a:lnTo>
                    <a:lnTo>
                      <a:pt x="33" y="75"/>
                    </a:lnTo>
                    <a:lnTo>
                      <a:pt x="23" y="78"/>
                    </a:lnTo>
                    <a:lnTo>
                      <a:pt x="14" y="77"/>
                    </a:lnTo>
                    <a:lnTo>
                      <a:pt x="7" y="71"/>
                    </a:lnTo>
                    <a:lnTo>
                      <a:pt x="2" y="65"/>
                    </a:lnTo>
                    <a:lnTo>
                      <a:pt x="0" y="55"/>
                    </a:lnTo>
                    <a:lnTo>
                      <a:pt x="0" y="54"/>
                    </a:lnTo>
                    <a:lnTo>
                      <a:pt x="1" y="51"/>
                    </a:lnTo>
                    <a:lnTo>
                      <a:pt x="2" y="45"/>
                    </a:lnTo>
                    <a:lnTo>
                      <a:pt x="6" y="35"/>
                    </a:lnTo>
                    <a:lnTo>
                      <a:pt x="14" y="23"/>
                    </a:lnTo>
                    <a:lnTo>
                      <a:pt x="19" y="12"/>
                    </a:lnTo>
                    <a:lnTo>
                      <a:pt x="21" y="4"/>
                    </a:lnTo>
                    <a:lnTo>
                      <a:pt x="23" y="0"/>
                    </a:lnTo>
                    <a:close/>
                  </a:path>
                </a:pathLst>
              </a:custGeom>
              <a:solidFill>
                <a:srgbClr val="2F5AA8"/>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54" name="Freeform 304"/>
              <p:cNvSpPr>
                <a:spLocks/>
              </p:cNvSpPr>
              <p:nvPr/>
            </p:nvSpPr>
            <p:spPr bwMode="auto">
              <a:xfrm>
                <a:off x="3810" y="2177"/>
                <a:ext cx="174" cy="175"/>
              </a:xfrm>
              <a:custGeom>
                <a:avLst/>
                <a:gdLst>
                  <a:gd name="T0" fmla="*/ 87 w 174"/>
                  <a:gd name="T1" fmla="*/ 0 h 175"/>
                  <a:gd name="T2" fmla="*/ 111 w 174"/>
                  <a:gd name="T3" fmla="*/ 3 h 175"/>
                  <a:gd name="T4" fmla="*/ 131 w 174"/>
                  <a:gd name="T5" fmla="*/ 13 h 175"/>
                  <a:gd name="T6" fmla="*/ 149 w 174"/>
                  <a:gd name="T7" fmla="*/ 26 h 175"/>
                  <a:gd name="T8" fmla="*/ 162 w 174"/>
                  <a:gd name="T9" fmla="*/ 44 h 175"/>
                  <a:gd name="T10" fmla="*/ 171 w 174"/>
                  <a:gd name="T11" fmla="*/ 64 h 175"/>
                  <a:gd name="T12" fmla="*/ 174 w 174"/>
                  <a:gd name="T13" fmla="*/ 88 h 175"/>
                  <a:gd name="T14" fmla="*/ 171 w 174"/>
                  <a:gd name="T15" fmla="*/ 111 h 175"/>
                  <a:gd name="T16" fmla="*/ 162 w 174"/>
                  <a:gd name="T17" fmla="*/ 132 h 175"/>
                  <a:gd name="T18" fmla="*/ 149 w 174"/>
                  <a:gd name="T19" fmla="*/ 150 h 175"/>
                  <a:gd name="T20" fmla="*/ 131 w 174"/>
                  <a:gd name="T21" fmla="*/ 164 h 175"/>
                  <a:gd name="T22" fmla="*/ 111 w 174"/>
                  <a:gd name="T23" fmla="*/ 172 h 175"/>
                  <a:gd name="T24" fmla="*/ 87 w 174"/>
                  <a:gd name="T25" fmla="*/ 175 h 175"/>
                  <a:gd name="T26" fmla="*/ 63 w 174"/>
                  <a:gd name="T27" fmla="*/ 172 h 175"/>
                  <a:gd name="T28" fmla="*/ 43 w 174"/>
                  <a:gd name="T29" fmla="*/ 164 h 175"/>
                  <a:gd name="T30" fmla="*/ 26 w 174"/>
                  <a:gd name="T31" fmla="*/ 150 h 175"/>
                  <a:gd name="T32" fmla="*/ 12 w 174"/>
                  <a:gd name="T33" fmla="*/ 132 h 175"/>
                  <a:gd name="T34" fmla="*/ 3 w 174"/>
                  <a:gd name="T35" fmla="*/ 111 h 175"/>
                  <a:gd name="T36" fmla="*/ 0 w 174"/>
                  <a:gd name="T37" fmla="*/ 88 h 175"/>
                  <a:gd name="T38" fmla="*/ 3 w 174"/>
                  <a:gd name="T39" fmla="*/ 64 h 175"/>
                  <a:gd name="T40" fmla="*/ 12 w 174"/>
                  <a:gd name="T41" fmla="*/ 44 h 175"/>
                  <a:gd name="T42" fmla="*/ 26 w 174"/>
                  <a:gd name="T43" fmla="*/ 26 h 175"/>
                  <a:gd name="T44" fmla="*/ 43 w 174"/>
                  <a:gd name="T45" fmla="*/ 13 h 175"/>
                  <a:gd name="T46" fmla="*/ 63 w 174"/>
                  <a:gd name="T47" fmla="*/ 3 h 175"/>
                  <a:gd name="T48" fmla="*/ 87 w 174"/>
                  <a:gd name="T49" fmla="*/ 0 h 17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74" h="175">
                    <a:moveTo>
                      <a:pt x="87" y="0"/>
                    </a:moveTo>
                    <a:lnTo>
                      <a:pt x="111" y="3"/>
                    </a:lnTo>
                    <a:lnTo>
                      <a:pt x="131" y="13"/>
                    </a:lnTo>
                    <a:lnTo>
                      <a:pt x="149" y="26"/>
                    </a:lnTo>
                    <a:lnTo>
                      <a:pt x="162" y="44"/>
                    </a:lnTo>
                    <a:lnTo>
                      <a:pt x="171" y="64"/>
                    </a:lnTo>
                    <a:lnTo>
                      <a:pt x="174" y="88"/>
                    </a:lnTo>
                    <a:lnTo>
                      <a:pt x="171" y="111"/>
                    </a:lnTo>
                    <a:lnTo>
                      <a:pt x="162" y="132"/>
                    </a:lnTo>
                    <a:lnTo>
                      <a:pt x="149" y="150"/>
                    </a:lnTo>
                    <a:lnTo>
                      <a:pt x="131" y="164"/>
                    </a:lnTo>
                    <a:lnTo>
                      <a:pt x="111" y="172"/>
                    </a:lnTo>
                    <a:lnTo>
                      <a:pt x="87" y="175"/>
                    </a:lnTo>
                    <a:lnTo>
                      <a:pt x="63" y="172"/>
                    </a:lnTo>
                    <a:lnTo>
                      <a:pt x="43" y="164"/>
                    </a:lnTo>
                    <a:lnTo>
                      <a:pt x="26" y="150"/>
                    </a:lnTo>
                    <a:lnTo>
                      <a:pt x="12" y="132"/>
                    </a:lnTo>
                    <a:lnTo>
                      <a:pt x="3" y="111"/>
                    </a:lnTo>
                    <a:lnTo>
                      <a:pt x="0" y="88"/>
                    </a:lnTo>
                    <a:lnTo>
                      <a:pt x="3" y="64"/>
                    </a:lnTo>
                    <a:lnTo>
                      <a:pt x="12" y="44"/>
                    </a:lnTo>
                    <a:lnTo>
                      <a:pt x="26" y="26"/>
                    </a:lnTo>
                    <a:lnTo>
                      <a:pt x="43" y="13"/>
                    </a:lnTo>
                    <a:lnTo>
                      <a:pt x="63" y="3"/>
                    </a:lnTo>
                    <a:lnTo>
                      <a:pt x="87" y="0"/>
                    </a:lnTo>
                    <a:close/>
                  </a:path>
                </a:pathLst>
              </a:custGeom>
              <a:solidFill>
                <a:srgbClr val="29426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55" name="Freeform 305"/>
              <p:cNvSpPr>
                <a:spLocks noEditPoints="1"/>
              </p:cNvSpPr>
              <p:nvPr/>
            </p:nvSpPr>
            <p:spPr bwMode="auto">
              <a:xfrm>
                <a:off x="3805" y="2170"/>
                <a:ext cx="186" cy="187"/>
              </a:xfrm>
              <a:custGeom>
                <a:avLst/>
                <a:gdLst>
                  <a:gd name="T0" fmla="*/ 93 w 186"/>
                  <a:gd name="T1" fmla="*/ 12 h 187"/>
                  <a:gd name="T2" fmla="*/ 72 w 186"/>
                  <a:gd name="T3" fmla="*/ 14 h 187"/>
                  <a:gd name="T4" fmla="*/ 52 w 186"/>
                  <a:gd name="T5" fmla="*/ 23 h 187"/>
                  <a:gd name="T6" fmla="*/ 35 w 186"/>
                  <a:gd name="T7" fmla="*/ 36 h 187"/>
                  <a:gd name="T8" fmla="*/ 22 w 186"/>
                  <a:gd name="T9" fmla="*/ 53 h 187"/>
                  <a:gd name="T10" fmla="*/ 14 w 186"/>
                  <a:gd name="T11" fmla="*/ 74 h 187"/>
                  <a:gd name="T12" fmla="*/ 10 w 186"/>
                  <a:gd name="T13" fmla="*/ 95 h 187"/>
                  <a:gd name="T14" fmla="*/ 14 w 186"/>
                  <a:gd name="T15" fmla="*/ 116 h 187"/>
                  <a:gd name="T16" fmla="*/ 22 w 186"/>
                  <a:gd name="T17" fmla="*/ 134 h 187"/>
                  <a:gd name="T18" fmla="*/ 35 w 186"/>
                  <a:gd name="T19" fmla="*/ 152 h 187"/>
                  <a:gd name="T20" fmla="*/ 52 w 186"/>
                  <a:gd name="T21" fmla="*/ 165 h 187"/>
                  <a:gd name="T22" fmla="*/ 72 w 186"/>
                  <a:gd name="T23" fmla="*/ 173 h 187"/>
                  <a:gd name="T24" fmla="*/ 93 w 186"/>
                  <a:gd name="T25" fmla="*/ 176 h 187"/>
                  <a:gd name="T26" fmla="*/ 115 w 186"/>
                  <a:gd name="T27" fmla="*/ 173 h 187"/>
                  <a:gd name="T28" fmla="*/ 135 w 186"/>
                  <a:gd name="T29" fmla="*/ 165 h 187"/>
                  <a:gd name="T30" fmla="*/ 152 w 186"/>
                  <a:gd name="T31" fmla="*/ 152 h 187"/>
                  <a:gd name="T32" fmla="*/ 164 w 186"/>
                  <a:gd name="T33" fmla="*/ 134 h 187"/>
                  <a:gd name="T34" fmla="*/ 173 w 186"/>
                  <a:gd name="T35" fmla="*/ 116 h 187"/>
                  <a:gd name="T36" fmla="*/ 176 w 186"/>
                  <a:gd name="T37" fmla="*/ 95 h 187"/>
                  <a:gd name="T38" fmla="*/ 173 w 186"/>
                  <a:gd name="T39" fmla="*/ 74 h 187"/>
                  <a:gd name="T40" fmla="*/ 164 w 186"/>
                  <a:gd name="T41" fmla="*/ 53 h 187"/>
                  <a:gd name="T42" fmla="*/ 152 w 186"/>
                  <a:gd name="T43" fmla="*/ 36 h 187"/>
                  <a:gd name="T44" fmla="*/ 135 w 186"/>
                  <a:gd name="T45" fmla="*/ 23 h 187"/>
                  <a:gd name="T46" fmla="*/ 115 w 186"/>
                  <a:gd name="T47" fmla="*/ 14 h 187"/>
                  <a:gd name="T48" fmla="*/ 93 w 186"/>
                  <a:gd name="T49" fmla="*/ 12 h 187"/>
                  <a:gd name="T50" fmla="*/ 93 w 186"/>
                  <a:gd name="T51" fmla="*/ 0 h 187"/>
                  <a:gd name="T52" fmla="*/ 111 w 186"/>
                  <a:gd name="T53" fmla="*/ 3 h 187"/>
                  <a:gd name="T54" fmla="*/ 129 w 186"/>
                  <a:gd name="T55" fmla="*/ 8 h 187"/>
                  <a:gd name="T56" fmla="*/ 145 w 186"/>
                  <a:gd name="T57" fmla="*/ 17 h 187"/>
                  <a:gd name="T58" fmla="*/ 159 w 186"/>
                  <a:gd name="T59" fmla="*/ 28 h 187"/>
                  <a:gd name="T60" fmla="*/ 170 w 186"/>
                  <a:gd name="T61" fmla="*/ 42 h 187"/>
                  <a:gd name="T62" fmla="*/ 178 w 186"/>
                  <a:gd name="T63" fmla="*/ 59 h 187"/>
                  <a:gd name="T64" fmla="*/ 184 w 186"/>
                  <a:gd name="T65" fmla="*/ 76 h 187"/>
                  <a:gd name="T66" fmla="*/ 186 w 186"/>
                  <a:gd name="T67" fmla="*/ 95 h 187"/>
                  <a:gd name="T68" fmla="*/ 184 w 186"/>
                  <a:gd name="T69" fmla="*/ 112 h 187"/>
                  <a:gd name="T70" fmla="*/ 178 w 186"/>
                  <a:gd name="T71" fmla="*/ 130 h 187"/>
                  <a:gd name="T72" fmla="*/ 170 w 186"/>
                  <a:gd name="T73" fmla="*/ 146 h 187"/>
                  <a:gd name="T74" fmla="*/ 159 w 186"/>
                  <a:gd name="T75" fmla="*/ 160 h 187"/>
                  <a:gd name="T76" fmla="*/ 145 w 186"/>
                  <a:gd name="T77" fmla="*/ 172 h 187"/>
                  <a:gd name="T78" fmla="*/ 129 w 186"/>
                  <a:gd name="T79" fmla="*/ 180 h 187"/>
                  <a:gd name="T80" fmla="*/ 111 w 186"/>
                  <a:gd name="T81" fmla="*/ 185 h 187"/>
                  <a:gd name="T82" fmla="*/ 93 w 186"/>
                  <a:gd name="T83" fmla="*/ 187 h 187"/>
                  <a:gd name="T84" fmla="*/ 75 w 186"/>
                  <a:gd name="T85" fmla="*/ 185 h 187"/>
                  <a:gd name="T86" fmla="*/ 58 w 186"/>
                  <a:gd name="T87" fmla="*/ 180 h 187"/>
                  <a:gd name="T88" fmla="*/ 43 w 186"/>
                  <a:gd name="T89" fmla="*/ 172 h 187"/>
                  <a:gd name="T90" fmla="*/ 29 w 186"/>
                  <a:gd name="T91" fmla="*/ 160 h 187"/>
                  <a:gd name="T92" fmla="*/ 17 w 186"/>
                  <a:gd name="T93" fmla="*/ 146 h 187"/>
                  <a:gd name="T94" fmla="*/ 7 w 186"/>
                  <a:gd name="T95" fmla="*/ 130 h 187"/>
                  <a:gd name="T96" fmla="*/ 2 w 186"/>
                  <a:gd name="T97" fmla="*/ 112 h 187"/>
                  <a:gd name="T98" fmla="*/ 0 w 186"/>
                  <a:gd name="T99" fmla="*/ 95 h 187"/>
                  <a:gd name="T100" fmla="*/ 2 w 186"/>
                  <a:gd name="T101" fmla="*/ 76 h 187"/>
                  <a:gd name="T102" fmla="*/ 7 w 186"/>
                  <a:gd name="T103" fmla="*/ 59 h 187"/>
                  <a:gd name="T104" fmla="*/ 17 w 186"/>
                  <a:gd name="T105" fmla="*/ 42 h 187"/>
                  <a:gd name="T106" fmla="*/ 29 w 186"/>
                  <a:gd name="T107" fmla="*/ 28 h 187"/>
                  <a:gd name="T108" fmla="*/ 43 w 186"/>
                  <a:gd name="T109" fmla="*/ 17 h 187"/>
                  <a:gd name="T110" fmla="*/ 58 w 186"/>
                  <a:gd name="T111" fmla="*/ 8 h 187"/>
                  <a:gd name="T112" fmla="*/ 75 w 186"/>
                  <a:gd name="T113" fmla="*/ 3 h 187"/>
                  <a:gd name="T114" fmla="*/ 93 w 186"/>
                  <a:gd name="T115" fmla="*/ 0 h 18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86" h="187">
                    <a:moveTo>
                      <a:pt x="93" y="12"/>
                    </a:moveTo>
                    <a:lnTo>
                      <a:pt x="72" y="14"/>
                    </a:lnTo>
                    <a:lnTo>
                      <a:pt x="52" y="23"/>
                    </a:lnTo>
                    <a:lnTo>
                      <a:pt x="35" y="36"/>
                    </a:lnTo>
                    <a:lnTo>
                      <a:pt x="22" y="53"/>
                    </a:lnTo>
                    <a:lnTo>
                      <a:pt x="14" y="74"/>
                    </a:lnTo>
                    <a:lnTo>
                      <a:pt x="10" y="95"/>
                    </a:lnTo>
                    <a:lnTo>
                      <a:pt x="14" y="116"/>
                    </a:lnTo>
                    <a:lnTo>
                      <a:pt x="22" y="134"/>
                    </a:lnTo>
                    <a:lnTo>
                      <a:pt x="35" y="152"/>
                    </a:lnTo>
                    <a:lnTo>
                      <a:pt x="52" y="165"/>
                    </a:lnTo>
                    <a:lnTo>
                      <a:pt x="72" y="173"/>
                    </a:lnTo>
                    <a:lnTo>
                      <a:pt x="93" y="176"/>
                    </a:lnTo>
                    <a:lnTo>
                      <a:pt x="115" y="173"/>
                    </a:lnTo>
                    <a:lnTo>
                      <a:pt x="135" y="165"/>
                    </a:lnTo>
                    <a:lnTo>
                      <a:pt x="152" y="152"/>
                    </a:lnTo>
                    <a:lnTo>
                      <a:pt x="164" y="134"/>
                    </a:lnTo>
                    <a:lnTo>
                      <a:pt x="173" y="116"/>
                    </a:lnTo>
                    <a:lnTo>
                      <a:pt x="176" y="95"/>
                    </a:lnTo>
                    <a:lnTo>
                      <a:pt x="173" y="74"/>
                    </a:lnTo>
                    <a:lnTo>
                      <a:pt x="164" y="53"/>
                    </a:lnTo>
                    <a:lnTo>
                      <a:pt x="152" y="36"/>
                    </a:lnTo>
                    <a:lnTo>
                      <a:pt x="135" y="23"/>
                    </a:lnTo>
                    <a:lnTo>
                      <a:pt x="115" y="14"/>
                    </a:lnTo>
                    <a:lnTo>
                      <a:pt x="93" y="12"/>
                    </a:lnTo>
                    <a:close/>
                    <a:moveTo>
                      <a:pt x="93" y="0"/>
                    </a:moveTo>
                    <a:lnTo>
                      <a:pt x="111" y="3"/>
                    </a:lnTo>
                    <a:lnTo>
                      <a:pt x="129" y="8"/>
                    </a:lnTo>
                    <a:lnTo>
                      <a:pt x="145" y="17"/>
                    </a:lnTo>
                    <a:lnTo>
                      <a:pt x="159" y="28"/>
                    </a:lnTo>
                    <a:lnTo>
                      <a:pt x="170" y="42"/>
                    </a:lnTo>
                    <a:lnTo>
                      <a:pt x="178" y="59"/>
                    </a:lnTo>
                    <a:lnTo>
                      <a:pt x="184" y="76"/>
                    </a:lnTo>
                    <a:lnTo>
                      <a:pt x="186" y="95"/>
                    </a:lnTo>
                    <a:lnTo>
                      <a:pt x="184" y="112"/>
                    </a:lnTo>
                    <a:lnTo>
                      <a:pt x="178" y="130"/>
                    </a:lnTo>
                    <a:lnTo>
                      <a:pt x="170" y="146"/>
                    </a:lnTo>
                    <a:lnTo>
                      <a:pt x="159" y="160"/>
                    </a:lnTo>
                    <a:lnTo>
                      <a:pt x="145" y="172"/>
                    </a:lnTo>
                    <a:lnTo>
                      <a:pt x="129" y="180"/>
                    </a:lnTo>
                    <a:lnTo>
                      <a:pt x="111" y="185"/>
                    </a:lnTo>
                    <a:lnTo>
                      <a:pt x="93" y="187"/>
                    </a:lnTo>
                    <a:lnTo>
                      <a:pt x="75" y="185"/>
                    </a:lnTo>
                    <a:lnTo>
                      <a:pt x="58" y="180"/>
                    </a:lnTo>
                    <a:lnTo>
                      <a:pt x="43" y="172"/>
                    </a:lnTo>
                    <a:lnTo>
                      <a:pt x="29" y="160"/>
                    </a:lnTo>
                    <a:lnTo>
                      <a:pt x="17" y="146"/>
                    </a:lnTo>
                    <a:lnTo>
                      <a:pt x="7" y="130"/>
                    </a:lnTo>
                    <a:lnTo>
                      <a:pt x="2" y="112"/>
                    </a:lnTo>
                    <a:lnTo>
                      <a:pt x="0" y="95"/>
                    </a:lnTo>
                    <a:lnTo>
                      <a:pt x="2" y="76"/>
                    </a:lnTo>
                    <a:lnTo>
                      <a:pt x="7" y="59"/>
                    </a:lnTo>
                    <a:lnTo>
                      <a:pt x="17" y="42"/>
                    </a:lnTo>
                    <a:lnTo>
                      <a:pt x="29" y="28"/>
                    </a:lnTo>
                    <a:lnTo>
                      <a:pt x="43" y="17"/>
                    </a:lnTo>
                    <a:lnTo>
                      <a:pt x="58" y="8"/>
                    </a:lnTo>
                    <a:lnTo>
                      <a:pt x="75" y="3"/>
                    </a:lnTo>
                    <a:lnTo>
                      <a:pt x="93" y="0"/>
                    </a:lnTo>
                    <a:close/>
                  </a:path>
                </a:pathLst>
              </a:custGeom>
              <a:solidFill>
                <a:srgbClr val="D7273A"/>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56" name="Freeform 306"/>
              <p:cNvSpPr>
                <a:spLocks/>
              </p:cNvSpPr>
              <p:nvPr/>
            </p:nvSpPr>
            <p:spPr bwMode="auto">
              <a:xfrm>
                <a:off x="3866" y="2230"/>
                <a:ext cx="64" cy="69"/>
              </a:xfrm>
              <a:custGeom>
                <a:avLst/>
                <a:gdLst>
                  <a:gd name="T0" fmla="*/ 44 w 64"/>
                  <a:gd name="T1" fmla="*/ 0 h 69"/>
                  <a:gd name="T2" fmla="*/ 43 w 64"/>
                  <a:gd name="T3" fmla="*/ 1 h 69"/>
                  <a:gd name="T4" fmla="*/ 41 w 64"/>
                  <a:gd name="T5" fmla="*/ 5 h 69"/>
                  <a:gd name="T6" fmla="*/ 39 w 64"/>
                  <a:gd name="T7" fmla="*/ 10 h 69"/>
                  <a:gd name="T8" fmla="*/ 39 w 64"/>
                  <a:gd name="T9" fmla="*/ 19 h 69"/>
                  <a:gd name="T10" fmla="*/ 42 w 64"/>
                  <a:gd name="T11" fmla="*/ 28 h 69"/>
                  <a:gd name="T12" fmla="*/ 50 w 64"/>
                  <a:gd name="T13" fmla="*/ 39 h 69"/>
                  <a:gd name="T14" fmla="*/ 50 w 64"/>
                  <a:gd name="T15" fmla="*/ 39 h 69"/>
                  <a:gd name="T16" fmla="*/ 52 w 64"/>
                  <a:gd name="T17" fmla="*/ 38 h 69"/>
                  <a:gd name="T18" fmla="*/ 54 w 64"/>
                  <a:gd name="T19" fmla="*/ 37 h 69"/>
                  <a:gd name="T20" fmla="*/ 56 w 64"/>
                  <a:gd name="T21" fmla="*/ 36 h 69"/>
                  <a:gd name="T22" fmla="*/ 57 w 64"/>
                  <a:gd name="T23" fmla="*/ 33 h 69"/>
                  <a:gd name="T24" fmla="*/ 58 w 64"/>
                  <a:gd name="T25" fmla="*/ 31 h 69"/>
                  <a:gd name="T26" fmla="*/ 58 w 64"/>
                  <a:gd name="T27" fmla="*/ 27 h 69"/>
                  <a:gd name="T28" fmla="*/ 59 w 64"/>
                  <a:gd name="T29" fmla="*/ 29 h 69"/>
                  <a:gd name="T30" fmla="*/ 61 w 64"/>
                  <a:gd name="T31" fmla="*/ 34 h 69"/>
                  <a:gd name="T32" fmla="*/ 64 w 64"/>
                  <a:gd name="T33" fmla="*/ 42 h 69"/>
                  <a:gd name="T34" fmla="*/ 64 w 64"/>
                  <a:gd name="T35" fmla="*/ 49 h 69"/>
                  <a:gd name="T36" fmla="*/ 62 w 64"/>
                  <a:gd name="T37" fmla="*/ 58 h 69"/>
                  <a:gd name="T38" fmla="*/ 55 w 64"/>
                  <a:gd name="T39" fmla="*/ 65 h 69"/>
                  <a:gd name="T40" fmla="*/ 42 w 64"/>
                  <a:gd name="T41" fmla="*/ 69 h 69"/>
                  <a:gd name="T42" fmla="*/ 30 w 64"/>
                  <a:gd name="T43" fmla="*/ 68 h 69"/>
                  <a:gd name="T44" fmla="*/ 21 w 64"/>
                  <a:gd name="T45" fmla="*/ 65 h 69"/>
                  <a:gd name="T46" fmla="*/ 16 w 64"/>
                  <a:gd name="T47" fmla="*/ 62 h 69"/>
                  <a:gd name="T48" fmla="*/ 14 w 64"/>
                  <a:gd name="T49" fmla="*/ 60 h 69"/>
                  <a:gd name="T50" fmla="*/ 12 w 64"/>
                  <a:gd name="T51" fmla="*/ 59 h 69"/>
                  <a:gd name="T52" fmla="*/ 9 w 64"/>
                  <a:gd name="T53" fmla="*/ 57 h 69"/>
                  <a:gd name="T54" fmla="*/ 4 w 64"/>
                  <a:gd name="T55" fmla="*/ 52 h 69"/>
                  <a:gd name="T56" fmla="*/ 1 w 64"/>
                  <a:gd name="T57" fmla="*/ 46 h 69"/>
                  <a:gd name="T58" fmla="*/ 0 w 64"/>
                  <a:gd name="T59" fmla="*/ 37 h 69"/>
                  <a:gd name="T60" fmla="*/ 1 w 64"/>
                  <a:gd name="T61" fmla="*/ 25 h 69"/>
                  <a:gd name="T62" fmla="*/ 5 w 64"/>
                  <a:gd name="T63" fmla="*/ 35 h 69"/>
                  <a:gd name="T64" fmla="*/ 10 w 64"/>
                  <a:gd name="T65" fmla="*/ 42 h 69"/>
                  <a:gd name="T66" fmla="*/ 12 w 64"/>
                  <a:gd name="T67" fmla="*/ 45 h 69"/>
                  <a:gd name="T68" fmla="*/ 15 w 64"/>
                  <a:gd name="T69" fmla="*/ 47 h 69"/>
                  <a:gd name="T70" fmla="*/ 18 w 64"/>
                  <a:gd name="T71" fmla="*/ 49 h 69"/>
                  <a:gd name="T72" fmla="*/ 17 w 64"/>
                  <a:gd name="T73" fmla="*/ 39 h 69"/>
                  <a:gd name="T74" fmla="*/ 19 w 64"/>
                  <a:gd name="T75" fmla="*/ 29 h 69"/>
                  <a:gd name="T76" fmla="*/ 24 w 64"/>
                  <a:gd name="T77" fmla="*/ 18 h 69"/>
                  <a:gd name="T78" fmla="*/ 29 w 64"/>
                  <a:gd name="T79" fmla="*/ 8 h 69"/>
                  <a:gd name="T80" fmla="*/ 36 w 64"/>
                  <a:gd name="T81" fmla="*/ 2 h 69"/>
                  <a:gd name="T82" fmla="*/ 44 w 64"/>
                  <a:gd name="T83" fmla="*/ 0 h 6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64" h="69">
                    <a:moveTo>
                      <a:pt x="44" y="0"/>
                    </a:moveTo>
                    <a:lnTo>
                      <a:pt x="43" y="1"/>
                    </a:lnTo>
                    <a:lnTo>
                      <a:pt x="41" y="5"/>
                    </a:lnTo>
                    <a:lnTo>
                      <a:pt x="39" y="10"/>
                    </a:lnTo>
                    <a:lnTo>
                      <a:pt x="39" y="19"/>
                    </a:lnTo>
                    <a:lnTo>
                      <a:pt x="42" y="28"/>
                    </a:lnTo>
                    <a:lnTo>
                      <a:pt x="50" y="39"/>
                    </a:lnTo>
                    <a:lnTo>
                      <a:pt x="52" y="38"/>
                    </a:lnTo>
                    <a:lnTo>
                      <a:pt x="54" y="37"/>
                    </a:lnTo>
                    <a:lnTo>
                      <a:pt x="56" y="36"/>
                    </a:lnTo>
                    <a:lnTo>
                      <a:pt x="57" y="33"/>
                    </a:lnTo>
                    <a:lnTo>
                      <a:pt x="58" y="31"/>
                    </a:lnTo>
                    <a:lnTo>
                      <a:pt x="58" y="27"/>
                    </a:lnTo>
                    <a:lnTo>
                      <a:pt x="59" y="29"/>
                    </a:lnTo>
                    <a:lnTo>
                      <a:pt x="61" y="34"/>
                    </a:lnTo>
                    <a:lnTo>
                      <a:pt x="64" y="42"/>
                    </a:lnTo>
                    <a:lnTo>
                      <a:pt x="64" y="49"/>
                    </a:lnTo>
                    <a:lnTo>
                      <a:pt x="62" y="58"/>
                    </a:lnTo>
                    <a:lnTo>
                      <a:pt x="55" y="65"/>
                    </a:lnTo>
                    <a:lnTo>
                      <a:pt x="42" y="69"/>
                    </a:lnTo>
                    <a:lnTo>
                      <a:pt x="30" y="68"/>
                    </a:lnTo>
                    <a:lnTo>
                      <a:pt x="21" y="65"/>
                    </a:lnTo>
                    <a:lnTo>
                      <a:pt x="16" y="62"/>
                    </a:lnTo>
                    <a:lnTo>
                      <a:pt x="14" y="60"/>
                    </a:lnTo>
                    <a:lnTo>
                      <a:pt x="12" y="59"/>
                    </a:lnTo>
                    <a:lnTo>
                      <a:pt x="9" y="57"/>
                    </a:lnTo>
                    <a:lnTo>
                      <a:pt x="4" y="52"/>
                    </a:lnTo>
                    <a:lnTo>
                      <a:pt x="1" y="46"/>
                    </a:lnTo>
                    <a:lnTo>
                      <a:pt x="0" y="37"/>
                    </a:lnTo>
                    <a:lnTo>
                      <a:pt x="1" y="25"/>
                    </a:lnTo>
                    <a:lnTo>
                      <a:pt x="5" y="35"/>
                    </a:lnTo>
                    <a:lnTo>
                      <a:pt x="10" y="42"/>
                    </a:lnTo>
                    <a:lnTo>
                      <a:pt x="12" y="45"/>
                    </a:lnTo>
                    <a:lnTo>
                      <a:pt x="15" y="47"/>
                    </a:lnTo>
                    <a:lnTo>
                      <a:pt x="18" y="49"/>
                    </a:lnTo>
                    <a:lnTo>
                      <a:pt x="17" y="39"/>
                    </a:lnTo>
                    <a:lnTo>
                      <a:pt x="19" y="29"/>
                    </a:lnTo>
                    <a:lnTo>
                      <a:pt x="24" y="18"/>
                    </a:lnTo>
                    <a:lnTo>
                      <a:pt x="29" y="8"/>
                    </a:lnTo>
                    <a:lnTo>
                      <a:pt x="36" y="2"/>
                    </a:lnTo>
                    <a:lnTo>
                      <a:pt x="44" y="0"/>
                    </a:lnTo>
                    <a:close/>
                  </a:path>
                </a:pathLst>
              </a:custGeom>
              <a:solidFill>
                <a:srgbClr val="D7273A"/>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57" name="Freeform 307"/>
              <p:cNvSpPr>
                <a:spLocks/>
              </p:cNvSpPr>
              <p:nvPr/>
            </p:nvSpPr>
            <p:spPr bwMode="auto">
              <a:xfrm>
                <a:off x="4081" y="2738"/>
                <a:ext cx="174" cy="174"/>
              </a:xfrm>
              <a:custGeom>
                <a:avLst/>
                <a:gdLst>
                  <a:gd name="T0" fmla="*/ 87 w 174"/>
                  <a:gd name="T1" fmla="*/ 0 h 174"/>
                  <a:gd name="T2" fmla="*/ 111 w 174"/>
                  <a:gd name="T3" fmla="*/ 3 h 174"/>
                  <a:gd name="T4" fmla="*/ 131 w 174"/>
                  <a:gd name="T5" fmla="*/ 12 h 174"/>
                  <a:gd name="T6" fmla="*/ 149 w 174"/>
                  <a:gd name="T7" fmla="*/ 26 h 174"/>
                  <a:gd name="T8" fmla="*/ 162 w 174"/>
                  <a:gd name="T9" fmla="*/ 43 h 174"/>
                  <a:gd name="T10" fmla="*/ 171 w 174"/>
                  <a:gd name="T11" fmla="*/ 64 h 174"/>
                  <a:gd name="T12" fmla="*/ 174 w 174"/>
                  <a:gd name="T13" fmla="*/ 87 h 174"/>
                  <a:gd name="T14" fmla="*/ 171 w 174"/>
                  <a:gd name="T15" fmla="*/ 110 h 174"/>
                  <a:gd name="T16" fmla="*/ 162 w 174"/>
                  <a:gd name="T17" fmla="*/ 130 h 174"/>
                  <a:gd name="T18" fmla="*/ 149 w 174"/>
                  <a:gd name="T19" fmla="*/ 149 h 174"/>
                  <a:gd name="T20" fmla="*/ 131 w 174"/>
                  <a:gd name="T21" fmla="*/ 163 h 174"/>
                  <a:gd name="T22" fmla="*/ 111 w 174"/>
                  <a:gd name="T23" fmla="*/ 171 h 174"/>
                  <a:gd name="T24" fmla="*/ 87 w 174"/>
                  <a:gd name="T25" fmla="*/ 174 h 174"/>
                  <a:gd name="T26" fmla="*/ 63 w 174"/>
                  <a:gd name="T27" fmla="*/ 171 h 174"/>
                  <a:gd name="T28" fmla="*/ 43 w 174"/>
                  <a:gd name="T29" fmla="*/ 163 h 174"/>
                  <a:gd name="T30" fmla="*/ 26 w 174"/>
                  <a:gd name="T31" fmla="*/ 149 h 174"/>
                  <a:gd name="T32" fmla="*/ 12 w 174"/>
                  <a:gd name="T33" fmla="*/ 130 h 174"/>
                  <a:gd name="T34" fmla="*/ 3 w 174"/>
                  <a:gd name="T35" fmla="*/ 110 h 174"/>
                  <a:gd name="T36" fmla="*/ 0 w 174"/>
                  <a:gd name="T37" fmla="*/ 87 h 174"/>
                  <a:gd name="T38" fmla="*/ 3 w 174"/>
                  <a:gd name="T39" fmla="*/ 64 h 174"/>
                  <a:gd name="T40" fmla="*/ 12 w 174"/>
                  <a:gd name="T41" fmla="*/ 43 h 174"/>
                  <a:gd name="T42" fmla="*/ 26 w 174"/>
                  <a:gd name="T43" fmla="*/ 26 h 174"/>
                  <a:gd name="T44" fmla="*/ 43 w 174"/>
                  <a:gd name="T45" fmla="*/ 12 h 174"/>
                  <a:gd name="T46" fmla="*/ 63 w 174"/>
                  <a:gd name="T47" fmla="*/ 3 h 174"/>
                  <a:gd name="T48" fmla="*/ 87 w 174"/>
                  <a:gd name="T49" fmla="*/ 0 h 1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74" h="174">
                    <a:moveTo>
                      <a:pt x="87" y="0"/>
                    </a:moveTo>
                    <a:lnTo>
                      <a:pt x="111" y="3"/>
                    </a:lnTo>
                    <a:lnTo>
                      <a:pt x="131" y="12"/>
                    </a:lnTo>
                    <a:lnTo>
                      <a:pt x="149" y="26"/>
                    </a:lnTo>
                    <a:lnTo>
                      <a:pt x="162" y="43"/>
                    </a:lnTo>
                    <a:lnTo>
                      <a:pt x="171" y="64"/>
                    </a:lnTo>
                    <a:lnTo>
                      <a:pt x="174" y="87"/>
                    </a:lnTo>
                    <a:lnTo>
                      <a:pt x="171" y="110"/>
                    </a:lnTo>
                    <a:lnTo>
                      <a:pt x="162" y="130"/>
                    </a:lnTo>
                    <a:lnTo>
                      <a:pt x="149" y="149"/>
                    </a:lnTo>
                    <a:lnTo>
                      <a:pt x="131" y="163"/>
                    </a:lnTo>
                    <a:lnTo>
                      <a:pt x="111" y="171"/>
                    </a:lnTo>
                    <a:lnTo>
                      <a:pt x="87" y="174"/>
                    </a:lnTo>
                    <a:lnTo>
                      <a:pt x="63" y="171"/>
                    </a:lnTo>
                    <a:lnTo>
                      <a:pt x="43" y="163"/>
                    </a:lnTo>
                    <a:lnTo>
                      <a:pt x="26" y="149"/>
                    </a:lnTo>
                    <a:lnTo>
                      <a:pt x="12" y="130"/>
                    </a:lnTo>
                    <a:lnTo>
                      <a:pt x="3" y="110"/>
                    </a:lnTo>
                    <a:lnTo>
                      <a:pt x="0" y="87"/>
                    </a:lnTo>
                    <a:lnTo>
                      <a:pt x="3" y="64"/>
                    </a:lnTo>
                    <a:lnTo>
                      <a:pt x="12" y="43"/>
                    </a:lnTo>
                    <a:lnTo>
                      <a:pt x="26" y="26"/>
                    </a:lnTo>
                    <a:lnTo>
                      <a:pt x="43" y="12"/>
                    </a:lnTo>
                    <a:lnTo>
                      <a:pt x="63" y="3"/>
                    </a:lnTo>
                    <a:lnTo>
                      <a:pt x="87" y="0"/>
                    </a:lnTo>
                    <a:close/>
                  </a:path>
                </a:pathLst>
              </a:custGeom>
              <a:solidFill>
                <a:srgbClr val="29426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58" name="Freeform 308"/>
              <p:cNvSpPr>
                <a:spLocks noEditPoints="1"/>
              </p:cNvSpPr>
              <p:nvPr/>
            </p:nvSpPr>
            <p:spPr bwMode="auto">
              <a:xfrm>
                <a:off x="4076" y="2732"/>
                <a:ext cx="186" cy="185"/>
              </a:xfrm>
              <a:custGeom>
                <a:avLst/>
                <a:gdLst>
                  <a:gd name="T0" fmla="*/ 93 w 186"/>
                  <a:gd name="T1" fmla="*/ 10 h 185"/>
                  <a:gd name="T2" fmla="*/ 72 w 186"/>
                  <a:gd name="T3" fmla="*/ 14 h 185"/>
                  <a:gd name="T4" fmla="*/ 52 w 186"/>
                  <a:gd name="T5" fmla="*/ 21 h 185"/>
                  <a:gd name="T6" fmla="*/ 35 w 186"/>
                  <a:gd name="T7" fmla="*/ 34 h 185"/>
                  <a:gd name="T8" fmla="*/ 22 w 186"/>
                  <a:gd name="T9" fmla="*/ 51 h 185"/>
                  <a:gd name="T10" fmla="*/ 14 w 186"/>
                  <a:gd name="T11" fmla="*/ 71 h 185"/>
                  <a:gd name="T12" fmla="*/ 11 w 186"/>
                  <a:gd name="T13" fmla="*/ 91 h 185"/>
                  <a:gd name="T14" fmla="*/ 14 w 186"/>
                  <a:gd name="T15" fmla="*/ 113 h 185"/>
                  <a:gd name="T16" fmla="*/ 22 w 186"/>
                  <a:gd name="T17" fmla="*/ 133 h 185"/>
                  <a:gd name="T18" fmla="*/ 35 w 186"/>
                  <a:gd name="T19" fmla="*/ 150 h 185"/>
                  <a:gd name="T20" fmla="*/ 52 w 186"/>
                  <a:gd name="T21" fmla="*/ 163 h 185"/>
                  <a:gd name="T22" fmla="*/ 72 w 186"/>
                  <a:gd name="T23" fmla="*/ 172 h 185"/>
                  <a:gd name="T24" fmla="*/ 93 w 186"/>
                  <a:gd name="T25" fmla="*/ 174 h 185"/>
                  <a:gd name="T26" fmla="*/ 109 w 186"/>
                  <a:gd name="T27" fmla="*/ 173 h 185"/>
                  <a:gd name="T28" fmla="*/ 125 w 186"/>
                  <a:gd name="T29" fmla="*/ 169 h 185"/>
                  <a:gd name="T30" fmla="*/ 138 w 186"/>
                  <a:gd name="T31" fmla="*/ 161 h 185"/>
                  <a:gd name="T32" fmla="*/ 150 w 186"/>
                  <a:gd name="T33" fmla="*/ 150 h 185"/>
                  <a:gd name="T34" fmla="*/ 164 w 186"/>
                  <a:gd name="T35" fmla="*/ 133 h 185"/>
                  <a:gd name="T36" fmla="*/ 172 w 186"/>
                  <a:gd name="T37" fmla="*/ 113 h 185"/>
                  <a:gd name="T38" fmla="*/ 174 w 186"/>
                  <a:gd name="T39" fmla="*/ 91 h 185"/>
                  <a:gd name="T40" fmla="*/ 172 w 186"/>
                  <a:gd name="T41" fmla="*/ 71 h 185"/>
                  <a:gd name="T42" fmla="*/ 164 w 186"/>
                  <a:gd name="T43" fmla="*/ 51 h 185"/>
                  <a:gd name="T44" fmla="*/ 150 w 186"/>
                  <a:gd name="T45" fmla="*/ 34 h 185"/>
                  <a:gd name="T46" fmla="*/ 138 w 186"/>
                  <a:gd name="T47" fmla="*/ 24 h 185"/>
                  <a:gd name="T48" fmla="*/ 125 w 186"/>
                  <a:gd name="T49" fmla="*/ 17 h 185"/>
                  <a:gd name="T50" fmla="*/ 109 w 186"/>
                  <a:gd name="T51" fmla="*/ 12 h 185"/>
                  <a:gd name="T52" fmla="*/ 93 w 186"/>
                  <a:gd name="T53" fmla="*/ 10 h 185"/>
                  <a:gd name="T54" fmla="*/ 93 w 186"/>
                  <a:gd name="T55" fmla="*/ 0 h 185"/>
                  <a:gd name="T56" fmla="*/ 111 w 186"/>
                  <a:gd name="T57" fmla="*/ 2 h 185"/>
                  <a:gd name="T58" fmla="*/ 129 w 186"/>
                  <a:gd name="T59" fmla="*/ 6 h 185"/>
                  <a:gd name="T60" fmla="*/ 145 w 186"/>
                  <a:gd name="T61" fmla="*/ 15 h 185"/>
                  <a:gd name="T62" fmla="*/ 159 w 186"/>
                  <a:gd name="T63" fmla="*/ 26 h 185"/>
                  <a:gd name="T64" fmla="*/ 170 w 186"/>
                  <a:gd name="T65" fmla="*/ 40 h 185"/>
                  <a:gd name="T66" fmla="*/ 178 w 186"/>
                  <a:gd name="T67" fmla="*/ 57 h 185"/>
                  <a:gd name="T68" fmla="*/ 184 w 186"/>
                  <a:gd name="T69" fmla="*/ 74 h 185"/>
                  <a:gd name="T70" fmla="*/ 186 w 186"/>
                  <a:gd name="T71" fmla="*/ 91 h 185"/>
                  <a:gd name="T72" fmla="*/ 184 w 186"/>
                  <a:gd name="T73" fmla="*/ 110 h 185"/>
                  <a:gd name="T74" fmla="*/ 178 w 186"/>
                  <a:gd name="T75" fmla="*/ 128 h 185"/>
                  <a:gd name="T76" fmla="*/ 170 w 186"/>
                  <a:gd name="T77" fmla="*/ 144 h 185"/>
                  <a:gd name="T78" fmla="*/ 159 w 186"/>
                  <a:gd name="T79" fmla="*/ 158 h 185"/>
                  <a:gd name="T80" fmla="*/ 145 w 186"/>
                  <a:gd name="T81" fmla="*/ 170 h 185"/>
                  <a:gd name="T82" fmla="*/ 129 w 186"/>
                  <a:gd name="T83" fmla="*/ 178 h 185"/>
                  <a:gd name="T84" fmla="*/ 111 w 186"/>
                  <a:gd name="T85" fmla="*/ 184 h 185"/>
                  <a:gd name="T86" fmla="*/ 93 w 186"/>
                  <a:gd name="T87" fmla="*/ 185 h 185"/>
                  <a:gd name="T88" fmla="*/ 75 w 186"/>
                  <a:gd name="T89" fmla="*/ 184 h 185"/>
                  <a:gd name="T90" fmla="*/ 58 w 186"/>
                  <a:gd name="T91" fmla="*/ 178 h 185"/>
                  <a:gd name="T92" fmla="*/ 42 w 186"/>
                  <a:gd name="T93" fmla="*/ 170 h 185"/>
                  <a:gd name="T94" fmla="*/ 28 w 186"/>
                  <a:gd name="T95" fmla="*/ 158 h 185"/>
                  <a:gd name="T96" fmla="*/ 16 w 186"/>
                  <a:gd name="T97" fmla="*/ 144 h 185"/>
                  <a:gd name="T98" fmla="*/ 7 w 186"/>
                  <a:gd name="T99" fmla="*/ 128 h 185"/>
                  <a:gd name="T100" fmla="*/ 2 w 186"/>
                  <a:gd name="T101" fmla="*/ 110 h 185"/>
                  <a:gd name="T102" fmla="*/ 0 w 186"/>
                  <a:gd name="T103" fmla="*/ 91 h 185"/>
                  <a:gd name="T104" fmla="*/ 2 w 186"/>
                  <a:gd name="T105" fmla="*/ 74 h 185"/>
                  <a:gd name="T106" fmla="*/ 7 w 186"/>
                  <a:gd name="T107" fmla="*/ 57 h 185"/>
                  <a:gd name="T108" fmla="*/ 16 w 186"/>
                  <a:gd name="T109" fmla="*/ 40 h 185"/>
                  <a:gd name="T110" fmla="*/ 28 w 186"/>
                  <a:gd name="T111" fmla="*/ 26 h 185"/>
                  <a:gd name="T112" fmla="*/ 42 w 186"/>
                  <a:gd name="T113" fmla="*/ 15 h 185"/>
                  <a:gd name="T114" fmla="*/ 58 w 186"/>
                  <a:gd name="T115" fmla="*/ 6 h 185"/>
                  <a:gd name="T116" fmla="*/ 75 w 186"/>
                  <a:gd name="T117" fmla="*/ 2 h 185"/>
                  <a:gd name="T118" fmla="*/ 93 w 186"/>
                  <a:gd name="T119" fmla="*/ 0 h 18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86" h="185">
                    <a:moveTo>
                      <a:pt x="93" y="10"/>
                    </a:moveTo>
                    <a:lnTo>
                      <a:pt x="72" y="14"/>
                    </a:lnTo>
                    <a:lnTo>
                      <a:pt x="52" y="21"/>
                    </a:lnTo>
                    <a:lnTo>
                      <a:pt x="35" y="34"/>
                    </a:lnTo>
                    <a:lnTo>
                      <a:pt x="22" y="51"/>
                    </a:lnTo>
                    <a:lnTo>
                      <a:pt x="14" y="71"/>
                    </a:lnTo>
                    <a:lnTo>
                      <a:pt x="11" y="91"/>
                    </a:lnTo>
                    <a:lnTo>
                      <a:pt x="14" y="113"/>
                    </a:lnTo>
                    <a:lnTo>
                      <a:pt x="22" y="133"/>
                    </a:lnTo>
                    <a:lnTo>
                      <a:pt x="35" y="150"/>
                    </a:lnTo>
                    <a:lnTo>
                      <a:pt x="52" y="163"/>
                    </a:lnTo>
                    <a:lnTo>
                      <a:pt x="72" y="172"/>
                    </a:lnTo>
                    <a:lnTo>
                      <a:pt x="93" y="174"/>
                    </a:lnTo>
                    <a:lnTo>
                      <a:pt x="109" y="173"/>
                    </a:lnTo>
                    <a:lnTo>
                      <a:pt x="125" y="169"/>
                    </a:lnTo>
                    <a:lnTo>
                      <a:pt x="138" y="161"/>
                    </a:lnTo>
                    <a:lnTo>
                      <a:pt x="150" y="150"/>
                    </a:lnTo>
                    <a:lnTo>
                      <a:pt x="164" y="133"/>
                    </a:lnTo>
                    <a:lnTo>
                      <a:pt x="172" y="113"/>
                    </a:lnTo>
                    <a:lnTo>
                      <a:pt x="174" y="91"/>
                    </a:lnTo>
                    <a:lnTo>
                      <a:pt x="172" y="71"/>
                    </a:lnTo>
                    <a:lnTo>
                      <a:pt x="164" y="51"/>
                    </a:lnTo>
                    <a:lnTo>
                      <a:pt x="150" y="34"/>
                    </a:lnTo>
                    <a:lnTo>
                      <a:pt x="138" y="24"/>
                    </a:lnTo>
                    <a:lnTo>
                      <a:pt x="125" y="17"/>
                    </a:lnTo>
                    <a:lnTo>
                      <a:pt x="109" y="12"/>
                    </a:lnTo>
                    <a:lnTo>
                      <a:pt x="93" y="10"/>
                    </a:lnTo>
                    <a:close/>
                    <a:moveTo>
                      <a:pt x="93" y="0"/>
                    </a:moveTo>
                    <a:lnTo>
                      <a:pt x="111" y="2"/>
                    </a:lnTo>
                    <a:lnTo>
                      <a:pt x="129" y="6"/>
                    </a:lnTo>
                    <a:lnTo>
                      <a:pt x="145" y="15"/>
                    </a:lnTo>
                    <a:lnTo>
                      <a:pt x="159" y="26"/>
                    </a:lnTo>
                    <a:lnTo>
                      <a:pt x="170" y="40"/>
                    </a:lnTo>
                    <a:lnTo>
                      <a:pt x="178" y="57"/>
                    </a:lnTo>
                    <a:lnTo>
                      <a:pt x="184" y="74"/>
                    </a:lnTo>
                    <a:lnTo>
                      <a:pt x="186" y="91"/>
                    </a:lnTo>
                    <a:lnTo>
                      <a:pt x="184" y="110"/>
                    </a:lnTo>
                    <a:lnTo>
                      <a:pt x="178" y="128"/>
                    </a:lnTo>
                    <a:lnTo>
                      <a:pt x="170" y="144"/>
                    </a:lnTo>
                    <a:lnTo>
                      <a:pt x="159" y="158"/>
                    </a:lnTo>
                    <a:lnTo>
                      <a:pt x="145" y="170"/>
                    </a:lnTo>
                    <a:lnTo>
                      <a:pt x="129" y="178"/>
                    </a:lnTo>
                    <a:lnTo>
                      <a:pt x="111" y="184"/>
                    </a:lnTo>
                    <a:lnTo>
                      <a:pt x="93" y="185"/>
                    </a:lnTo>
                    <a:lnTo>
                      <a:pt x="75" y="184"/>
                    </a:lnTo>
                    <a:lnTo>
                      <a:pt x="58" y="178"/>
                    </a:lnTo>
                    <a:lnTo>
                      <a:pt x="42" y="170"/>
                    </a:lnTo>
                    <a:lnTo>
                      <a:pt x="28" y="158"/>
                    </a:lnTo>
                    <a:lnTo>
                      <a:pt x="16" y="144"/>
                    </a:lnTo>
                    <a:lnTo>
                      <a:pt x="7" y="128"/>
                    </a:lnTo>
                    <a:lnTo>
                      <a:pt x="2" y="110"/>
                    </a:lnTo>
                    <a:lnTo>
                      <a:pt x="0" y="91"/>
                    </a:lnTo>
                    <a:lnTo>
                      <a:pt x="2" y="74"/>
                    </a:lnTo>
                    <a:lnTo>
                      <a:pt x="7" y="57"/>
                    </a:lnTo>
                    <a:lnTo>
                      <a:pt x="16" y="40"/>
                    </a:lnTo>
                    <a:lnTo>
                      <a:pt x="28" y="26"/>
                    </a:lnTo>
                    <a:lnTo>
                      <a:pt x="42" y="15"/>
                    </a:lnTo>
                    <a:lnTo>
                      <a:pt x="58" y="6"/>
                    </a:lnTo>
                    <a:lnTo>
                      <a:pt x="75" y="2"/>
                    </a:lnTo>
                    <a:lnTo>
                      <a:pt x="93" y="0"/>
                    </a:lnTo>
                    <a:close/>
                  </a:path>
                </a:pathLst>
              </a:custGeom>
              <a:solidFill>
                <a:srgbClr val="8BC936"/>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59" name="Freeform 309"/>
              <p:cNvSpPr>
                <a:spLocks/>
              </p:cNvSpPr>
              <p:nvPr/>
            </p:nvSpPr>
            <p:spPr bwMode="auto">
              <a:xfrm>
                <a:off x="4132" y="2789"/>
                <a:ext cx="75" cy="71"/>
              </a:xfrm>
              <a:custGeom>
                <a:avLst/>
                <a:gdLst>
                  <a:gd name="T0" fmla="*/ 68 w 75"/>
                  <a:gd name="T1" fmla="*/ 0 h 71"/>
                  <a:gd name="T2" fmla="*/ 73 w 75"/>
                  <a:gd name="T3" fmla="*/ 1 h 71"/>
                  <a:gd name="T4" fmla="*/ 75 w 75"/>
                  <a:gd name="T5" fmla="*/ 6 h 71"/>
                  <a:gd name="T6" fmla="*/ 74 w 75"/>
                  <a:gd name="T7" fmla="*/ 15 h 71"/>
                  <a:gd name="T8" fmla="*/ 72 w 75"/>
                  <a:gd name="T9" fmla="*/ 27 h 71"/>
                  <a:gd name="T10" fmla="*/ 66 w 75"/>
                  <a:gd name="T11" fmla="*/ 39 h 71"/>
                  <a:gd name="T12" fmla="*/ 58 w 75"/>
                  <a:gd name="T13" fmla="*/ 52 h 71"/>
                  <a:gd name="T14" fmla="*/ 57 w 75"/>
                  <a:gd name="T15" fmla="*/ 53 h 71"/>
                  <a:gd name="T16" fmla="*/ 52 w 75"/>
                  <a:gd name="T17" fmla="*/ 59 h 71"/>
                  <a:gd name="T18" fmla="*/ 46 w 75"/>
                  <a:gd name="T19" fmla="*/ 64 h 71"/>
                  <a:gd name="T20" fmla="*/ 37 w 75"/>
                  <a:gd name="T21" fmla="*/ 70 h 71"/>
                  <a:gd name="T22" fmla="*/ 29 w 75"/>
                  <a:gd name="T23" fmla="*/ 71 h 71"/>
                  <a:gd name="T24" fmla="*/ 20 w 75"/>
                  <a:gd name="T25" fmla="*/ 67 h 71"/>
                  <a:gd name="T26" fmla="*/ 16 w 75"/>
                  <a:gd name="T27" fmla="*/ 62 h 71"/>
                  <a:gd name="T28" fmla="*/ 17 w 75"/>
                  <a:gd name="T29" fmla="*/ 56 h 71"/>
                  <a:gd name="T30" fmla="*/ 21 w 75"/>
                  <a:gd name="T31" fmla="*/ 48 h 71"/>
                  <a:gd name="T32" fmla="*/ 26 w 75"/>
                  <a:gd name="T33" fmla="*/ 41 h 71"/>
                  <a:gd name="T34" fmla="*/ 33 w 75"/>
                  <a:gd name="T35" fmla="*/ 34 h 71"/>
                  <a:gd name="T36" fmla="*/ 39 w 75"/>
                  <a:gd name="T37" fmla="*/ 29 h 71"/>
                  <a:gd name="T38" fmla="*/ 44 w 75"/>
                  <a:gd name="T39" fmla="*/ 24 h 71"/>
                  <a:gd name="T40" fmla="*/ 46 w 75"/>
                  <a:gd name="T41" fmla="*/ 23 h 71"/>
                  <a:gd name="T42" fmla="*/ 35 w 75"/>
                  <a:gd name="T43" fmla="*/ 27 h 71"/>
                  <a:gd name="T44" fmla="*/ 26 w 75"/>
                  <a:gd name="T45" fmla="*/ 34 h 71"/>
                  <a:gd name="T46" fmla="*/ 19 w 75"/>
                  <a:gd name="T47" fmla="*/ 43 h 71"/>
                  <a:gd name="T48" fmla="*/ 14 w 75"/>
                  <a:gd name="T49" fmla="*/ 50 h 71"/>
                  <a:gd name="T50" fmla="*/ 10 w 75"/>
                  <a:gd name="T51" fmla="*/ 57 h 71"/>
                  <a:gd name="T52" fmla="*/ 9 w 75"/>
                  <a:gd name="T53" fmla="*/ 60 h 71"/>
                  <a:gd name="T54" fmla="*/ 8 w 75"/>
                  <a:gd name="T55" fmla="*/ 59 h 71"/>
                  <a:gd name="T56" fmla="*/ 5 w 75"/>
                  <a:gd name="T57" fmla="*/ 55 h 71"/>
                  <a:gd name="T58" fmla="*/ 2 w 75"/>
                  <a:gd name="T59" fmla="*/ 49 h 71"/>
                  <a:gd name="T60" fmla="*/ 0 w 75"/>
                  <a:gd name="T61" fmla="*/ 42 h 71"/>
                  <a:gd name="T62" fmla="*/ 1 w 75"/>
                  <a:gd name="T63" fmla="*/ 33 h 71"/>
                  <a:gd name="T64" fmla="*/ 6 w 75"/>
                  <a:gd name="T65" fmla="*/ 23 h 71"/>
                  <a:gd name="T66" fmla="*/ 15 w 75"/>
                  <a:gd name="T67" fmla="*/ 16 h 71"/>
                  <a:gd name="T68" fmla="*/ 25 w 75"/>
                  <a:gd name="T69" fmla="*/ 9 h 71"/>
                  <a:gd name="T70" fmla="*/ 37 w 75"/>
                  <a:gd name="T71" fmla="*/ 5 h 71"/>
                  <a:gd name="T72" fmla="*/ 49 w 75"/>
                  <a:gd name="T73" fmla="*/ 2 h 71"/>
                  <a:gd name="T74" fmla="*/ 60 w 75"/>
                  <a:gd name="T75" fmla="*/ 0 h 71"/>
                  <a:gd name="T76" fmla="*/ 68 w 75"/>
                  <a:gd name="T77" fmla="*/ 0 h 7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75" h="71">
                    <a:moveTo>
                      <a:pt x="68" y="0"/>
                    </a:moveTo>
                    <a:lnTo>
                      <a:pt x="73" y="1"/>
                    </a:lnTo>
                    <a:lnTo>
                      <a:pt x="75" y="6"/>
                    </a:lnTo>
                    <a:lnTo>
                      <a:pt x="74" y="15"/>
                    </a:lnTo>
                    <a:lnTo>
                      <a:pt x="72" y="27"/>
                    </a:lnTo>
                    <a:lnTo>
                      <a:pt x="66" y="39"/>
                    </a:lnTo>
                    <a:lnTo>
                      <a:pt x="58" y="52"/>
                    </a:lnTo>
                    <a:lnTo>
                      <a:pt x="57" y="53"/>
                    </a:lnTo>
                    <a:lnTo>
                      <a:pt x="52" y="59"/>
                    </a:lnTo>
                    <a:lnTo>
                      <a:pt x="46" y="64"/>
                    </a:lnTo>
                    <a:lnTo>
                      <a:pt x="37" y="70"/>
                    </a:lnTo>
                    <a:lnTo>
                      <a:pt x="29" y="71"/>
                    </a:lnTo>
                    <a:lnTo>
                      <a:pt x="20" y="67"/>
                    </a:lnTo>
                    <a:lnTo>
                      <a:pt x="16" y="62"/>
                    </a:lnTo>
                    <a:lnTo>
                      <a:pt x="17" y="56"/>
                    </a:lnTo>
                    <a:lnTo>
                      <a:pt x="21" y="48"/>
                    </a:lnTo>
                    <a:lnTo>
                      <a:pt x="26" y="41"/>
                    </a:lnTo>
                    <a:lnTo>
                      <a:pt x="33" y="34"/>
                    </a:lnTo>
                    <a:lnTo>
                      <a:pt x="39" y="29"/>
                    </a:lnTo>
                    <a:lnTo>
                      <a:pt x="44" y="24"/>
                    </a:lnTo>
                    <a:lnTo>
                      <a:pt x="46" y="23"/>
                    </a:lnTo>
                    <a:lnTo>
                      <a:pt x="35" y="27"/>
                    </a:lnTo>
                    <a:lnTo>
                      <a:pt x="26" y="34"/>
                    </a:lnTo>
                    <a:lnTo>
                      <a:pt x="19" y="43"/>
                    </a:lnTo>
                    <a:lnTo>
                      <a:pt x="14" y="50"/>
                    </a:lnTo>
                    <a:lnTo>
                      <a:pt x="10" y="57"/>
                    </a:lnTo>
                    <a:lnTo>
                      <a:pt x="9" y="60"/>
                    </a:lnTo>
                    <a:lnTo>
                      <a:pt x="8" y="59"/>
                    </a:lnTo>
                    <a:lnTo>
                      <a:pt x="5" y="55"/>
                    </a:lnTo>
                    <a:lnTo>
                      <a:pt x="2" y="49"/>
                    </a:lnTo>
                    <a:lnTo>
                      <a:pt x="0" y="42"/>
                    </a:lnTo>
                    <a:lnTo>
                      <a:pt x="1" y="33"/>
                    </a:lnTo>
                    <a:lnTo>
                      <a:pt x="6" y="23"/>
                    </a:lnTo>
                    <a:lnTo>
                      <a:pt x="15" y="16"/>
                    </a:lnTo>
                    <a:lnTo>
                      <a:pt x="25" y="9"/>
                    </a:lnTo>
                    <a:lnTo>
                      <a:pt x="37" y="5"/>
                    </a:lnTo>
                    <a:lnTo>
                      <a:pt x="49" y="2"/>
                    </a:lnTo>
                    <a:lnTo>
                      <a:pt x="60" y="0"/>
                    </a:lnTo>
                    <a:lnTo>
                      <a:pt x="68" y="0"/>
                    </a:lnTo>
                    <a:close/>
                  </a:path>
                </a:pathLst>
              </a:custGeom>
              <a:solidFill>
                <a:srgbClr val="8BC936"/>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60" name="Rectangle 310"/>
              <p:cNvSpPr>
                <a:spLocks noChangeArrowheads="1"/>
              </p:cNvSpPr>
              <p:nvPr/>
            </p:nvSpPr>
            <p:spPr bwMode="auto">
              <a:xfrm>
                <a:off x="4084" y="2818"/>
                <a:ext cx="3" cy="10"/>
              </a:xfrm>
              <a:prstGeom prst="rect">
                <a:avLst/>
              </a:prstGeom>
              <a:solidFill>
                <a:srgbClr val="8BC936"/>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eaLnBrk="1" hangingPunct="1"/>
                <a:endParaRPr lang="es-ES" altLang="es-CL" dirty="0">
                  <a:solidFill>
                    <a:srgbClr val="333333"/>
                  </a:solidFill>
                  <a:latin typeface="Arial" pitchFamily="34" charset="0"/>
                </a:endParaRPr>
              </a:p>
            </p:txBody>
          </p:sp>
          <p:sp>
            <p:nvSpPr>
              <p:cNvPr id="2161" name="Freeform 311"/>
              <p:cNvSpPr>
                <a:spLocks noEditPoints="1"/>
              </p:cNvSpPr>
              <p:nvPr/>
            </p:nvSpPr>
            <p:spPr bwMode="auto">
              <a:xfrm>
                <a:off x="3505" y="2820"/>
                <a:ext cx="563" cy="35"/>
              </a:xfrm>
              <a:custGeom>
                <a:avLst/>
                <a:gdLst>
                  <a:gd name="T0" fmla="*/ 6 w 563"/>
                  <a:gd name="T1" fmla="*/ 25 h 35"/>
                  <a:gd name="T2" fmla="*/ 0 w 563"/>
                  <a:gd name="T3" fmla="*/ 35 h 35"/>
                  <a:gd name="T4" fmla="*/ 25 w 563"/>
                  <a:gd name="T5" fmla="*/ 24 h 35"/>
                  <a:gd name="T6" fmla="*/ 32 w 563"/>
                  <a:gd name="T7" fmla="*/ 34 h 35"/>
                  <a:gd name="T8" fmla="*/ 25 w 563"/>
                  <a:gd name="T9" fmla="*/ 24 h 35"/>
                  <a:gd name="T10" fmla="*/ 57 w 563"/>
                  <a:gd name="T11" fmla="*/ 22 h 35"/>
                  <a:gd name="T12" fmla="*/ 50 w 563"/>
                  <a:gd name="T13" fmla="*/ 33 h 35"/>
                  <a:gd name="T14" fmla="*/ 76 w 563"/>
                  <a:gd name="T15" fmla="*/ 21 h 35"/>
                  <a:gd name="T16" fmla="*/ 82 w 563"/>
                  <a:gd name="T17" fmla="*/ 32 h 35"/>
                  <a:gd name="T18" fmla="*/ 76 w 563"/>
                  <a:gd name="T19" fmla="*/ 21 h 35"/>
                  <a:gd name="T20" fmla="*/ 107 w 563"/>
                  <a:gd name="T21" fmla="*/ 20 h 35"/>
                  <a:gd name="T22" fmla="*/ 101 w 563"/>
                  <a:gd name="T23" fmla="*/ 31 h 35"/>
                  <a:gd name="T24" fmla="*/ 126 w 563"/>
                  <a:gd name="T25" fmla="*/ 19 h 35"/>
                  <a:gd name="T26" fmla="*/ 133 w 563"/>
                  <a:gd name="T27" fmla="*/ 30 h 35"/>
                  <a:gd name="T28" fmla="*/ 126 w 563"/>
                  <a:gd name="T29" fmla="*/ 19 h 35"/>
                  <a:gd name="T30" fmla="*/ 158 w 563"/>
                  <a:gd name="T31" fmla="*/ 18 h 35"/>
                  <a:gd name="T32" fmla="*/ 151 w 563"/>
                  <a:gd name="T33" fmla="*/ 29 h 35"/>
                  <a:gd name="T34" fmla="*/ 177 w 563"/>
                  <a:gd name="T35" fmla="*/ 17 h 35"/>
                  <a:gd name="T36" fmla="*/ 183 w 563"/>
                  <a:gd name="T37" fmla="*/ 28 h 35"/>
                  <a:gd name="T38" fmla="*/ 177 w 563"/>
                  <a:gd name="T39" fmla="*/ 17 h 35"/>
                  <a:gd name="T40" fmla="*/ 208 w 563"/>
                  <a:gd name="T41" fmla="*/ 26 h 35"/>
                  <a:gd name="T42" fmla="*/ 202 w 563"/>
                  <a:gd name="T43" fmla="*/ 16 h 35"/>
                  <a:gd name="T44" fmla="*/ 234 w 563"/>
                  <a:gd name="T45" fmla="*/ 14 h 35"/>
                  <a:gd name="T46" fmla="*/ 228 w 563"/>
                  <a:gd name="T47" fmla="*/ 26 h 35"/>
                  <a:gd name="T48" fmla="*/ 234 w 563"/>
                  <a:gd name="T49" fmla="*/ 14 h 35"/>
                  <a:gd name="T50" fmla="*/ 259 w 563"/>
                  <a:gd name="T51" fmla="*/ 24 h 35"/>
                  <a:gd name="T52" fmla="*/ 253 w 563"/>
                  <a:gd name="T53" fmla="*/ 14 h 35"/>
                  <a:gd name="T54" fmla="*/ 285 w 563"/>
                  <a:gd name="T55" fmla="*/ 12 h 35"/>
                  <a:gd name="T56" fmla="*/ 278 w 563"/>
                  <a:gd name="T57" fmla="*/ 24 h 35"/>
                  <a:gd name="T58" fmla="*/ 285 w 563"/>
                  <a:gd name="T59" fmla="*/ 12 h 35"/>
                  <a:gd name="T60" fmla="*/ 310 w 563"/>
                  <a:gd name="T61" fmla="*/ 21 h 35"/>
                  <a:gd name="T62" fmla="*/ 304 w 563"/>
                  <a:gd name="T63" fmla="*/ 12 h 35"/>
                  <a:gd name="T64" fmla="*/ 335 w 563"/>
                  <a:gd name="T65" fmla="*/ 10 h 35"/>
                  <a:gd name="T66" fmla="*/ 329 w 563"/>
                  <a:gd name="T67" fmla="*/ 21 h 35"/>
                  <a:gd name="T68" fmla="*/ 335 w 563"/>
                  <a:gd name="T69" fmla="*/ 10 h 35"/>
                  <a:gd name="T70" fmla="*/ 361 w 563"/>
                  <a:gd name="T71" fmla="*/ 19 h 35"/>
                  <a:gd name="T72" fmla="*/ 354 w 563"/>
                  <a:gd name="T73" fmla="*/ 10 h 35"/>
                  <a:gd name="T74" fmla="*/ 386 w 563"/>
                  <a:gd name="T75" fmla="*/ 7 h 35"/>
                  <a:gd name="T76" fmla="*/ 379 w 563"/>
                  <a:gd name="T77" fmla="*/ 19 h 35"/>
                  <a:gd name="T78" fmla="*/ 386 w 563"/>
                  <a:gd name="T79" fmla="*/ 7 h 35"/>
                  <a:gd name="T80" fmla="*/ 411 w 563"/>
                  <a:gd name="T81" fmla="*/ 6 h 35"/>
                  <a:gd name="T82" fmla="*/ 405 w 563"/>
                  <a:gd name="T83" fmla="*/ 17 h 35"/>
                  <a:gd name="T84" fmla="*/ 430 w 563"/>
                  <a:gd name="T85" fmla="*/ 5 h 35"/>
                  <a:gd name="T86" fmla="*/ 436 w 563"/>
                  <a:gd name="T87" fmla="*/ 16 h 35"/>
                  <a:gd name="T88" fmla="*/ 430 w 563"/>
                  <a:gd name="T89" fmla="*/ 5 h 35"/>
                  <a:gd name="T90" fmla="*/ 462 w 563"/>
                  <a:gd name="T91" fmla="*/ 4 h 35"/>
                  <a:gd name="T92" fmla="*/ 456 w 563"/>
                  <a:gd name="T93" fmla="*/ 15 h 35"/>
                  <a:gd name="T94" fmla="*/ 481 w 563"/>
                  <a:gd name="T95" fmla="*/ 3 h 35"/>
                  <a:gd name="T96" fmla="*/ 487 w 563"/>
                  <a:gd name="T97" fmla="*/ 14 h 35"/>
                  <a:gd name="T98" fmla="*/ 481 w 563"/>
                  <a:gd name="T99" fmla="*/ 3 h 35"/>
                  <a:gd name="T100" fmla="*/ 513 w 563"/>
                  <a:gd name="T101" fmla="*/ 2 h 35"/>
                  <a:gd name="T102" fmla="*/ 506 w 563"/>
                  <a:gd name="T103" fmla="*/ 13 h 35"/>
                  <a:gd name="T104" fmla="*/ 532 w 563"/>
                  <a:gd name="T105" fmla="*/ 1 h 35"/>
                  <a:gd name="T106" fmla="*/ 537 w 563"/>
                  <a:gd name="T107" fmla="*/ 12 h 35"/>
                  <a:gd name="T108" fmla="*/ 532 w 563"/>
                  <a:gd name="T109" fmla="*/ 1 h 35"/>
                  <a:gd name="T110" fmla="*/ 563 w 563"/>
                  <a:gd name="T111" fmla="*/ 0 h 35"/>
                  <a:gd name="T112" fmla="*/ 557 w 563"/>
                  <a:gd name="T113" fmla="*/ 11 h 3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563" h="35">
                    <a:moveTo>
                      <a:pt x="0" y="25"/>
                    </a:moveTo>
                    <a:lnTo>
                      <a:pt x="6" y="25"/>
                    </a:lnTo>
                    <a:lnTo>
                      <a:pt x="6" y="35"/>
                    </a:lnTo>
                    <a:lnTo>
                      <a:pt x="0" y="35"/>
                    </a:lnTo>
                    <a:lnTo>
                      <a:pt x="0" y="25"/>
                    </a:lnTo>
                    <a:close/>
                    <a:moveTo>
                      <a:pt x="25" y="24"/>
                    </a:moveTo>
                    <a:lnTo>
                      <a:pt x="32" y="24"/>
                    </a:lnTo>
                    <a:lnTo>
                      <a:pt x="32" y="34"/>
                    </a:lnTo>
                    <a:lnTo>
                      <a:pt x="25" y="34"/>
                    </a:lnTo>
                    <a:lnTo>
                      <a:pt x="25" y="24"/>
                    </a:lnTo>
                    <a:close/>
                    <a:moveTo>
                      <a:pt x="50" y="22"/>
                    </a:moveTo>
                    <a:lnTo>
                      <a:pt x="57" y="22"/>
                    </a:lnTo>
                    <a:lnTo>
                      <a:pt x="57" y="33"/>
                    </a:lnTo>
                    <a:lnTo>
                      <a:pt x="50" y="33"/>
                    </a:lnTo>
                    <a:lnTo>
                      <a:pt x="50" y="22"/>
                    </a:lnTo>
                    <a:close/>
                    <a:moveTo>
                      <a:pt x="76" y="21"/>
                    </a:moveTo>
                    <a:lnTo>
                      <a:pt x="82" y="21"/>
                    </a:lnTo>
                    <a:lnTo>
                      <a:pt x="82" y="32"/>
                    </a:lnTo>
                    <a:lnTo>
                      <a:pt x="76" y="32"/>
                    </a:lnTo>
                    <a:lnTo>
                      <a:pt x="76" y="21"/>
                    </a:lnTo>
                    <a:close/>
                    <a:moveTo>
                      <a:pt x="101" y="20"/>
                    </a:moveTo>
                    <a:lnTo>
                      <a:pt x="107" y="20"/>
                    </a:lnTo>
                    <a:lnTo>
                      <a:pt x="107" y="31"/>
                    </a:lnTo>
                    <a:lnTo>
                      <a:pt x="101" y="31"/>
                    </a:lnTo>
                    <a:lnTo>
                      <a:pt x="101" y="20"/>
                    </a:lnTo>
                    <a:close/>
                    <a:moveTo>
                      <a:pt x="126" y="19"/>
                    </a:moveTo>
                    <a:lnTo>
                      <a:pt x="133" y="19"/>
                    </a:lnTo>
                    <a:lnTo>
                      <a:pt x="133" y="30"/>
                    </a:lnTo>
                    <a:lnTo>
                      <a:pt x="126" y="30"/>
                    </a:lnTo>
                    <a:lnTo>
                      <a:pt x="126" y="19"/>
                    </a:lnTo>
                    <a:close/>
                    <a:moveTo>
                      <a:pt x="151" y="18"/>
                    </a:moveTo>
                    <a:lnTo>
                      <a:pt x="158" y="18"/>
                    </a:lnTo>
                    <a:lnTo>
                      <a:pt x="158" y="29"/>
                    </a:lnTo>
                    <a:lnTo>
                      <a:pt x="151" y="29"/>
                    </a:lnTo>
                    <a:lnTo>
                      <a:pt x="151" y="18"/>
                    </a:lnTo>
                    <a:close/>
                    <a:moveTo>
                      <a:pt x="177" y="17"/>
                    </a:moveTo>
                    <a:lnTo>
                      <a:pt x="183" y="17"/>
                    </a:lnTo>
                    <a:lnTo>
                      <a:pt x="183" y="28"/>
                    </a:lnTo>
                    <a:lnTo>
                      <a:pt x="177" y="28"/>
                    </a:lnTo>
                    <a:lnTo>
                      <a:pt x="177" y="17"/>
                    </a:lnTo>
                    <a:close/>
                    <a:moveTo>
                      <a:pt x="208" y="15"/>
                    </a:moveTo>
                    <a:lnTo>
                      <a:pt x="208" y="26"/>
                    </a:lnTo>
                    <a:lnTo>
                      <a:pt x="202" y="27"/>
                    </a:lnTo>
                    <a:lnTo>
                      <a:pt x="202" y="16"/>
                    </a:lnTo>
                    <a:lnTo>
                      <a:pt x="208" y="15"/>
                    </a:lnTo>
                    <a:close/>
                    <a:moveTo>
                      <a:pt x="234" y="14"/>
                    </a:moveTo>
                    <a:lnTo>
                      <a:pt x="234" y="25"/>
                    </a:lnTo>
                    <a:lnTo>
                      <a:pt x="228" y="26"/>
                    </a:lnTo>
                    <a:lnTo>
                      <a:pt x="228" y="15"/>
                    </a:lnTo>
                    <a:lnTo>
                      <a:pt x="234" y="14"/>
                    </a:lnTo>
                    <a:close/>
                    <a:moveTo>
                      <a:pt x="259" y="13"/>
                    </a:moveTo>
                    <a:lnTo>
                      <a:pt x="259" y="24"/>
                    </a:lnTo>
                    <a:lnTo>
                      <a:pt x="253" y="25"/>
                    </a:lnTo>
                    <a:lnTo>
                      <a:pt x="253" y="14"/>
                    </a:lnTo>
                    <a:lnTo>
                      <a:pt x="259" y="13"/>
                    </a:lnTo>
                    <a:close/>
                    <a:moveTo>
                      <a:pt x="285" y="12"/>
                    </a:moveTo>
                    <a:lnTo>
                      <a:pt x="285" y="22"/>
                    </a:lnTo>
                    <a:lnTo>
                      <a:pt x="278" y="24"/>
                    </a:lnTo>
                    <a:lnTo>
                      <a:pt x="278" y="13"/>
                    </a:lnTo>
                    <a:lnTo>
                      <a:pt x="285" y="12"/>
                    </a:lnTo>
                    <a:close/>
                    <a:moveTo>
                      <a:pt x="310" y="11"/>
                    </a:moveTo>
                    <a:lnTo>
                      <a:pt x="310" y="21"/>
                    </a:lnTo>
                    <a:lnTo>
                      <a:pt x="304" y="22"/>
                    </a:lnTo>
                    <a:lnTo>
                      <a:pt x="304" y="12"/>
                    </a:lnTo>
                    <a:lnTo>
                      <a:pt x="310" y="11"/>
                    </a:lnTo>
                    <a:close/>
                    <a:moveTo>
                      <a:pt x="335" y="10"/>
                    </a:moveTo>
                    <a:lnTo>
                      <a:pt x="335" y="20"/>
                    </a:lnTo>
                    <a:lnTo>
                      <a:pt x="329" y="21"/>
                    </a:lnTo>
                    <a:lnTo>
                      <a:pt x="329" y="11"/>
                    </a:lnTo>
                    <a:lnTo>
                      <a:pt x="335" y="10"/>
                    </a:lnTo>
                    <a:close/>
                    <a:moveTo>
                      <a:pt x="361" y="8"/>
                    </a:moveTo>
                    <a:lnTo>
                      <a:pt x="361" y="19"/>
                    </a:lnTo>
                    <a:lnTo>
                      <a:pt x="354" y="20"/>
                    </a:lnTo>
                    <a:lnTo>
                      <a:pt x="354" y="10"/>
                    </a:lnTo>
                    <a:lnTo>
                      <a:pt x="361" y="8"/>
                    </a:lnTo>
                    <a:close/>
                    <a:moveTo>
                      <a:pt x="386" y="7"/>
                    </a:moveTo>
                    <a:lnTo>
                      <a:pt x="386" y="18"/>
                    </a:lnTo>
                    <a:lnTo>
                      <a:pt x="379" y="19"/>
                    </a:lnTo>
                    <a:lnTo>
                      <a:pt x="379" y="8"/>
                    </a:lnTo>
                    <a:lnTo>
                      <a:pt x="386" y="7"/>
                    </a:lnTo>
                    <a:close/>
                    <a:moveTo>
                      <a:pt x="405" y="6"/>
                    </a:moveTo>
                    <a:lnTo>
                      <a:pt x="411" y="6"/>
                    </a:lnTo>
                    <a:lnTo>
                      <a:pt x="411" y="17"/>
                    </a:lnTo>
                    <a:lnTo>
                      <a:pt x="405" y="17"/>
                    </a:lnTo>
                    <a:lnTo>
                      <a:pt x="405" y="6"/>
                    </a:lnTo>
                    <a:close/>
                    <a:moveTo>
                      <a:pt x="430" y="5"/>
                    </a:moveTo>
                    <a:lnTo>
                      <a:pt x="436" y="5"/>
                    </a:lnTo>
                    <a:lnTo>
                      <a:pt x="436" y="16"/>
                    </a:lnTo>
                    <a:lnTo>
                      <a:pt x="430" y="16"/>
                    </a:lnTo>
                    <a:lnTo>
                      <a:pt x="430" y="5"/>
                    </a:lnTo>
                    <a:close/>
                    <a:moveTo>
                      <a:pt x="456" y="4"/>
                    </a:moveTo>
                    <a:lnTo>
                      <a:pt x="462" y="4"/>
                    </a:lnTo>
                    <a:lnTo>
                      <a:pt x="462" y="15"/>
                    </a:lnTo>
                    <a:lnTo>
                      <a:pt x="456" y="15"/>
                    </a:lnTo>
                    <a:lnTo>
                      <a:pt x="456" y="4"/>
                    </a:lnTo>
                    <a:close/>
                    <a:moveTo>
                      <a:pt x="481" y="3"/>
                    </a:moveTo>
                    <a:lnTo>
                      <a:pt x="487" y="3"/>
                    </a:lnTo>
                    <a:lnTo>
                      <a:pt x="487" y="14"/>
                    </a:lnTo>
                    <a:lnTo>
                      <a:pt x="481" y="14"/>
                    </a:lnTo>
                    <a:lnTo>
                      <a:pt x="481" y="3"/>
                    </a:lnTo>
                    <a:close/>
                    <a:moveTo>
                      <a:pt x="506" y="2"/>
                    </a:moveTo>
                    <a:lnTo>
                      <a:pt x="513" y="2"/>
                    </a:lnTo>
                    <a:lnTo>
                      <a:pt x="513" y="13"/>
                    </a:lnTo>
                    <a:lnTo>
                      <a:pt x="506" y="13"/>
                    </a:lnTo>
                    <a:lnTo>
                      <a:pt x="506" y="2"/>
                    </a:lnTo>
                    <a:close/>
                    <a:moveTo>
                      <a:pt x="532" y="1"/>
                    </a:moveTo>
                    <a:lnTo>
                      <a:pt x="537" y="1"/>
                    </a:lnTo>
                    <a:lnTo>
                      <a:pt x="537" y="12"/>
                    </a:lnTo>
                    <a:lnTo>
                      <a:pt x="532" y="12"/>
                    </a:lnTo>
                    <a:lnTo>
                      <a:pt x="532" y="1"/>
                    </a:lnTo>
                    <a:close/>
                    <a:moveTo>
                      <a:pt x="557" y="0"/>
                    </a:moveTo>
                    <a:lnTo>
                      <a:pt x="563" y="0"/>
                    </a:lnTo>
                    <a:lnTo>
                      <a:pt x="563" y="11"/>
                    </a:lnTo>
                    <a:lnTo>
                      <a:pt x="557" y="11"/>
                    </a:lnTo>
                    <a:lnTo>
                      <a:pt x="557" y="0"/>
                    </a:lnTo>
                    <a:close/>
                  </a:path>
                </a:pathLst>
              </a:custGeom>
              <a:solidFill>
                <a:srgbClr val="8BC936"/>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62" name="Rectangle 312"/>
              <p:cNvSpPr>
                <a:spLocks noChangeArrowheads="1"/>
              </p:cNvSpPr>
              <p:nvPr/>
            </p:nvSpPr>
            <p:spPr bwMode="auto">
              <a:xfrm>
                <a:off x="3493" y="2845"/>
                <a:ext cx="3" cy="10"/>
              </a:xfrm>
              <a:prstGeom prst="rect">
                <a:avLst/>
              </a:prstGeom>
              <a:solidFill>
                <a:srgbClr val="8BC936"/>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eaLnBrk="1" hangingPunct="1"/>
                <a:endParaRPr lang="es-ES" altLang="es-CL" dirty="0">
                  <a:solidFill>
                    <a:srgbClr val="333333"/>
                  </a:solidFill>
                  <a:latin typeface="Arial" pitchFamily="34" charset="0"/>
                </a:endParaRPr>
              </a:p>
            </p:txBody>
          </p:sp>
          <p:sp>
            <p:nvSpPr>
              <p:cNvPr id="2163" name="Freeform 313"/>
              <p:cNvSpPr>
                <a:spLocks/>
              </p:cNvSpPr>
              <p:nvPr/>
            </p:nvSpPr>
            <p:spPr bwMode="auto">
              <a:xfrm>
                <a:off x="3829" y="2326"/>
                <a:ext cx="7" cy="10"/>
              </a:xfrm>
              <a:custGeom>
                <a:avLst/>
                <a:gdLst>
                  <a:gd name="T0" fmla="*/ 4 w 7"/>
                  <a:gd name="T1" fmla="*/ 0 h 10"/>
                  <a:gd name="T2" fmla="*/ 7 w 7"/>
                  <a:gd name="T3" fmla="*/ 9 h 10"/>
                  <a:gd name="T4" fmla="*/ 4 w 7"/>
                  <a:gd name="T5" fmla="*/ 10 h 10"/>
                  <a:gd name="T6" fmla="*/ 0 w 7"/>
                  <a:gd name="T7" fmla="*/ 1 h 10"/>
                  <a:gd name="T8" fmla="*/ 4 w 7"/>
                  <a:gd name="T9" fmla="*/ 0 h 1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0">
                    <a:moveTo>
                      <a:pt x="4" y="0"/>
                    </a:moveTo>
                    <a:lnTo>
                      <a:pt x="7" y="9"/>
                    </a:lnTo>
                    <a:lnTo>
                      <a:pt x="4" y="10"/>
                    </a:lnTo>
                    <a:lnTo>
                      <a:pt x="0" y="1"/>
                    </a:lnTo>
                    <a:lnTo>
                      <a:pt x="4" y="0"/>
                    </a:lnTo>
                    <a:close/>
                  </a:path>
                </a:pathLst>
              </a:custGeom>
              <a:solidFill>
                <a:srgbClr val="D7273A"/>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64" name="Freeform 314"/>
              <p:cNvSpPr>
                <a:spLocks noEditPoints="1"/>
              </p:cNvSpPr>
              <p:nvPr/>
            </p:nvSpPr>
            <p:spPr bwMode="auto">
              <a:xfrm>
                <a:off x="3466" y="2341"/>
                <a:ext cx="359" cy="416"/>
              </a:xfrm>
              <a:custGeom>
                <a:avLst/>
                <a:gdLst>
                  <a:gd name="T0" fmla="*/ 13 w 359"/>
                  <a:gd name="T1" fmla="*/ 412 h 416"/>
                  <a:gd name="T2" fmla="*/ 0 w 359"/>
                  <a:gd name="T3" fmla="*/ 409 h 416"/>
                  <a:gd name="T4" fmla="*/ 20 w 359"/>
                  <a:gd name="T5" fmla="*/ 385 h 416"/>
                  <a:gd name="T6" fmla="*/ 26 w 359"/>
                  <a:gd name="T7" fmla="*/ 397 h 416"/>
                  <a:gd name="T8" fmla="*/ 20 w 359"/>
                  <a:gd name="T9" fmla="*/ 385 h 416"/>
                  <a:gd name="T10" fmla="*/ 46 w 359"/>
                  <a:gd name="T11" fmla="*/ 373 h 416"/>
                  <a:gd name="T12" fmla="*/ 33 w 359"/>
                  <a:gd name="T13" fmla="*/ 370 h 416"/>
                  <a:gd name="T14" fmla="*/ 54 w 359"/>
                  <a:gd name="T15" fmla="*/ 346 h 416"/>
                  <a:gd name="T16" fmla="*/ 58 w 359"/>
                  <a:gd name="T17" fmla="*/ 358 h 416"/>
                  <a:gd name="T18" fmla="*/ 54 w 359"/>
                  <a:gd name="T19" fmla="*/ 346 h 416"/>
                  <a:gd name="T20" fmla="*/ 78 w 359"/>
                  <a:gd name="T21" fmla="*/ 335 h 416"/>
                  <a:gd name="T22" fmla="*/ 67 w 359"/>
                  <a:gd name="T23" fmla="*/ 331 h 416"/>
                  <a:gd name="T24" fmla="*/ 87 w 359"/>
                  <a:gd name="T25" fmla="*/ 308 h 416"/>
                  <a:gd name="T26" fmla="*/ 91 w 359"/>
                  <a:gd name="T27" fmla="*/ 319 h 416"/>
                  <a:gd name="T28" fmla="*/ 87 w 359"/>
                  <a:gd name="T29" fmla="*/ 308 h 416"/>
                  <a:gd name="T30" fmla="*/ 112 w 359"/>
                  <a:gd name="T31" fmla="*/ 296 h 416"/>
                  <a:gd name="T32" fmla="*/ 99 w 359"/>
                  <a:gd name="T33" fmla="*/ 294 h 416"/>
                  <a:gd name="T34" fmla="*/ 119 w 359"/>
                  <a:gd name="T35" fmla="*/ 269 h 416"/>
                  <a:gd name="T36" fmla="*/ 125 w 359"/>
                  <a:gd name="T37" fmla="*/ 282 h 416"/>
                  <a:gd name="T38" fmla="*/ 119 w 359"/>
                  <a:gd name="T39" fmla="*/ 269 h 416"/>
                  <a:gd name="T40" fmla="*/ 145 w 359"/>
                  <a:gd name="T41" fmla="*/ 257 h 416"/>
                  <a:gd name="T42" fmla="*/ 132 w 359"/>
                  <a:gd name="T43" fmla="*/ 255 h 416"/>
                  <a:gd name="T44" fmla="*/ 153 w 359"/>
                  <a:gd name="T45" fmla="*/ 230 h 416"/>
                  <a:gd name="T46" fmla="*/ 157 w 359"/>
                  <a:gd name="T47" fmla="*/ 243 h 416"/>
                  <a:gd name="T48" fmla="*/ 153 w 359"/>
                  <a:gd name="T49" fmla="*/ 230 h 416"/>
                  <a:gd name="T50" fmla="*/ 177 w 359"/>
                  <a:gd name="T51" fmla="*/ 218 h 416"/>
                  <a:gd name="T52" fmla="*/ 165 w 359"/>
                  <a:gd name="T53" fmla="*/ 216 h 416"/>
                  <a:gd name="T54" fmla="*/ 186 w 359"/>
                  <a:gd name="T55" fmla="*/ 192 h 416"/>
                  <a:gd name="T56" fmla="*/ 190 w 359"/>
                  <a:gd name="T57" fmla="*/ 204 h 416"/>
                  <a:gd name="T58" fmla="*/ 186 w 359"/>
                  <a:gd name="T59" fmla="*/ 192 h 416"/>
                  <a:gd name="T60" fmla="*/ 211 w 359"/>
                  <a:gd name="T61" fmla="*/ 181 h 416"/>
                  <a:gd name="T62" fmla="*/ 198 w 359"/>
                  <a:gd name="T63" fmla="*/ 177 h 416"/>
                  <a:gd name="T64" fmla="*/ 218 w 359"/>
                  <a:gd name="T65" fmla="*/ 154 h 416"/>
                  <a:gd name="T66" fmla="*/ 224 w 359"/>
                  <a:gd name="T67" fmla="*/ 165 h 416"/>
                  <a:gd name="T68" fmla="*/ 218 w 359"/>
                  <a:gd name="T69" fmla="*/ 154 h 416"/>
                  <a:gd name="T70" fmla="*/ 244 w 359"/>
                  <a:gd name="T71" fmla="*/ 142 h 416"/>
                  <a:gd name="T72" fmla="*/ 231 w 359"/>
                  <a:gd name="T73" fmla="*/ 139 h 416"/>
                  <a:gd name="T74" fmla="*/ 252 w 359"/>
                  <a:gd name="T75" fmla="*/ 115 h 416"/>
                  <a:gd name="T76" fmla="*/ 256 w 359"/>
                  <a:gd name="T77" fmla="*/ 127 h 416"/>
                  <a:gd name="T78" fmla="*/ 252 w 359"/>
                  <a:gd name="T79" fmla="*/ 115 h 416"/>
                  <a:gd name="T80" fmla="*/ 276 w 359"/>
                  <a:gd name="T81" fmla="*/ 103 h 416"/>
                  <a:gd name="T82" fmla="*/ 264 w 359"/>
                  <a:gd name="T83" fmla="*/ 101 h 416"/>
                  <a:gd name="T84" fmla="*/ 285 w 359"/>
                  <a:gd name="T85" fmla="*/ 76 h 416"/>
                  <a:gd name="T86" fmla="*/ 289 w 359"/>
                  <a:gd name="T87" fmla="*/ 89 h 416"/>
                  <a:gd name="T88" fmla="*/ 285 w 359"/>
                  <a:gd name="T89" fmla="*/ 76 h 416"/>
                  <a:gd name="T90" fmla="*/ 310 w 359"/>
                  <a:gd name="T91" fmla="*/ 64 h 416"/>
                  <a:gd name="T92" fmla="*/ 297 w 359"/>
                  <a:gd name="T93" fmla="*/ 62 h 416"/>
                  <a:gd name="T94" fmla="*/ 317 w 359"/>
                  <a:gd name="T95" fmla="*/ 37 h 416"/>
                  <a:gd name="T96" fmla="*/ 322 w 359"/>
                  <a:gd name="T97" fmla="*/ 50 h 416"/>
                  <a:gd name="T98" fmla="*/ 317 w 359"/>
                  <a:gd name="T99" fmla="*/ 37 h 416"/>
                  <a:gd name="T100" fmla="*/ 343 w 359"/>
                  <a:gd name="T101" fmla="*/ 25 h 416"/>
                  <a:gd name="T102" fmla="*/ 330 w 359"/>
                  <a:gd name="T103" fmla="*/ 23 h 416"/>
                  <a:gd name="T104" fmla="*/ 350 w 359"/>
                  <a:gd name="T105" fmla="*/ 0 h 416"/>
                  <a:gd name="T106" fmla="*/ 355 w 359"/>
                  <a:gd name="T107" fmla="*/ 11 h 416"/>
                  <a:gd name="T108" fmla="*/ 350 w 359"/>
                  <a:gd name="T109" fmla="*/ 0 h 41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59" h="416">
                    <a:moveTo>
                      <a:pt x="4" y="405"/>
                    </a:moveTo>
                    <a:lnTo>
                      <a:pt x="13" y="412"/>
                    </a:lnTo>
                    <a:lnTo>
                      <a:pt x="8" y="416"/>
                    </a:lnTo>
                    <a:lnTo>
                      <a:pt x="0" y="409"/>
                    </a:lnTo>
                    <a:lnTo>
                      <a:pt x="4" y="405"/>
                    </a:lnTo>
                    <a:close/>
                    <a:moveTo>
                      <a:pt x="20" y="385"/>
                    </a:moveTo>
                    <a:lnTo>
                      <a:pt x="29" y="393"/>
                    </a:lnTo>
                    <a:lnTo>
                      <a:pt x="26" y="397"/>
                    </a:lnTo>
                    <a:lnTo>
                      <a:pt x="17" y="389"/>
                    </a:lnTo>
                    <a:lnTo>
                      <a:pt x="20" y="385"/>
                    </a:lnTo>
                    <a:close/>
                    <a:moveTo>
                      <a:pt x="37" y="366"/>
                    </a:moveTo>
                    <a:lnTo>
                      <a:pt x="46" y="373"/>
                    </a:lnTo>
                    <a:lnTo>
                      <a:pt x="42" y="378"/>
                    </a:lnTo>
                    <a:lnTo>
                      <a:pt x="33" y="370"/>
                    </a:lnTo>
                    <a:lnTo>
                      <a:pt x="37" y="366"/>
                    </a:lnTo>
                    <a:close/>
                    <a:moveTo>
                      <a:pt x="54" y="346"/>
                    </a:moveTo>
                    <a:lnTo>
                      <a:pt x="62" y="354"/>
                    </a:lnTo>
                    <a:lnTo>
                      <a:pt x="58" y="358"/>
                    </a:lnTo>
                    <a:lnTo>
                      <a:pt x="49" y="351"/>
                    </a:lnTo>
                    <a:lnTo>
                      <a:pt x="54" y="346"/>
                    </a:lnTo>
                    <a:close/>
                    <a:moveTo>
                      <a:pt x="70" y="327"/>
                    </a:moveTo>
                    <a:lnTo>
                      <a:pt x="78" y="335"/>
                    </a:lnTo>
                    <a:lnTo>
                      <a:pt x="75" y="339"/>
                    </a:lnTo>
                    <a:lnTo>
                      <a:pt x="67" y="331"/>
                    </a:lnTo>
                    <a:lnTo>
                      <a:pt x="70" y="327"/>
                    </a:lnTo>
                    <a:close/>
                    <a:moveTo>
                      <a:pt x="87" y="308"/>
                    </a:moveTo>
                    <a:lnTo>
                      <a:pt x="96" y="315"/>
                    </a:lnTo>
                    <a:lnTo>
                      <a:pt x="91" y="319"/>
                    </a:lnTo>
                    <a:lnTo>
                      <a:pt x="83" y="312"/>
                    </a:lnTo>
                    <a:lnTo>
                      <a:pt x="87" y="308"/>
                    </a:lnTo>
                    <a:close/>
                    <a:moveTo>
                      <a:pt x="103" y="288"/>
                    </a:moveTo>
                    <a:lnTo>
                      <a:pt x="112" y="296"/>
                    </a:lnTo>
                    <a:lnTo>
                      <a:pt x="107" y="301"/>
                    </a:lnTo>
                    <a:lnTo>
                      <a:pt x="99" y="294"/>
                    </a:lnTo>
                    <a:lnTo>
                      <a:pt x="103" y="288"/>
                    </a:lnTo>
                    <a:close/>
                    <a:moveTo>
                      <a:pt x="119" y="269"/>
                    </a:moveTo>
                    <a:lnTo>
                      <a:pt x="128" y="276"/>
                    </a:lnTo>
                    <a:lnTo>
                      <a:pt x="125" y="282"/>
                    </a:lnTo>
                    <a:lnTo>
                      <a:pt x="116" y="274"/>
                    </a:lnTo>
                    <a:lnTo>
                      <a:pt x="119" y="269"/>
                    </a:lnTo>
                    <a:close/>
                    <a:moveTo>
                      <a:pt x="136" y="249"/>
                    </a:moveTo>
                    <a:lnTo>
                      <a:pt x="145" y="257"/>
                    </a:lnTo>
                    <a:lnTo>
                      <a:pt x="141" y="262"/>
                    </a:lnTo>
                    <a:lnTo>
                      <a:pt x="132" y="255"/>
                    </a:lnTo>
                    <a:lnTo>
                      <a:pt x="136" y="249"/>
                    </a:lnTo>
                    <a:close/>
                    <a:moveTo>
                      <a:pt x="153" y="230"/>
                    </a:moveTo>
                    <a:lnTo>
                      <a:pt x="161" y="238"/>
                    </a:lnTo>
                    <a:lnTo>
                      <a:pt x="157" y="243"/>
                    </a:lnTo>
                    <a:lnTo>
                      <a:pt x="148" y="235"/>
                    </a:lnTo>
                    <a:lnTo>
                      <a:pt x="153" y="230"/>
                    </a:lnTo>
                    <a:close/>
                    <a:moveTo>
                      <a:pt x="169" y="211"/>
                    </a:moveTo>
                    <a:lnTo>
                      <a:pt x="177" y="218"/>
                    </a:lnTo>
                    <a:lnTo>
                      <a:pt x="174" y="224"/>
                    </a:lnTo>
                    <a:lnTo>
                      <a:pt x="165" y="216"/>
                    </a:lnTo>
                    <a:lnTo>
                      <a:pt x="169" y="211"/>
                    </a:lnTo>
                    <a:close/>
                    <a:moveTo>
                      <a:pt x="186" y="192"/>
                    </a:moveTo>
                    <a:lnTo>
                      <a:pt x="195" y="200"/>
                    </a:lnTo>
                    <a:lnTo>
                      <a:pt x="190" y="204"/>
                    </a:lnTo>
                    <a:lnTo>
                      <a:pt x="182" y="197"/>
                    </a:lnTo>
                    <a:lnTo>
                      <a:pt x="186" y="192"/>
                    </a:lnTo>
                    <a:close/>
                    <a:moveTo>
                      <a:pt x="202" y="173"/>
                    </a:moveTo>
                    <a:lnTo>
                      <a:pt x="211" y="181"/>
                    </a:lnTo>
                    <a:lnTo>
                      <a:pt x="206" y="185"/>
                    </a:lnTo>
                    <a:lnTo>
                      <a:pt x="198" y="177"/>
                    </a:lnTo>
                    <a:lnTo>
                      <a:pt x="202" y="173"/>
                    </a:lnTo>
                    <a:close/>
                    <a:moveTo>
                      <a:pt x="218" y="154"/>
                    </a:moveTo>
                    <a:lnTo>
                      <a:pt x="227" y="161"/>
                    </a:lnTo>
                    <a:lnTo>
                      <a:pt x="224" y="165"/>
                    </a:lnTo>
                    <a:lnTo>
                      <a:pt x="215" y="158"/>
                    </a:lnTo>
                    <a:lnTo>
                      <a:pt x="218" y="154"/>
                    </a:lnTo>
                    <a:close/>
                    <a:moveTo>
                      <a:pt x="235" y="134"/>
                    </a:moveTo>
                    <a:lnTo>
                      <a:pt x="244" y="142"/>
                    </a:lnTo>
                    <a:lnTo>
                      <a:pt x="240" y="146"/>
                    </a:lnTo>
                    <a:lnTo>
                      <a:pt x="231" y="139"/>
                    </a:lnTo>
                    <a:lnTo>
                      <a:pt x="235" y="134"/>
                    </a:lnTo>
                    <a:close/>
                    <a:moveTo>
                      <a:pt x="252" y="115"/>
                    </a:moveTo>
                    <a:lnTo>
                      <a:pt x="260" y="122"/>
                    </a:lnTo>
                    <a:lnTo>
                      <a:pt x="256" y="127"/>
                    </a:lnTo>
                    <a:lnTo>
                      <a:pt x="247" y="119"/>
                    </a:lnTo>
                    <a:lnTo>
                      <a:pt x="252" y="115"/>
                    </a:lnTo>
                    <a:close/>
                    <a:moveTo>
                      <a:pt x="268" y="95"/>
                    </a:moveTo>
                    <a:lnTo>
                      <a:pt x="276" y="103"/>
                    </a:lnTo>
                    <a:lnTo>
                      <a:pt x="273" y="108"/>
                    </a:lnTo>
                    <a:lnTo>
                      <a:pt x="264" y="101"/>
                    </a:lnTo>
                    <a:lnTo>
                      <a:pt x="268" y="95"/>
                    </a:lnTo>
                    <a:close/>
                    <a:moveTo>
                      <a:pt x="285" y="76"/>
                    </a:moveTo>
                    <a:lnTo>
                      <a:pt x="293" y="84"/>
                    </a:lnTo>
                    <a:lnTo>
                      <a:pt x="289" y="89"/>
                    </a:lnTo>
                    <a:lnTo>
                      <a:pt x="281" y="81"/>
                    </a:lnTo>
                    <a:lnTo>
                      <a:pt x="285" y="76"/>
                    </a:lnTo>
                    <a:close/>
                    <a:moveTo>
                      <a:pt x="301" y="57"/>
                    </a:moveTo>
                    <a:lnTo>
                      <a:pt x="310" y="64"/>
                    </a:lnTo>
                    <a:lnTo>
                      <a:pt x="305" y="70"/>
                    </a:lnTo>
                    <a:lnTo>
                      <a:pt x="297" y="62"/>
                    </a:lnTo>
                    <a:lnTo>
                      <a:pt x="301" y="57"/>
                    </a:lnTo>
                    <a:close/>
                    <a:moveTo>
                      <a:pt x="317" y="37"/>
                    </a:moveTo>
                    <a:lnTo>
                      <a:pt x="326" y="45"/>
                    </a:lnTo>
                    <a:lnTo>
                      <a:pt x="322" y="50"/>
                    </a:lnTo>
                    <a:lnTo>
                      <a:pt x="314" y="43"/>
                    </a:lnTo>
                    <a:lnTo>
                      <a:pt x="317" y="37"/>
                    </a:lnTo>
                    <a:close/>
                    <a:moveTo>
                      <a:pt x="334" y="18"/>
                    </a:moveTo>
                    <a:lnTo>
                      <a:pt x="343" y="25"/>
                    </a:lnTo>
                    <a:lnTo>
                      <a:pt x="339" y="31"/>
                    </a:lnTo>
                    <a:lnTo>
                      <a:pt x="330" y="23"/>
                    </a:lnTo>
                    <a:lnTo>
                      <a:pt x="334" y="18"/>
                    </a:lnTo>
                    <a:close/>
                    <a:moveTo>
                      <a:pt x="350" y="0"/>
                    </a:moveTo>
                    <a:lnTo>
                      <a:pt x="359" y="7"/>
                    </a:lnTo>
                    <a:lnTo>
                      <a:pt x="355" y="11"/>
                    </a:lnTo>
                    <a:lnTo>
                      <a:pt x="346" y="4"/>
                    </a:lnTo>
                    <a:lnTo>
                      <a:pt x="350" y="0"/>
                    </a:lnTo>
                    <a:close/>
                  </a:path>
                </a:pathLst>
              </a:custGeom>
              <a:solidFill>
                <a:srgbClr val="D7273A"/>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65" name="Freeform 315"/>
              <p:cNvSpPr>
                <a:spLocks/>
              </p:cNvSpPr>
              <p:nvPr/>
            </p:nvSpPr>
            <p:spPr bwMode="auto">
              <a:xfrm>
                <a:off x="3453" y="2766"/>
                <a:ext cx="10" cy="10"/>
              </a:xfrm>
              <a:custGeom>
                <a:avLst/>
                <a:gdLst>
                  <a:gd name="T0" fmla="*/ 2 w 10"/>
                  <a:gd name="T1" fmla="*/ 0 h 10"/>
                  <a:gd name="T2" fmla="*/ 10 w 10"/>
                  <a:gd name="T3" fmla="*/ 8 h 10"/>
                  <a:gd name="T4" fmla="*/ 7 w 10"/>
                  <a:gd name="T5" fmla="*/ 10 h 10"/>
                  <a:gd name="T6" fmla="*/ 0 w 10"/>
                  <a:gd name="T7" fmla="*/ 2 h 10"/>
                  <a:gd name="T8" fmla="*/ 2 w 10"/>
                  <a:gd name="T9" fmla="*/ 0 h 1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10">
                    <a:moveTo>
                      <a:pt x="2" y="0"/>
                    </a:moveTo>
                    <a:lnTo>
                      <a:pt x="10" y="8"/>
                    </a:lnTo>
                    <a:lnTo>
                      <a:pt x="7" y="10"/>
                    </a:lnTo>
                    <a:lnTo>
                      <a:pt x="0" y="2"/>
                    </a:lnTo>
                    <a:lnTo>
                      <a:pt x="2" y="0"/>
                    </a:lnTo>
                    <a:close/>
                  </a:path>
                </a:pathLst>
              </a:custGeom>
              <a:solidFill>
                <a:srgbClr val="D7273A"/>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66" name="Rectangle 316"/>
              <p:cNvSpPr>
                <a:spLocks noChangeArrowheads="1"/>
              </p:cNvSpPr>
              <p:nvPr/>
            </p:nvSpPr>
            <p:spPr bwMode="auto">
              <a:xfrm>
                <a:off x="3311" y="2028"/>
                <a:ext cx="11" cy="3"/>
              </a:xfrm>
              <a:prstGeom prst="rect">
                <a:avLst/>
              </a:prstGeom>
              <a:solidFill>
                <a:srgbClr val="2F5AA8"/>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eaLnBrk="1" hangingPunct="1"/>
                <a:endParaRPr lang="es-ES" altLang="es-CL" dirty="0">
                  <a:solidFill>
                    <a:srgbClr val="333333"/>
                  </a:solidFill>
                  <a:latin typeface="Arial" pitchFamily="34" charset="0"/>
                </a:endParaRPr>
              </a:p>
            </p:txBody>
          </p:sp>
          <p:sp>
            <p:nvSpPr>
              <p:cNvPr id="2167" name="Freeform 317"/>
              <p:cNvSpPr>
                <a:spLocks noEditPoints="1"/>
              </p:cNvSpPr>
              <p:nvPr/>
            </p:nvSpPr>
            <p:spPr bwMode="auto">
              <a:xfrm>
                <a:off x="3283" y="2048"/>
                <a:ext cx="39" cy="665"/>
              </a:xfrm>
              <a:custGeom>
                <a:avLst/>
                <a:gdLst>
                  <a:gd name="T0" fmla="*/ 11 w 39"/>
                  <a:gd name="T1" fmla="*/ 665 h 665"/>
                  <a:gd name="T2" fmla="*/ 2 w 39"/>
                  <a:gd name="T3" fmla="*/ 634 h 665"/>
                  <a:gd name="T4" fmla="*/ 1 w 39"/>
                  <a:gd name="T5" fmla="*/ 640 h 665"/>
                  <a:gd name="T6" fmla="*/ 14 w 39"/>
                  <a:gd name="T7" fmla="*/ 608 h 665"/>
                  <a:gd name="T8" fmla="*/ 3 w 39"/>
                  <a:gd name="T9" fmla="*/ 608 h 665"/>
                  <a:gd name="T10" fmla="*/ 14 w 39"/>
                  <a:gd name="T11" fmla="*/ 590 h 665"/>
                  <a:gd name="T12" fmla="*/ 5 w 39"/>
                  <a:gd name="T13" fmla="*/ 558 h 665"/>
                  <a:gd name="T14" fmla="*/ 4 w 39"/>
                  <a:gd name="T15" fmla="*/ 564 h 665"/>
                  <a:gd name="T16" fmla="*/ 17 w 39"/>
                  <a:gd name="T17" fmla="*/ 533 h 665"/>
                  <a:gd name="T18" fmla="*/ 6 w 39"/>
                  <a:gd name="T19" fmla="*/ 533 h 665"/>
                  <a:gd name="T20" fmla="*/ 17 w 39"/>
                  <a:gd name="T21" fmla="*/ 513 h 665"/>
                  <a:gd name="T22" fmla="*/ 9 w 39"/>
                  <a:gd name="T23" fmla="*/ 481 h 665"/>
                  <a:gd name="T24" fmla="*/ 8 w 39"/>
                  <a:gd name="T25" fmla="*/ 488 h 665"/>
                  <a:gd name="T26" fmla="*/ 20 w 39"/>
                  <a:gd name="T27" fmla="*/ 456 h 665"/>
                  <a:gd name="T28" fmla="*/ 10 w 39"/>
                  <a:gd name="T29" fmla="*/ 456 h 665"/>
                  <a:gd name="T30" fmla="*/ 20 w 39"/>
                  <a:gd name="T31" fmla="*/ 437 h 665"/>
                  <a:gd name="T32" fmla="*/ 11 w 39"/>
                  <a:gd name="T33" fmla="*/ 406 h 665"/>
                  <a:gd name="T34" fmla="*/ 11 w 39"/>
                  <a:gd name="T35" fmla="*/ 412 h 665"/>
                  <a:gd name="T36" fmla="*/ 23 w 39"/>
                  <a:gd name="T37" fmla="*/ 380 h 665"/>
                  <a:gd name="T38" fmla="*/ 12 w 39"/>
                  <a:gd name="T39" fmla="*/ 380 h 665"/>
                  <a:gd name="T40" fmla="*/ 24 w 39"/>
                  <a:gd name="T41" fmla="*/ 362 h 665"/>
                  <a:gd name="T42" fmla="*/ 14 w 39"/>
                  <a:gd name="T43" fmla="*/ 329 h 665"/>
                  <a:gd name="T44" fmla="*/ 14 w 39"/>
                  <a:gd name="T45" fmla="*/ 336 h 665"/>
                  <a:gd name="T46" fmla="*/ 26 w 39"/>
                  <a:gd name="T47" fmla="*/ 304 h 665"/>
                  <a:gd name="T48" fmla="*/ 15 w 39"/>
                  <a:gd name="T49" fmla="*/ 304 h 665"/>
                  <a:gd name="T50" fmla="*/ 27 w 39"/>
                  <a:gd name="T51" fmla="*/ 285 h 665"/>
                  <a:gd name="T52" fmla="*/ 17 w 39"/>
                  <a:gd name="T53" fmla="*/ 254 h 665"/>
                  <a:gd name="T54" fmla="*/ 17 w 39"/>
                  <a:gd name="T55" fmla="*/ 259 h 665"/>
                  <a:gd name="T56" fmla="*/ 29 w 39"/>
                  <a:gd name="T57" fmla="*/ 228 h 665"/>
                  <a:gd name="T58" fmla="*/ 18 w 39"/>
                  <a:gd name="T59" fmla="*/ 228 h 665"/>
                  <a:gd name="T60" fmla="*/ 30 w 39"/>
                  <a:gd name="T61" fmla="*/ 209 h 665"/>
                  <a:gd name="T62" fmla="*/ 20 w 39"/>
                  <a:gd name="T63" fmla="*/ 177 h 665"/>
                  <a:gd name="T64" fmla="*/ 20 w 39"/>
                  <a:gd name="T65" fmla="*/ 184 h 665"/>
                  <a:gd name="T66" fmla="*/ 32 w 39"/>
                  <a:gd name="T67" fmla="*/ 151 h 665"/>
                  <a:gd name="T68" fmla="*/ 22 w 39"/>
                  <a:gd name="T69" fmla="*/ 151 h 665"/>
                  <a:gd name="T70" fmla="*/ 33 w 39"/>
                  <a:gd name="T71" fmla="*/ 133 h 665"/>
                  <a:gd name="T72" fmla="*/ 24 w 39"/>
                  <a:gd name="T73" fmla="*/ 101 h 665"/>
                  <a:gd name="T74" fmla="*/ 24 w 39"/>
                  <a:gd name="T75" fmla="*/ 107 h 665"/>
                  <a:gd name="T76" fmla="*/ 36 w 39"/>
                  <a:gd name="T77" fmla="*/ 76 h 665"/>
                  <a:gd name="T78" fmla="*/ 25 w 39"/>
                  <a:gd name="T79" fmla="*/ 76 h 665"/>
                  <a:gd name="T80" fmla="*/ 37 w 39"/>
                  <a:gd name="T81" fmla="*/ 57 h 665"/>
                  <a:gd name="T82" fmla="*/ 27 w 39"/>
                  <a:gd name="T83" fmla="*/ 25 h 665"/>
                  <a:gd name="T84" fmla="*/ 27 w 39"/>
                  <a:gd name="T85" fmla="*/ 31 h 665"/>
                  <a:gd name="T86" fmla="*/ 39 w 39"/>
                  <a:gd name="T87" fmla="*/ 0 h 665"/>
                  <a:gd name="T88" fmla="*/ 28 w 39"/>
                  <a:gd name="T89" fmla="*/ 0 h 66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9" h="665">
                    <a:moveTo>
                      <a:pt x="1" y="659"/>
                    </a:moveTo>
                    <a:lnTo>
                      <a:pt x="12" y="659"/>
                    </a:lnTo>
                    <a:lnTo>
                      <a:pt x="11" y="665"/>
                    </a:lnTo>
                    <a:lnTo>
                      <a:pt x="0" y="665"/>
                    </a:lnTo>
                    <a:lnTo>
                      <a:pt x="1" y="659"/>
                    </a:lnTo>
                    <a:close/>
                    <a:moveTo>
                      <a:pt x="2" y="634"/>
                    </a:moveTo>
                    <a:lnTo>
                      <a:pt x="13" y="634"/>
                    </a:lnTo>
                    <a:lnTo>
                      <a:pt x="12" y="640"/>
                    </a:lnTo>
                    <a:lnTo>
                      <a:pt x="1" y="640"/>
                    </a:lnTo>
                    <a:lnTo>
                      <a:pt x="2" y="634"/>
                    </a:lnTo>
                    <a:close/>
                    <a:moveTo>
                      <a:pt x="3" y="608"/>
                    </a:moveTo>
                    <a:lnTo>
                      <a:pt x="14" y="608"/>
                    </a:lnTo>
                    <a:lnTo>
                      <a:pt x="13" y="615"/>
                    </a:lnTo>
                    <a:lnTo>
                      <a:pt x="2" y="615"/>
                    </a:lnTo>
                    <a:lnTo>
                      <a:pt x="3" y="608"/>
                    </a:lnTo>
                    <a:close/>
                    <a:moveTo>
                      <a:pt x="4" y="583"/>
                    </a:moveTo>
                    <a:lnTo>
                      <a:pt x="15" y="583"/>
                    </a:lnTo>
                    <a:lnTo>
                      <a:pt x="14" y="590"/>
                    </a:lnTo>
                    <a:lnTo>
                      <a:pt x="3" y="590"/>
                    </a:lnTo>
                    <a:lnTo>
                      <a:pt x="4" y="583"/>
                    </a:lnTo>
                    <a:close/>
                    <a:moveTo>
                      <a:pt x="5" y="558"/>
                    </a:moveTo>
                    <a:lnTo>
                      <a:pt x="16" y="558"/>
                    </a:lnTo>
                    <a:lnTo>
                      <a:pt x="15" y="564"/>
                    </a:lnTo>
                    <a:lnTo>
                      <a:pt x="4" y="564"/>
                    </a:lnTo>
                    <a:lnTo>
                      <a:pt x="5" y="558"/>
                    </a:lnTo>
                    <a:close/>
                    <a:moveTo>
                      <a:pt x="6" y="533"/>
                    </a:moveTo>
                    <a:lnTo>
                      <a:pt x="17" y="533"/>
                    </a:lnTo>
                    <a:lnTo>
                      <a:pt x="16" y="538"/>
                    </a:lnTo>
                    <a:lnTo>
                      <a:pt x="5" y="538"/>
                    </a:lnTo>
                    <a:lnTo>
                      <a:pt x="6" y="533"/>
                    </a:lnTo>
                    <a:close/>
                    <a:moveTo>
                      <a:pt x="8" y="507"/>
                    </a:moveTo>
                    <a:lnTo>
                      <a:pt x="18" y="507"/>
                    </a:lnTo>
                    <a:lnTo>
                      <a:pt x="17" y="513"/>
                    </a:lnTo>
                    <a:lnTo>
                      <a:pt x="6" y="513"/>
                    </a:lnTo>
                    <a:lnTo>
                      <a:pt x="8" y="507"/>
                    </a:lnTo>
                    <a:close/>
                    <a:moveTo>
                      <a:pt x="9" y="481"/>
                    </a:moveTo>
                    <a:lnTo>
                      <a:pt x="19" y="481"/>
                    </a:lnTo>
                    <a:lnTo>
                      <a:pt x="18" y="488"/>
                    </a:lnTo>
                    <a:lnTo>
                      <a:pt x="8" y="488"/>
                    </a:lnTo>
                    <a:lnTo>
                      <a:pt x="9" y="481"/>
                    </a:lnTo>
                    <a:close/>
                    <a:moveTo>
                      <a:pt x="10" y="456"/>
                    </a:moveTo>
                    <a:lnTo>
                      <a:pt x="20" y="456"/>
                    </a:lnTo>
                    <a:lnTo>
                      <a:pt x="19" y="463"/>
                    </a:lnTo>
                    <a:lnTo>
                      <a:pt x="9" y="463"/>
                    </a:lnTo>
                    <a:lnTo>
                      <a:pt x="10" y="456"/>
                    </a:lnTo>
                    <a:close/>
                    <a:moveTo>
                      <a:pt x="10" y="430"/>
                    </a:moveTo>
                    <a:lnTo>
                      <a:pt x="20" y="430"/>
                    </a:lnTo>
                    <a:lnTo>
                      <a:pt x="20" y="437"/>
                    </a:lnTo>
                    <a:lnTo>
                      <a:pt x="10" y="437"/>
                    </a:lnTo>
                    <a:lnTo>
                      <a:pt x="10" y="430"/>
                    </a:lnTo>
                    <a:close/>
                    <a:moveTo>
                      <a:pt x="11" y="406"/>
                    </a:moveTo>
                    <a:lnTo>
                      <a:pt x="22" y="406"/>
                    </a:lnTo>
                    <a:lnTo>
                      <a:pt x="22" y="412"/>
                    </a:lnTo>
                    <a:lnTo>
                      <a:pt x="11" y="412"/>
                    </a:lnTo>
                    <a:lnTo>
                      <a:pt x="11" y="406"/>
                    </a:lnTo>
                    <a:close/>
                    <a:moveTo>
                      <a:pt x="12" y="380"/>
                    </a:moveTo>
                    <a:lnTo>
                      <a:pt x="23" y="380"/>
                    </a:lnTo>
                    <a:lnTo>
                      <a:pt x="23" y="386"/>
                    </a:lnTo>
                    <a:lnTo>
                      <a:pt x="12" y="386"/>
                    </a:lnTo>
                    <a:lnTo>
                      <a:pt x="12" y="380"/>
                    </a:lnTo>
                    <a:close/>
                    <a:moveTo>
                      <a:pt x="13" y="355"/>
                    </a:moveTo>
                    <a:lnTo>
                      <a:pt x="24" y="355"/>
                    </a:lnTo>
                    <a:lnTo>
                      <a:pt x="24" y="362"/>
                    </a:lnTo>
                    <a:lnTo>
                      <a:pt x="13" y="362"/>
                    </a:lnTo>
                    <a:lnTo>
                      <a:pt x="13" y="355"/>
                    </a:lnTo>
                    <a:close/>
                    <a:moveTo>
                      <a:pt x="14" y="329"/>
                    </a:moveTo>
                    <a:lnTo>
                      <a:pt x="25" y="329"/>
                    </a:lnTo>
                    <a:lnTo>
                      <a:pt x="25" y="336"/>
                    </a:lnTo>
                    <a:lnTo>
                      <a:pt x="14" y="336"/>
                    </a:lnTo>
                    <a:lnTo>
                      <a:pt x="14" y="329"/>
                    </a:lnTo>
                    <a:close/>
                    <a:moveTo>
                      <a:pt x="15" y="304"/>
                    </a:moveTo>
                    <a:lnTo>
                      <a:pt x="26" y="304"/>
                    </a:lnTo>
                    <a:lnTo>
                      <a:pt x="26" y="311"/>
                    </a:lnTo>
                    <a:lnTo>
                      <a:pt x="15" y="311"/>
                    </a:lnTo>
                    <a:lnTo>
                      <a:pt x="15" y="304"/>
                    </a:lnTo>
                    <a:close/>
                    <a:moveTo>
                      <a:pt x="16" y="279"/>
                    </a:moveTo>
                    <a:lnTo>
                      <a:pt x="27" y="279"/>
                    </a:lnTo>
                    <a:lnTo>
                      <a:pt x="27" y="285"/>
                    </a:lnTo>
                    <a:lnTo>
                      <a:pt x="16" y="285"/>
                    </a:lnTo>
                    <a:lnTo>
                      <a:pt x="16" y="279"/>
                    </a:lnTo>
                    <a:close/>
                    <a:moveTo>
                      <a:pt x="17" y="254"/>
                    </a:moveTo>
                    <a:lnTo>
                      <a:pt x="28" y="254"/>
                    </a:lnTo>
                    <a:lnTo>
                      <a:pt x="28" y="259"/>
                    </a:lnTo>
                    <a:lnTo>
                      <a:pt x="17" y="259"/>
                    </a:lnTo>
                    <a:lnTo>
                      <a:pt x="17" y="254"/>
                    </a:lnTo>
                    <a:close/>
                    <a:moveTo>
                      <a:pt x="18" y="228"/>
                    </a:moveTo>
                    <a:lnTo>
                      <a:pt x="29" y="228"/>
                    </a:lnTo>
                    <a:lnTo>
                      <a:pt x="29" y="234"/>
                    </a:lnTo>
                    <a:lnTo>
                      <a:pt x="18" y="234"/>
                    </a:lnTo>
                    <a:lnTo>
                      <a:pt x="18" y="228"/>
                    </a:lnTo>
                    <a:close/>
                    <a:moveTo>
                      <a:pt x="19" y="202"/>
                    </a:moveTo>
                    <a:lnTo>
                      <a:pt x="30" y="202"/>
                    </a:lnTo>
                    <a:lnTo>
                      <a:pt x="30" y="209"/>
                    </a:lnTo>
                    <a:lnTo>
                      <a:pt x="19" y="209"/>
                    </a:lnTo>
                    <a:lnTo>
                      <a:pt x="19" y="202"/>
                    </a:lnTo>
                    <a:close/>
                    <a:moveTo>
                      <a:pt x="20" y="177"/>
                    </a:moveTo>
                    <a:lnTo>
                      <a:pt x="31" y="177"/>
                    </a:lnTo>
                    <a:lnTo>
                      <a:pt x="31" y="184"/>
                    </a:lnTo>
                    <a:lnTo>
                      <a:pt x="20" y="184"/>
                    </a:lnTo>
                    <a:lnTo>
                      <a:pt x="20" y="177"/>
                    </a:lnTo>
                    <a:close/>
                    <a:moveTo>
                      <a:pt x="22" y="151"/>
                    </a:moveTo>
                    <a:lnTo>
                      <a:pt x="32" y="151"/>
                    </a:lnTo>
                    <a:lnTo>
                      <a:pt x="32" y="158"/>
                    </a:lnTo>
                    <a:lnTo>
                      <a:pt x="22" y="158"/>
                    </a:lnTo>
                    <a:lnTo>
                      <a:pt x="22" y="151"/>
                    </a:lnTo>
                    <a:close/>
                    <a:moveTo>
                      <a:pt x="23" y="127"/>
                    </a:moveTo>
                    <a:lnTo>
                      <a:pt x="33" y="127"/>
                    </a:lnTo>
                    <a:lnTo>
                      <a:pt x="33" y="133"/>
                    </a:lnTo>
                    <a:lnTo>
                      <a:pt x="23" y="133"/>
                    </a:lnTo>
                    <a:lnTo>
                      <a:pt x="23" y="127"/>
                    </a:lnTo>
                    <a:close/>
                    <a:moveTo>
                      <a:pt x="24" y="101"/>
                    </a:moveTo>
                    <a:lnTo>
                      <a:pt x="34" y="101"/>
                    </a:lnTo>
                    <a:lnTo>
                      <a:pt x="34" y="107"/>
                    </a:lnTo>
                    <a:lnTo>
                      <a:pt x="24" y="107"/>
                    </a:lnTo>
                    <a:lnTo>
                      <a:pt x="24" y="101"/>
                    </a:lnTo>
                    <a:close/>
                    <a:moveTo>
                      <a:pt x="25" y="76"/>
                    </a:moveTo>
                    <a:lnTo>
                      <a:pt x="36" y="76"/>
                    </a:lnTo>
                    <a:lnTo>
                      <a:pt x="36" y="83"/>
                    </a:lnTo>
                    <a:lnTo>
                      <a:pt x="25" y="83"/>
                    </a:lnTo>
                    <a:lnTo>
                      <a:pt x="25" y="76"/>
                    </a:lnTo>
                    <a:close/>
                    <a:moveTo>
                      <a:pt x="26" y="50"/>
                    </a:moveTo>
                    <a:lnTo>
                      <a:pt x="37" y="50"/>
                    </a:lnTo>
                    <a:lnTo>
                      <a:pt x="37" y="57"/>
                    </a:lnTo>
                    <a:lnTo>
                      <a:pt x="26" y="57"/>
                    </a:lnTo>
                    <a:lnTo>
                      <a:pt x="26" y="50"/>
                    </a:lnTo>
                    <a:close/>
                    <a:moveTo>
                      <a:pt x="27" y="25"/>
                    </a:moveTo>
                    <a:lnTo>
                      <a:pt x="38" y="25"/>
                    </a:lnTo>
                    <a:lnTo>
                      <a:pt x="38" y="31"/>
                    </a:lnTo>
                    <a:lnTo>
                      <a:pt x="27" y="31"/>
                    </a:lnTo>
                    <a:lnTo>
                      <a:pt x="27" y="25"/>
                    </a:lnTo>
                    <a:close/>
                    <a:moveTo>
                      <a:pt x="28" y="0"/>
                    </a:moveTo>
                    <a:lnTo>
                      <a:pt x="39" y="0"/>
                    </a:lnTo>
                    <a:lnTo>
                      <a:pt x="39" y="6"/>
                    </a:lnTo>
                    <a:lnTo>
                      <a:pt x="28" y="6"/>
                    </a:lnTo>
                    <a:lnTo>
                      <a:pt x="28" y="0"/>
                    </a:lnTo>
                    <a:close/>
                  </a:path>
                </a:pathLst>
              </a:custGeom>
              <a:solidFill>
                <a:srgbClr val="2F5AA8"/>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68" name="Freeform 318"/>
              <p:cNvSpPr>
                <a:spLocks/>
              </p:cNvSpPr>
              <p:nvPr/>
            </p:nvSpPr>
            <p:spPr bwMode="auto">
              <a:xfrm>
                <a:off x="3282" y="2730"/>
                <a:ext cx="11" cy="9"/>
              </a:xfrm>
              <a:custGeom>
                <a:avLst/>
                <a:gdLst>
                  <a:gd name="T0" fmla="*/ 2 w 11"/>
                  <a:gd name="T1" fmla="*/ 0 h 9"/>
                  <a:gd name="T2" fmla="*/ 11 w 11"/>
                  <a:gd name="T3" fmla="*/ 6 h 9"/>
                  <a:gd name="T4" fmla="*/ 9 w 11"/>
                  <a:gd name="T5" fmla="*/ 9 h 9"/>
                  <a:gd name="T6" fmla="*/ 0 w 11"/>
                  <a:gd name="T7" fmla="*/ 4 h 9"/>
                  <a:gd name="T8" fmla="*/ 2 w 11"/>
                  <a:gd name="T9" fmla="*/ 0 h 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 h="9">
                    <a:moveTo>
                      <a:pt x="2" y="0"/>
                    </a:moveTo>
                    <a:lnTo>
                      <a:pt x="11" y="6"/>
                    </a:lnTo>
                    <a:lnTo>
                      <a:pt x="9" y="9"/>
                    </a:lnTo>
                    <a:lnTo>
                      <a:pt x="0" y="4"/>
                    </a:lnTo>
                    <a:lnTo>
                      <a:pt x="2" y="0"/>
                    </a:lnTo>
                    <a:close/>
                  </a:path>
                </a:pathLst>
              </a:custGeom>
              <a:solidFill>
                <a:srgbClr val="2F5AA8"/>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69" name="Freeform 319"/>
              <p:cNvSpPr>
                <a:spLocks/>
              </p:cNvSpPr>
              <p:nvPr/>
            </p:nvSpPr>
            <p:spPr bwMode="auto">
              <a:xfrm>
                <a:off x="1342" y="3222"/>
                <a:ext cx="172" cy="173"/>
              </a:xfrm>
              <a:custGeom>
                <a:avLst/>
                <a:gdLst>
                  <a:gd name="T0" fmla="*/ 85 w 172"/>
                  <a:gd name="T1" fmla="*/ 0 h 173"/>
                  <a:gd name="T2" fmla="*/ 108 w 172"/>
                  <a:gd name="T3" fmla="*/ 3 h 173"/>
                  <a:gd name="T4" fmla="*/ 129 w 172"/>
                  <a:gd name="T5" fmla="*/ 13 h 173"/>
                  <a:gd name="T6" fmla="*/ 146 w 172"/>
                  <a:gd name="T7" fmla="*/ 25 h 173"/>
                  <a:gd name="T8" fmla="*/ 160 w 172"/>
                  <a:gd name="T9" fmla="*/ 44 h 173"/>
                  <a:gd name="T10" fmla="*/ 169 w 172"/>
                  <a:gd name="T11" fmla="*/ 64 h 173"/>
                  <a:gd name="T12" fmla="*/ 172 w 172"/>
                  <a:gd name="T13" fmla="*/ 87 h 173"/>
                  <a:gd name="T14" fmla="*/ 169 w 172"/>
                  <a:gd name="T15" fmla="*/ 111 h 173"/>
                  <a:gd name="T16" fmla="*/ 160 w 172"/>
                  <a:gd name="T17" fmla="*/ 131 h 173"/>
                  <a:gd name="T18" fmla="*/ 146 w 172"/>
                  <a:gd name="T19" fmla="*/ 148 h 173"/>
                  <a:gd name="T20" fmla="*/ 129 w 172"/>
                  <a:gd name="T21" fmla="*/ 161 h 173"/>
                  <a:gd name="T22" fmla="*/ 108 w 172"/>
                  <a:gd name="T23" fmla="*/ 170 h 173"/>
                  <a:gd name="T24" fmla="*/ 85 w 172"/>
                  <a:gd name="T25" fmla="*/ 173 h 173"/>
                  <a:gd name="T26" fmla="*/ 62 w 172"/>
                  <a:gd name="T27" fmla="*/ 170 h 173"/>
                  <a:gd name="T28" fmla="*/ 42 w 172"/>
                  <a:gd name="T29" fmla="*/ 161 h 173"/>
                  <a:gd name="T30" fmla="*/ 25 w 172"/>
                  <a:gd name="T31" fmla="*/ 148 h 173"/>
                  <a:gd name="T32" fmla="*/ 11 w 172"/>
                  <a:gd name="T33" fmla="*/ 131 h 173"/>
                  <a:gd name="T34" fmla="*/ 2 w 172"/>
                  <a:gd name="T35" fmla="*/ 111 h 173"/>
                  <a:gd name="T36" fmla="*/ 0 w 172"/>
                  <a:gd name="T37" fmla="*/ 87 h 173"/>
                  <a:gd name="T38" fmla="*/ 2 w 172"/>
                  <a:gd name="T39" fmla="*/ 64 h 173"/>
                  <a:gd name="T40" fmla="*/ 11 w 172"/>
                  <a:gd name="T41" fmla="*/ 44 h 173"/>
                  <a:gd name="T42" fmla="*/ 25 w 172"/>
                  <a:gd name="T43" fmla="*/ 25 h 173"/>
                  <a:gd name="T44" fmla="*/ 42 w 172"/>
                  <a:gd name="T45" fmla="*/ 13 h 173"/>
                  <a:gd name="T46" fmla="*/ 62 w 172"/>
                  <a:gd name="T47" fmla="*/ 3 h 173"/>
                  <a:gd name="T48" fmla="*/ 85 w 172"/>
                  <a:gd name="T49" fmla="*/ 0 h 17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72" h="173">
                    <a:moveTo>
                      <a:pt x="85" y="0"/>
                    </a:moveTo>
                    <a:lnTo>
                      <a:pt x="108" y="3"/>
                    </a:lnTo>
                    <a:lnTo>
                      <a:pt x="129" y="13"/>
                    </a:lnTo>
                    <a:lnTo>
                      <a:pt x="146" y="25"/>
                    </a:lnTo>
                    <a:lnTo>
                      <a:pt x="160" y="44"/>
                    </a:lnTo>
                    <a:lnTo>
                      <a:pt x="169" y="64"/>
                    </a:lnTo>
                    <a:lnTo>
                      <a:pt x="172" y="87"/>
                    </a:lnTo>
                    <a:lnTo>
                      <a:pt x="169" y="111"/>
                    </a:lnTo>
                    <a:lnTo>
                      <a:pt x="160" y="131"/>
                    </a:lnTo>
                    <a:lnTo>
                      <a:pt x="146" y="148"/>
                    </a:lnTo>
                    <a:lnTo>
                      <a:pt x="129" y="161"/>
                    </a:lnTo>
                    <a:lnTo>
                      <a:pt x="108" y="170"/>
                    </a:lnTo>
                    <a:lnTo>
                      <a:pt x="85" y="173"/>
                    </a:lnTo>
                    <a:lnTo>
                      <a:pt x="62" y="170"/>
                    </a:lnTo>
                    <a:lnTo>
                      <a:pt x="42" y="161"/>
                    </a:lnTo>
                    <a:lnTo>
                      <a:pt x="25" y="148"/>
                    </a:lnTo>
                    <a:lnTo>
                      <a:pt x="11" y="131"/>
                    </a:lnTo>
                    <a:lnTo>
                      <a:pt x="2" y="111"/>
                    </a:lnTo>
                    <a:lnTo>
                      <a:pt x="0" y="87"/>
                    </a:lnTo>
                    <a:lnTo>
                      <a:pt x="2" y="64"/>
                    </a:lnTo>
                    <a:lnTo>
                      <a:pt x="11" y="44"/>
                    </a:lnTo>
                    <a:lnTo>
                      <a:pt x="25" y="25"/>
                    </a:lnTo>
                    <a:lnTo>
                      <a:pt x="42" y="13"/>
                    </a:lnTo>
                    <a:lnTo>
                      <a:pt x="62" y="3"/>
                    </a:lnTo>
                    <a:lnTo>
                      <a:pt x="85" y="0"/>
                    </a:lnTo>
                    <a:close/>
                  </a:path>
                </a:pathLst>
              </a:custGeom>
              <a:solidFill>
                <a:srgbClr val="29426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70" name="Freeform 320"/>
              <p:cNvSpPr>
                <a:spLocks noEditPoints="1"/>
              </p:cNvSpPr>
              <p:nvPr/>
            </p:nvSpPr>
            <p:spPr bwMode="auto">
              <a:xfrm>
                <a:off x="1336" y="3215"/>
                <a:ext cx="183" cy="185"/>
              </a:xfrm>
              <a:custGeom>
                <a:avLst/>
                <a:gdLst>
                  <a:gd name="T0" fmla="*/ 93 w 183"/>
                  <a:gd name="T1" fmla="*/ 12 h 185"/>
                  <a:gd name="T2" fmla="*/ 77 w 183"/>
                  <a:gd name="T3" fmla="*/ 13 h 185"/>
                  <a:gd name="T4" fmla="*/ 61 w 183"/>
                  <a:gd name="T5" fmla="*/ 17 h 185"/>
                  <a:gd name="T6" fmla="*/ 48 w 183"/>
                  <a:gd name="T7" fmla="*/ 25 h 185"/>
                  <a:gd name="T8" fmla="*/ 36 w 183"/>
                  <a:gd name="T9" fmla="*/ 36 h 185"/>
                  <a:gd name="T10" fmla="*/ 25 w 183"/>
                  <a:gd name="T11" fmla="*/ 48 h 185"/>
                  <a:gd name="T12" fmla="*/ 18 w 183"/>
                  <a:gd name="T13" fmla="*/ 62 h 185"/>
                  <a:gd name="T14" fmla="*/ 13 w 183"/>
                  <a:gd name="T15" fmla="*/ 77 h 185"/>
                  <a:gd name="T16" fmla="*/ 12 w 183"/>
                  <a:gd name="T17" fmla="*/ 93 h 185"/>
                  <a:gd name="T18" fmla="*/ 14 w 183"/>
                  <a:gd name="T19" fmla="*/ 114 h 185"/>
                  <a:gd name="T20" fmla="*/ 22 w 183"/>
                  <a:gd name="T21" fmla="*/ 133 h 185"/>
                  <a:gd name="T22" fmla="*/ 36 w 183"/>
                  <a:gd name="T23" fmla="*/ 150 h 185"/>
                  <a:gd name="T24" fmla="*/ 48 w 183"/>
                  <a:gd name="T25" fmla="*/ 161 h 185"/>
                  <a:gd name="T26" fmla="*/ 61 w 183"/>
                  <a:gd name="T27" fmla="*/ 168 h 185"/>
                  <a:gd name="T28" fmla="*/ 77 w 183"/>
                  <a:gd name="T29" fmla="*/ 172 h 185"/>
                  <a:gd name="T30" fmla="*/ 93 w 183"/>
                  <a:gd name="T31" fmla="*/ 174 h 185"/>
                  <a:gd name="T32" fmla="*/ 113 w 183"/>
                  <a:gd name="T33" fmla="*/ 171 h 185"/>
                  <a:gd name="T34" fmla="*/ 133 w 183"/>
                  <a:gd name="T35" fmla="*/ 163 h 185"/>
                  <a:gd name="T36" fmla="*/ 150 w 183"/>
                  <a:gd name="T37" fmla="*/ 150 h 185"/>
                  <a:gd name="T38" fmla="*/ 163 w 183"/>
                  <a:gd name="T39" fmla="*/ 133 h 185"/>
                  <a:gd name="T40" fmla="*/ 171 w 183"/>
                  <a:gd name="T41" fmla="*/ 114 h 185"/>
                  <a:gd name="T42" fmla="*/ 174 w 183"/>
                  <a:gd name="T43" fmla="*/ 93 h 185"/>
                  <a:gd name="T44" fmla="*/ 173 w 183"/>
                  <a:gd name="T45" fmla="*/ 77 h 185"/>
                  <a:gd name="T46" fmla="*/ 168 w 183"/>
                  <a:gd name="T47" fmla="*/ 62 h 185"/>
                  <a:gd name="T48" fmla="*/ 161 w 183"/>
                  <a:gd name="T49" fmla="*/ 48 h 185"/>
                  <a:gd name="T50" fmla="*/ 150 w 183"/>
                  <a:gd name="T51" fmla="*/ 36 h 185"/>
                  <a:gd name="T52" fmla="*/ 133 w 183"/>
                  <a:gd name="T53" fmla="*/ 23 h 185"/>
                  <a:gd name="T54" fmla="*/ 113 w 183"/>
                  <a:gd name="T55" fmla="*/ 14 h 185"/>
                  <a:gd name="T56" fmla="*/ 93 w 183"/>
                  <a:gd name="T57" fmla="*/ 12 h 185"/>
                  <a:gd name="T58" fmla="*/ 93 w 183"/>
                  <a:gd name="T59" fmla="*/ 0 h 185"/>
                  <a:gd name="T60" fmla="*/ 110 w 183"/>
                  <a:gd name="T61" fmla="*/ 2 h 185"/>
                  <a:gd name="T62" fmla="*/ 127 w 183"/>
                  <a:gd name="T63" fmla="*/ 8 h 185"/>
                  <a:gd name="T64" fmla="*/ 143 w 183"/>
                  <a:gd name="T65" fmla="*/ 16 h 185"/>
                  <a:gd name="T66" fmla="*/ 157 w 183"/>
                  <a:gd name="T67" fmla="*/ 28 h 185"/>
                  <a:gd name="T68" fmla="*/ 168 w 183"/>
                  <a:gd name="T69" fmla="*/ 42 h 185"/>
                  <a:gd name="T70" fmla="*/ 177 w 183"/>
                  <a:gd name="T71" fmla="*/ 58 h 185"/>
                  <a:gd name="T72" fmla="*/ 181 w 183"/>
                  <a:gd name="T73" fmla="*/ 74 h 185"/>
                  <a:gd name="T74" fmla="*/ 183 w 183"/>
                  <a:gd name="T75" fmla="*/ 93 h 185"/>
                  <a:gd name="T76" fmla="*/ 181 w 183"/>
                  <a:gd name="T77" fmla="*/ 110 h 185"/>
                  <a:gd name="T78" fmla="*/ 177 w 183"/>
                  <a:gd name="T79" fmla="*/ 127 h 185"/>
                  <a:gd name="T80" fmla="*/ 168 w 183"/>
                  <a:gd name="T81" fmla="*/ 143 h 185"/>
                  <a:gd name="T82" fmla="*/ 157 w 183"/>
                  <a:gd name="T83" fmla="*/ 157 h 185"/>
                  <a:gd name="T84" fmla="*/ 143 w 183"/>
                  <a:gd name="T85" fmla="*/ 169 h 185"/>
                  <a:gd name="T86" fmla="*/ 127 w 183"/>
                  <a:gd name="T87" fmla="*/ 178 h 185"/>
                  <a:gd name="T88" fmla="*/ 110 w 183"/>
                  <a:gd name="T89" fmla="*/ 183 h 185"/>
                  <a:gd name="T90" fmla="*/ 93 w 183"/>
                  <a:gd name="T91" fmla="*/ 185 h 185"/>
                  <a:gd name="T92" fmla="*/ 75 w 183"/>
                  <a:gd name="T93" fmla="*/ 183 h 185"/>
                  <a:gd name="T94" fmla="*/ 57 w 183"/>
                  <a:gd name="T95" fmla="*/ 178 h 185"/>
                  <a:gd name="T96" fmla="*/ 41 w 183"/>
                  <a:gd name="T97" fmla="*/ 169 h 185"/>
                  <a:gd name="T98" fmla="*/ 27 w 183"/>
                  <a:gd name="T99" fmla="*/ 157 h 185"/>
                  <a:gd name="T100" fmla="*/ 17 w 183"/>
                  <a:gd name="T101" fmla="*/ 143 h 185"/>
                  <a:gd name="T102" fmla="*/ 8 w 183"/>
                  <a:gd name="T103" fmla="*/ 127 h 185"/>
                  <a:gd name="T104" fmla="*/ 3 w 183"/>
                  <a:gd name="T105" fmla="*/ 110 h 185"/>
                  <a:gd name="T106" fmla="*/ 0 w 183"/>
                  <a:gd name="T107" fmla="*/ 93 h 185"/>
                  <a:gd name="T108" fmla="*/ 3 w 183"/>
                  <a:gd name="T109" fmla="*/ 74 h 185"/>
                  <a:gd name="T110" fmla="*/ 8 w 183"/>
                  <a:gd name="T111" fmla="*/ 58 h 185"/>
                  <a:gd name="T112" fmla="*/ 17 w 183"/>
                  <a:gd name="T113" fmla="*/ 42 h 185"/>
                  <a:gd name="T114" fmla="*/ 27 w 183"/>
                  <a:gd name="T115" fmla="*/ 28 h 185"/>
                  <a:gd name="T116" fmla="*/ 41 w 183"/>
                  <a:gd name="T117" fmla="*/ 16 h 185"/>
                  <a:gd name="T118" fmla="*/ 57 w 183"/>
                  <a:gd name="T119" fmla="*/ 8 h 185"/>
                  <a:gd name="T120" fmla="*/ 75 w 183"/>
                  <a:gd name="T121" fmla="*/ 2 h 185"/>
                  <a:gd name="T122" fmla="*/ 93 w 183"/>
                  <a:gd name="T123" fmla="*/ 0 h 18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83" h="185">
                    <a:moveTo>
                      <a:pt x="93" y="12"/>
                    </a:moveTo>
                    <a:lnTo>
                      <a:pt x="77" y="13"/>
                    </a:lnTo>
                    <a:lnTo>
                      <a:pt x="61" y="17"/>
                    </a:lnTo>
                    <a:lnTo>
                      <a:pt x="48" y="25"/>
                    </a:lnTo>
                    <a:lnTo>
                      <a:pt x="36" y="36"/>
                    </a:lnTo>
                    <a:lnTo>
                      <a:pt x="25" y="48"/>
                    </a:lnTo>
                    <a:lnTo>
                      <a:pt x="18" y="62"/>
                    </a:lnTo>
                    <a:lnTo>
                      <a:pt x="13" y="77"/>
                    </a:lnTo>
                    <a:lnTo>
                      <a:pt x="12" y="93"/>
                    </a:lnTo>
                    <a:lnTo>
                      <a:pt x="14" y="114"/>
                    </a:lnTo>
                    <a:lnTo>
                      <a:pt x="22" y="133"/>
                    </a:lnTo>
                    <a:lnTo>
                      <a:pt x="36" y="150"/>
                    </a:lnTo>
                    <a:lnTo>
                      <a:pt x="48" y="161"/>
                    </a:lnTo>
                    <a:lnTo>
                      <a:pt x="61" y="168"/>
                    </a:lnTo>
                    <a:lnTo>
                      <a:pt x="77" y="172"/>
                    </a:lnTo>
                    <a:lnTo>
                      <a:pt x="93" y="174"/>
                    </a:lnTo>
                    <a:lnTo>
                      <a:pt x="113" y="171"/>
                    </a:lnTo>
                    <a:lnTo>
                      <a:pt x="133" y="163"/>
                    </a:lnTo>
                    <a:lnTo>
                      <a:pt x="150" y="150"/>
                    </a:lnTo>
                    <a:lnTo>
                      <a:pt x="163" y="133"/>
                    </a:lnTo>
                    <a:lnTo>
                      <a:pt x="171" y="114"/>
                    </a:lnTo>
                    <a:lnTo>
                      <a:pt x="174" y="93"/>
                    </a:lnTo>
                    <a:lnTo>
                      <a:pt x="173" y="77"/>
                    </a:lnTo>
                    <a:lnTo>
                      <a:pt x="168" y="62"/>
                    </a:lnTo>
                    <a:lnTo>
                      <a:pt x="161" y="48"/>
                    </a:lnTo>
                    <a:lnTo>
                      <a:pt x="150" y="36"/>
                    </a:lnTo>
                    <a:lnTo>
                      <a:pt x="133" y="23"/>
                    </a:lnTo>
                    <a:lnTo>
                      <a:pt x="113" y="14"/>
                    </a:lnTo>
                    <a:lnTo>
                      <a:pt x="93" y="12"/>
                    </a:lnTo>
                    <a:close/>
                    <a:moveTo>
                      <a:pt x="93" y="0"/>
                    </a:moveTo>
                    <a:lnTo>
                      <a:pt x="110" y="2"/>
                    </a:lnTo>
                    <a:lnTo>
                      <a:pt x="127" y="8"/>
                    </a:lnTo>
                    <a:lnTo>
                      <a:pt x="143" y="16"/>
                    </a:lnTo>
                    <a:lnTo>
                      <a:pt x="157" y="28"/>
                    </a:lnTo>
                    <a:lnTo>
                      <a:pt x="168" y="42"/>
                    </a:lnTo>
                    <a:lnTo>
                      <a:pt x="177" y="58"/>
                    </a:lnTo>
                    <a:lnTo>
                      <a:pt x="181" y="74"/>
                    </a:lnTo>
                    <a:lnTo>
                      <a:pt x="183" y="93"/>
                    </a:lnTo>
                    <a:lnTo>
                      <a:pt x="181" y="110"/>
                    </a:lnTo>
                    <a:lnTo>
                      <a:pt x="177" y="127"/>
                    </a:lnTo>
                    <a:lnTo>
                      <a:pt x="168" y="143"/>
                    </a:lnTo>
                    <a:lnTo>
                      <a:pt x="157" y="157"/>
                    </a:lnTo>
                    <a:lnTo>
                      <a:pt x="143" y="169"/>
                    </a:lnTo>
                    <a:lnTo>
                      <a:pt x="127" y="178"/>
                    </a:lnTo>
                    <a:lnTo>
                      <a:pt x="110" y="183"/>
                    </a:lnTo>
                    <a:lnTo>
                      <a:pt x="93" y="185"/>
                    </a:lnTo>
                    <a:lnTo>
                      <a:pt x="75" y="183"/>
                    </a:lnTo>
                    <a:lnTo>
                      <a:pt x="57" y="178"/>
                    </a:lnTo>
                    <a:lnTo>
                      <a:pt x="41" y="169"/>
                    </a:lnTo>
                    <a:lnTo>
                      <a:pt x="27" y="157"/>
                    </a:lnTo>
                    <a:lnTo>
                      <a:pt x="17" y="143"/>
                    </a:lnTo>
                    <a:lnTo>
                      <a:pt x="8" y="127"/>
                    </a:lnTo>
                    <a:lnTo>
                      <a:pt x="3" y="110"/>
                    </a:lnTo>
                    <a:lnTo>
                      <a:pt x="0" y="93"/>
                    </a:lnTo>
                    <a:lnTo>
                      <a:pt x="3" y="74"/>
                    </a:lnTo>
                    <a:lnTo>
                      <a:pt x="8" y="58"/>
                    </a:lnTo>
                    <a:lnTo>
                      <a:pt x="17" y="42"/>
                    </a:lnTo>
                    <a:lnTo>
                      <a:pt x="27" y="28"/>
                    </a:lnTo>
                    <a:lnTo>
                      <a:pt x="41" y="16"/>
                    </a:lnTo>
                    <a:lnTo>
                      <a:pt x="57" y="8"/>
                    </a:lnTo>
                    <a:lnTo>
                      <a:pt x="75" y="2"/>
                    </a:lnTo>
                    <a:lnTo>
                      <a:pt x="93" y="0"/>
                    </a:lnTo>
                    <a:close/>
                  </a:path>
                </a:pathLst>
              </a:custGeom>
              <a:solidFill>
                <a:srgbClr val="A3A7A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71" name="Freeform 321"/>
              <p:cNvSpPr>
                <a:spLocks/>
              </p:cNvSpPr>
              <p:nvPr/>
            </p:nvSpPr>
            <p:spPr bwMode="auto">
              <a:xfrm>
                <a:off x="1381" y="3294"/>
                <a:ext cx="15" cy="25"/>
              </a:xfrm>
              <a:custGeom>
                <a:avLst/>
                <a:gdLst>
                  <a:gd name="T0" fmla="*/ 8 w 15"/>
                  <a:gd name="T1" fmla="*/ 0 h 25"/>
                  <a:gd name="T2" fmla="*/ 9 w 15"/>
                  <a:gd name="T3" fmla="*/ 8 h 25"/>
                  <a:gd name="T4" fmla="*/ 12 w 15"/>
                  <a:gd name="T5" fmla="*/ 17 h 25"/>
                  <a:gd name="T6" fmla="*/ 15 w 15"/>
                  <a:gd name="T7" fmla="*/ 23 h 25"/>
                  <a:gd name="T8" fmla="*/ 8 w 15"/>
                  <a:gd name="T9" fmla="*/ 25 h 25"/>
                  <a:gd name="T10" fmla="*/ 2 w 15"/>
                  <a:gd name="T11" fmla="*/ 14 h 25"/>
                  <a:gd name="T12" fmla="*/ 0 w 15"/>
                  <a:gd name="T13" fmla="*/ 5 h 25"/>
                  <a:gd name="T14" fmla="*/ 0 w 15"/>
                  <a:gd name="T15" fmla="*/ 1 h 25"/>
                  <a:gd name="T16" fmla="*/ 8 w 15"/>
                  <a:gd name="T17" fmla="*/ 0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 h="25">
                    <a:moveTo>
                      <a:pt x="8" y="0"/>
                    </a:moveTo>
                    <a:lnTo>
                      <a:pt x="9" y="8"/>
                    </a:lnTo>
                    <a:lnTo>
                      <a:pt x="12" y="17"/>
                    </a:lnTo>
                    <a:lnTo>
                      <a:pt x="15" y="23"/>
                    </a:lnTo>
                    <a:lnTo>
                      <a:pt x="8" y="25"/>
                    </a:lnTo>
                    <a:lnTo>
                      <a:pt x="2" y="14"/>
                    </a:lnTo>
                    <a:lnTo>
                      <a:pt x="0" y="5"/>
                    </a:lnTo>
                    <a:lnTo>
                      <a:pt x="0" y="1"/>
                    </a:lnTo>
                    <a:lnTo>
                      <a:pt x="8" y="0"/>
                    </a:lnTo>
                    <a:close/>
                  </a:path>
                </a:pathLst>
              </a:custGeom>
              <a:solidFill>
                <a:srgbClr val="A3A7A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72" name="Freeform 322"/>
              <p:cNvSpPr>
                <a:spLocks/>
              </p:cNvSpPr>
              <p:nvPr/>
            </p:nvSpPr>
            <p:spPr bwMode="auto">
              <a:xfrm>
                <a:off x="1411" y="3305"/>
                <a:ext cx="32" cy="36"/>
              </a:xfrm>
              <a:custGeom>
                <a:avLst/>
                <a:gdLst>
                  <a:gd name="T0" fmla="*/ 9 w 32"/>
                  <a:gd name="T1" fmla="*/ 0 h 36"/>
                  <a:gd name="T2" fmla="*/ 22 w 32"/>
                  <a:gd name="T3" fmla="*/ 0 h 36"/>
                  <a:gd name="T4" fmla="*/ 32 w 32"/>
                  <a:gd name="T5" fmla="*/ 36 h 36"/>
                  <a:gd name="T6" fmla="*/ 22 w 32"/>
                  <a:gd name="T7" fmla="*/ 36 h 36"/>
                  <a:gd name="T8" fmla="*/ 16 w 32"/>
                  <a:gd name="T9" fmla="*/ 19 h 36"/>
                  <a:gd name="T10" fmla="*/ 9 w 32"/>
                  <a:gd name="T11" fmla="*/ 36 h 36"/>
                  <a:gd name="T12" fmla="*/ 0 w 32"/>
                  <a:gd name="T13" fmla="*/ 36 h 36"/>
                  <a:gd name="T14" fmla="*/ 9 w 32"/>
                  <a:gd name="T15" fmla="*/ 0 h 3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2" h="36">
                    <a:moveTo>
                      <a:pt x="9" y="0"/>
                    </a:moveTo>
                    <a:lnTo>
                      <a:pt x="22" y="0"/>
                    </a:lnTo>
                    <a:lnTo>
                      <a:pt x="32" y="36"/>
                    </a:lnTo>
                    <a:lnTo>
                      <a:pt x="22" y="36"/>
                    </a:lnTo>
                    <a:lnTo>
                      <a:pt x="16" y="19"/>
                    </a:lnTo>
                    <a:lnTo>
                      <a:pt x="9" y="36"/>
                    </a:lnTo>
                    <a:lnTo>
                      <a:pt x="0" y="36"/>
                    </a:lnTo>
                    <a:lnTo>
                      <a:pt x="9" y="0"/>
                    </a:lnTo>
                    <a:close/>
                  </a:path>
                </a:pathLst>
              </a:custGeom>
              <a:solidFill>
                <a:srgbClr val="A3A7A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73" name="Rectangle 323"/>
              <p:cNvSpPr>
                <a:spLocks noChangeArrowheads="1"/>
              </p:cNvSpPr>
              <p:nvPr/>
            </p:nvSpPr>
            <p:spPr bwMode="auto">
              <a:xfrm>
                <a:off x="1409" y="3345"/>
                <a:ext cx="38" cy="4"/>
              </a:xfrm>
              <a:prstGeom prst="rect">
                <a:avLst/>
              </a:prstGeom>
              <a:solidFill>
                <a:srgbClr val="A3A7AC"/>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eaLnBrk="1" hangingPunct="1"/>
                <a:endParaRPr lang="es-ES" altLang="es-CL" dirty="0">
                  <a:solidFill>
                    <a:srgbClr val="333333"/>
                  </a:solidFill>
                  <a:latin typeface="Arial" pitchFamily="34" charset="0"/>
                </a:endParaRPr>
              </a:p>
            </p:txBody>
          </p:sp>
          <p:sp>
            <p:nvSpPr>
              <p:cNvPr id="2174" name="Freeform 324"/>
              <p:cNvSpPr>
                <a:spLocks noEditPoints="1"/>
              </p:cNvSpPr>
              <p:nvPr/>
            </p:nvSpPr>
            <p:spPr bwMode="auto">
              <a:xfrm>
                <a:off x="1462" y="3279"/>
                <a:ext cx="11" cy="9"/>
              </a:xfrm>
              <a:custGeom>
                <a:avLst/>
                <a:gdLst>
                  <a:gd name="T0" fmla="*/ 7 w 11"/>
                  <a:gd name="T1" fmla="*/ 2 h 9"/>
                  <a:gd name="T2" fmla="*/ 5 w 11"/>
                  <a:gd name="T3" fmla="*/ 2 h 9"/>
                  <a:gd name="T4" fmla="*/ 4 w 11"/>
                  <a:gd name="T5" fmla="*/ 3 h 9"/>
                  <a:gd name="T6" fmla="*/ 4 w 11"/>
                  <a:gd name="T7" fmla="*/ 5 h 9"/>
                  <a:gd name="T8" fmla="*/ 4 w 11"/>
                  <a:gd name="T9" fmla="*/ 6 h 9"/>
                  <a:gd name="T10" fmla="*/ 5 w 11"/>
                  <a:gd name="T11" fmla="*/ 7 h 9"/>
                  <a:gd name="T12" fmla="*/ 7 w 11"/>
                  <a:gd name="T13" fmla="*/ 8 h 9"/>
                  <a:gd name="T14" fmla="*/ 7 w 11"/>
                  <a:gd name="T15" fmla="*/ 8 h 9"/>
                  <a:gd name="T16" fmla="*/ 8 w 11"/>
                  <a:gd name="T17" fmla="*/ 7 h 9"/>
                  <a:gd name="T18" fmla="*/ 8 w 11"/>
                  <a:gd name="T19" fmla="*/ 6 h 9"/>
                  <a:gd name="T20" fmla="*/ 8 w 11"/>
                  <a:gd name="T21" fmla="*/ 5 h 9"/>
                  <a:gd name="T22" fmla="*/ 8 w 11"/>
                  <a:gd name="T23" fmla="*/ 3 h 9"/>
                  <a:gd name="T24" fmla="*/ 8 w 11"/>
                  <a:gd name="T25" fmla="*/ 2 h 9"/>
                  <a:gd name="T26" fmla="*/ 7 w 11"/>
                  <a:gd name="T27" fmla="*/ 2 h 9"/>
                  <a:gd name="T28" fmla="*/ 4 w 11"/>
                  <a:gd name="T29" fmla="*/ 0 h 9"/>
                  <a:gd name="T30" fmla="*/ 7 w 11"/>
                  <a:gd name="T31" fmla="*/ 0 h 9"/>
                  <a:gd name="T32" fmla="*/ 8 w 11"/>
                  <a:gd name="T33" fmla="*/ 1 h 9"/>
                  <a:gd name="T34" fmla="*/ 9 w 11"/>
                  <a:gd name="T35" fmla="*/ 2 h 9"/>
                  <a:gd name="T36" fmla="*/ 11 w 11"/>
                  <a:gd name="T37" fmla="*/ 3 h 9"/>
                  <a:gd name="T38" fmla="*/ 11 w 11"/>
                  <a:gd name="T39" fmla="*/ 5 h 9"/>
                  <a:gd name="T40" fmla="*/ 11 w 11"/>
                  <a:gd name="T41" fmla="*/ 7 h 9"/>
                  <a:gd name="T42" fmla="*/ 9 w 11"/>
                  <a:gd name="T43" fmla="*/ 8 h 9"/>
                  <a:gd name="T44" fmla="*/ 8 w 11"/>
                  <a:gd name="T45" fmla="*/ 9 h 9"/>
                  <a:gd name="T46" fmla="*/ 7 w 11"/>
                  <a:gd name="T47" fmla="*/ 9 h 9"/>
                  <a:gd name="T48" fmla="*/ 4 w 11"/>
                  <a:gd name="T49" fmla="*/ 9 h 9"/>
                  <a:gd name="T50" fmla="*/ 1 w 11"/>
                  <a:gd name="T51" fmla="*/ 8 h 9"/>
                  <a:gd name="T52" fmla="*/ 0 w 11"/>
                  <a:gd name="T53" fmla="*/ 6 h 9"/>
                  <a:gd name="T54" fmla="*/ 0 w 11"/>
                  <a:gd name="T55" fmla="*/ 5 h 9"/>
                  <a:gd name="T56" fmla="*/ 0 w 11"/>
                  <a:gd name="T57" fmla="*/ 3 h 9"/>
                  <a:gd name="T58" fmla="*/ 1 w 11"/>
                  <a:gd name="T59" fmla="*/ 2 h 9"/>
                  <a:gd name="T60" fmla="*/ 4 w 11"/>
                  <a:gd name="T61" fmla="*/ 0 h 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 h="9">
                    <a:moveTo>
                      <a:pt x="7" y="2"/>
                    </a:moveTo>
                    <a:lnTo>
                      <a:pt x="5" y="2"/>
                    </a:lnTo>
                    <a:lnTo>
                      <a:pt x="4" y="3"/>
                    </a:lnTo>
                    <a:lnTo>
                      <a:pt x="4" y="5"/>
                    </a:lnTo>
                    <a:lnTo>
                      <a:pt x="4" y="6"/>
                    </a:lnTo>
                    <a:lnTo>
                      <a:pt x="5" y="7"/>
                    </a:lnTo>
                    <a:lnTo>
                      <a:pt x="7" y="8"/>
                    </a:lnTo>
                    <a:lnTo>
                      <a:pt x="8" y="7"/>
                    </a:lnTo>
                    <a:lnTo>
                      <a:pt x="8" y="6"/>
                    </a:lnTo>
                    <a:lnTo>
                      <a:pt x="8" y="5"/>
                    </a:lnTo>
                    <a:lnTo>
                      <a:pt x="8" y="3"/>
                    </a:lnTo>
                    <a:lnTo>
                      <a:pt x="8" y="2"/>
                    </a:lnTo>
                    <a:lnTo>
                      <a:pt x="7" y="2"/>
                    </a:lnTo>
                    <a:close/>
                    <a:moveTo>
                      <a:pt x="4" y="0"/>
                    </a:moveTo>
                    <a:lnTo>
                      <a:pt x="7" y="0"/>
                    </a:lnTo>
                    <a:lnTo>
                      <a:pt x="8" y="1"/>
                    </a:lnTo>
                    <a:lnTo>
                      <a:pt x="9" y="2"/>
                    </a:lnTo>
                    <a:lnTo>
                      <a:pt x="11" y="3"/>
                    </a:lnTo>
                    <a:lnTo>
                      <a:pt x="11" y="5"/>
                    </a:lnTo>
                    <a:lnTo>
                      <a:pt x="11" y="7"/>
                    </a:lnTo>
                    <a:lnTo>
                      <a:pt x="9" y="8"/>
                    </a:lnTo>
                    <a:lnTo>
                      <a:pt x="8" y="9"/>
                    </a:lnTo>
                    <a:lnTo>
                      <a:pt x="7" y="9"/>
                    </a:lnTo>
                    <a:lnTo>
                      <a:pt x="4" y="9"/>
                    </a:lnTo>
                    <a:lnTo>
                      <a:pt x="1" y="8"/>
                    </a:lnTo>
                    <a:lnTo>
                      <a:pt x="0" y="6"/>
                    </a:lnTo>
                    <a:lnTo>
                      <a:pt x="0" y="5"/>
                    </a:lnTo>
                    <a:lnTo>
                      <a:pt x="0" y="3"/>
                    </a:lnTo>
                    <a:lnTo>
                      <a:pt x="1" y="2"/>
                    </a:lnTo>
                    <a:lnTo>
                      <a:pt x="4" y="0"/>
                    </a:lnTo>
                    <a:close/>
                  </a:path>
                </a:pathLst>
              </a:custGeom>
              <a:solidFill>
                <a:srgbClr val="A3A7A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75" name="Freeform 325"/>
              <p:cNvSpPr>
                <a:spLocks/>
              </p:cNvSpPr>
              <p:nvPr/>
            </p:nvSpPr>
            <p:spPr bwMode="auto">
              <a:xfrm>
                <a:off x="1432" y="3281"/>
                <a:ext cx="31" cy="16"/>
              </a:xfrm>
              <a:custGeom>
                <a:avLst/>
                <a:gdLst>
                  <a:gd name="T0" fmla="*/ 31 w 31"/>
                  <a:gd name="T1" fmla="*/ 0 h 16"/>
                  <a:gd name="T2" fmla="*/ 30 w 31"/>
                  <a:gd name="T3" fmla="*/ 0 h 16"/>
                  <a:gd name="T4" fmla="*/ 30 w 31"/>
                  <a:gd name="T5" fmla="*/ 1 h 16"/>
                  <a:gd name="T6" fmla="*/ 30 w 31"/>
                  <a:gd name="T7" fmla="*/ 3 h 16"/>
                  <a:gd name="T8" fmla="*/ 30 w 31"/>
                  <a:gd name="T9" fmla="*/ 4 h 16"/>
                  <a:gd name="T10" fmla="*/ 30 w 31"/>
                  <a:gd name="T11" fmla="*/ 6 h 16"/>
                  <a:gd name="T12" fmla="*/ 31 w 31"/>
                  <a:gd name="T13" fmla="*/ 7 h 16"/>
                  <a:gd name="T14" fmla="*/ 4 w 31"/>
                  <a:gd name="T15" fmla="*/ 16 h 16"/>
                  <a:gd name="T16" fmla="*/ 4 w 31"/>
                  <a:gd name="T17" fmla="*/ 14 h 16"/>
                  <a:gd name="T18" fmla="*/ 4 w 31"/>
                  <a:gd name="T19" fmla="*/ 12 h 16"/>
                  <a:gd name="T20" fmla="*/ 3 w 31"/>
                  <a:gd name="T21" fmla="*/ 11 h 16"/>
                  <a:gd name="T22" fmla="*/ 2 w 31"/>
                  <a:gd name="T23" fmla="*/ 8 h 16"/>
                  <a:gd name="T24" fmla="*/ 0 w 31"/>
                  <a:gd name="T25" fmla="*/ 7 h 16"/>
                  <a:gd name="T26" fmla="*/ 31 w 31"/>
                  <a:gd name="T27" fmla="*/ 0 h 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1" h="16">
                    <a:moveTo>
                      <a:pt x="31" y="0"/>
                    </a:moveTo>
                    <a:lnTo>
                      <a:pt x="30" y="0"/>
                    </a:lnTo>
                    <a:lnTo>
                      <a:pt x="30" y="1"/>
                    </a:lnTo>
                    <a:lnTo>
                      <a:pt x="30" y="3"/>
                    </a:lnTo>
                    <a:lnTo>
                      <a:pt x="30" y="4"/>
                    </a:lnTo>
                    <a:lnTo>
                      <a:pt x="30" y="6"/>
                    </a:lnTo>
                    <a:lnTo>
                      <a:pt x="31" y="7"/>
                    </a:lnTo>
                    <a:lnTo>
                      <a:pt x="4" y="16"/>
                    </a:lnTo>
                    <a:lnTo>
                      <a:pt x="4" y="14"/>
                    </a:lnTo>
                    <a:lnTo>
                      <a:pt x="4" y="12"/>
                    </a:lnTo>
                    <a:lnTo>
                      <a:pt x="3" y="11"/>
                    </a:lnTo>
                    <a:lnTo>
                      <a:pt x="2" y="8"/>
                    </a:lnTo>
                    <a:lnTo>
                      <a:pt x="0" y="7"/>
                    </a:lnTo>
                    <a:lnTo>
                      <a:pt x="31" y="0"/>
                    </a:lnTo>
                    <a:close/>
                  </a:path>
                </a:pathLst>
              </a:custGeom>
              <a:solidFill>
                <a:srgbClr val="A3A7A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76" name="Freeform 326"/>
              <p:cNvSpPr>
                <a:spLocks noEditPoints="1"/>
              </p:cNvSpPr>
              <p:nvPr/>
            </p:nvSpPr>
            <p:spPr bwMode="auto">
              <a:xfrm>
                <a:off x="1420" y="3288"/>
                <a:ext cx="15" cy="13"/>
              </a:xfrm>
              <a:custGeom>
                <a:avLst/>
                <a:gdLst>
                  <a:gd name="T0" fmla="*/ 7 w 15"/>
                  <a:gd name="T1" fmla="*/ 4 h 13"/>
                  <a:gd name="T2" fmla="*/ 6 w 15"/>
                  <a:gd name="T3" fmla="*/ 5 h 13"/>
                  <a:gd name="T4" fmla="*/ 5 w 15"/>
                  <a:gd name="T5" fmla="*/ 6 h 13"/>
                  <a:gd name="T6" fmla="*/ 4 w 15"/>
                  <a:gd name="T7" fmla="*/ 7 h 13"/>
                  <a:gd name="T8" fmla="*/ 5 w 15"/>
                  <a:gd name="T9" fmla="*/ 9 h 13"/>
                  <a:gd name="T10" fmla="*/ 6 w 15"/>
                  <a:gd name="T11" fmla="*/ 10 h 13"/>
                  <a:gd name="T12" fmla="*/ 7 w 15"/>
                  <a:gd name="T13" fmla="*/ 10 h 13"/>
                  <a:gd name="T14" fmla="*/ 10 w 15"/>
                  <a:gd name="T15" fmla="*/ 10 h 13"/>
                  <a:gd name="T16" fmla="*/ 11 w 15"/>
                  <a:gd name="T17" fmla="*/ 9 h 13"/>
                  <a:gd name="T18" fmla="*/ 12 w 15"/>
                  <a:gd name="T19" fmla="*/ 7 h 13"/>
                  <a:gd name="T20" fmla="*/ 11 w 15"/>
                  <a:gd name="T21" fmla="*/ 6 h 13"/>
                  <a:gd name="T22" fmla="*/ 10 w 15"/>
                  <a:gd name="T23" fmla="*/ 5 h 13"/>
                  <a:gd name="T24" fmla="*/ 7 w 15"/>
                  <a:gd name="T25" fmla="*/ 4 h 13"/>
                  <a:gd name="T26" fmla="*/ 7 w 15"/>
                  <a:gd name="T27" fmla="*/ 0 h 13"/>
                  <a:gd name="T28" fmla="*/ 10 w 15"/>
                  <a:gd name="T29" fmla="*/ 1 h 13"/>
                  <a:gd name="T30" fmla="*/ 13 w 15"/>
                  <a:gd name="T31" fmla="*/ 3 h 13"/>
                  <a:gd name="T32" fmla="*/ 14 w 15"/>
                  <a:gd name="T33" fmla="*/ 5 h 13"/>
                  <a:gd name="T34" fmla="*/ 15 w 15"/>
                  <a:gd name="T35" fmla="*/ 7 h 13"/>
                  <a:gd name="T36" fmla="*/ 14 w 15"/>
                  <a:gd name="T37" fmla="*/ 10 h 13"/>
                  <a:gd name="T38" fmla="*/ 13 w 15"/>
                  <a:gd name="T39" fmla="*/ 11 h 13"/>
                  <a:gd name="T40" fmla="*/ 12 w 15"/>
                  <a:gd name="T41" fmla="*/ 12 h 13"/>
                  <a:gd name="T42" fmla="*/ 10 w 15"/>
                  <a:gd name="T43" fmla="*/ 13 h 13"/>
                  <a:gd name="T44" fmla="*/ 7 w 15"/>
                  <a:gd name="T45" fmla="*/ 13 h 13"/>
                  <a:gd name="T46" fmla="*/ 6 w 15"/>
                  <a:gd name="T47" fmla="*/ 13 h 13"/>
                  <a:gd name="T48" fmla="*/ 4 w 15"/>
                  <a:gd name="T49" fmla="*/ 12 h 13"/>
                  <a:gd name="T50" fmla="*/ 2 w 15"/>
                  <a:gd name="T51" fmla="*/ 11 h 13"/>
                  <a:gd name="T52" fmla="*/ 1 w 15"/>
                  <a:gd name="T53" fmla="*/ 10 h 13"/>
                  <a:gd name="T54" fmla="*/ 0 w 15"/>
                  <a:gd name="T55" fmla="*/ 7 h 13"/>
                  <a:gd name="T56" fmla="*/ 1 w 15"/>
                  <a:gd name="T57" fmla="*/ 5 h 13"/>
                  <a:gd name="T58" fmla="*/ 2 w 15"/>
                  <a:gd name="T59" fmla="*/ 3 h 13"/>
                  <a:gd name="T60" fmla="*/ 5 w 15"/>
                  <a:gd name="T61" fmla="*/ 1 h 13"/>
                  <a:gd name="T62" fmla="*/ 7 w 15"/>
                  <a:gd name="T63" fmla="*/ 0 h 1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5" h="13">
                    <a:moveTo>
                      <a:pt x="7" y="4"/>
                    </a:moveTo>
                    <a:lnTo>
                      <a:pt x="6" y="5"/>
                    </a:lnTo>
                    <a:lnTo>
                      <a:pt x="5" y="6"/>
                    </a:lnTo>
                    <a:lnTo>
                      <a:pt x="4" y="7"/>
                    </a:lnTo>
                    <a:lnTo>
                      <a:pt x="5" y="9"/>
                    </a:lnTo>
                    <a:lnTo>
                      <a:pt x="6" y="10"/>
                    </a:lnTo>
                    <a:lnTo>
                      <a:pt x="7" y="10"/>
                    </a:lnTo>
                    <a:lnTo>
                      <a:pt x="10" y="10"/>
                    </a:lnTo>
                    <a:lnTo>
                      <a:pt x="11" y="9"/>
                    </a:lnTo>
                    <a:lnTo>
                      <a:pt x="12" y="7"/>
                    </a:lnTo>
                    <a:lnTo>
                      <a:pt x="11" y="6"/>
                    </a:lnTo>
                    <a:lnTo>
                      <a:pt x="10" y="5"/>
                    </a:lnTo>
                    <a:lnTo>
                      <a:pt x="7" y="4"/>
                    </a:lnTo>
                    <a:close/>
                    <a:moveTo>
                      <a:pt x="7" y="0"/>
                    </a:moveTo>
                    <a:lnTo>
                      <a:pt x="10" y="1"/>
                    </a:lnTo>
                    <a:lnTo>
                      <a:pt x="13" y="3"/>
                    </a:lnTo>
                    <a:lnTo>
                      <a:pt x="14" y="5"/>
                    </a:lnTo>
                    <a:lnTo>
                      <a:pt x="15" y="7"/>
                    </a:lnTo>
                    <a:lnTo>
                      <a:pt x="14" y="10"/>
                    </a:lnTo>
                    <a:lnTo>
                      <a:pt x="13" y="11"/>
                    </a:lnTo>
                    <a:lnTo>
                      <a:pt x="12" y="12"/>
                    </a:lnTo>
                    <a:lnTo>
                      <a:pt x="10" y="13"/>
                    </a:lnTo>
                    <a:lnTo>
                      <a:pt x="7" y="13"/>
                    </a:lnTo>
                    <a:lnTo>
                      <a:pt x="6" y="13"/>
                    </a:lnTo>
                    <a:lnTo>
                      <a:pt x="4" y="12"/>
                    </a:lnTo>
                    <a:lnTo>
                      <a:pt x="2" y="11"/>
                    </a:lnTo>
                    <a:lnTo>
                      <a:pt x="1" y="10"/>
                    </a:lnTo>
                    <a:lnTo>
                      <a:pt x="0" y="7"/>
                    </a:lnTo>
                    <a:lnTo>
                      <a:pt x="1" y="5"/>
                    </a:lnTo>
                    <a:lnTo>
                      <a:pt x="2" y="3"/>
                    </a:lnTo>
                    <a:lnTo>
                      <a:pt x="5" y="1"/>
                    </a:lnTo>
                    <a:lnTo>
                      <a:pt x="7" y="0"/>
                    </a:lnTo>
                    <a:close/>
                  </a:path>
                </a:pathLst>
              </a:custGeom>
              <a:solidFill>
                <a:srgbClr val="A3A7A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77" name="Freeform 327"/>
              <p:cNvSpPr>
                <a:spLocks/>
              </p:cNvSpPr>
              <p:nvPr/>
            </p:nvSpPr>
            <p:spPr bwMode="auto">
              <a:xfrm>
                <a:off x="1392" y="3292"/>
                <a:ext cx="28" cy="16"/>
              </a:xfrm>
              <a:custGeom>
                <a:avLst/>
                <a:gdLst>
                  <a:gd name="T0" fmla="*/ 28 w 28"/>
                  <a:gd name="T1" fmla="*/ 0 h 16"/>
                  <a:gd name="T2" fmla="*/ 28 w 28"/>
                  <a:gd name="T3" fmla="*/ 1 h 16"/>
                  <a:gd name="T4" fmla="*/ 27 w 28"/>
                  <a:gd name="T5" fmla="*/ 2 h 16"/>
                  <a:gd name="T6" fmla="*/ 27 w 28"/>
                  <a:gd name="T7" fmla="*/ 3 h 16"/>
                  <a:gd name="T8" fmla="*/ 27 w 28"/>
                  <a:gd name="T9" fmla="*/ 6 h 16"/>
                  <a:gd name="T10" fmla="*/ 28 w 28"/>
                  <a:gd name="T11" fmla="*/ 7 h 16"/>
                  <a:gd name="T12" fmla="*/ 28 w 28"/>
                  <a:gd name="T13" fmla="*/ 9 h 16"/>
                  <a:gd name="T14" fmla="*/ 4 w 28"/>
                  <a:gd name="T15" fmla="*/ 16 h 16"/>
                  <a:gd name="T16" fmla="*/ 1 w 28"/>
                  <a:gd name="T17" fmla="*/ 14 h 16"/>
                  <a:gd name="T18" fmla="*/ 0 w 28"/>
                  <a:gd name="T19" fmla="*/ 11 h 16"/>
                  <a:gd name="T20" fmla="*/ 0 w 28"/>
                  <a:gd name="T21" fmla="*/ 8 h 16"/>
                  <a:gd name="T22" fmla="*/ 28 w 28"/>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16">
                    <a:moveTo>
                      <a:pt x="28" y="0"/>
                    </a:moveTo>
                    <a:lnTo>
                      <a:pt x="28" y="1"/>
                    </a:lnTo>
                    <a:lnTo>
                      <a:pt x="27" y="2"/>
                    </a:lnTo>
                    <a:lnTo>
                      <a:pt x="27" y="3"/>
                    </a:lnTo>
                    <a:lnTo>
                      <a:pt x="27" y="6"/>
                    </a:lnTo>
                    <a:lnTo>
                      <a:pt x="28" y="7"/>
                    </a:lnTo>
                    <a:lnTo>
                      <a:pt x="28" y="9"/>
                    </a:lnTo>
                    <a:lnTo>
                      <a:pt x="4" y="16"/>
                    </a:lnTo>
                    <a:lnTo>
                      <a:pt x="1" y="14"/>
                    </a:lnTo>
                    <a:lnTo>
                      <a:pt x="0" y="11"/>
                    </a:lnTo>
                    <a:lnTo>
                      <a:pt x="0" y="8"/>
                    </a:lnTo>
                    <a:lnTo>
                      <a:pt x="28" y="0"/>
                    </a:lnTo>
                    <a:close/>
                  </a:path>
                </a:pathLst>
              </a:custGeom>
              <a:solidFill>
                <a:srgbClr val="A3A7A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78" name="Freeform 328"/>
              <p:cNvSpPr>
                <a:spLocks/>
              </p:cNvSpPr>
              <p:nvPr/>
            </p:nvSpPr>
            <p:spPr bwMode="auto">
              <a:xfrm>
                <a:off x="1433" y="2428"/>
                <a:ext cx="171" cy="171"/>
              </a:xfrm>
              <a:custGeom>
                <a:avLst/>
                <a:gdLst>
                  <a:gd name="T0" fmla="*/ 86 w 171"/>
                  <a:gd name="T1" fmla="*/ 0 h 171"/>
                  <a:gd name="T2" fmla="*/ 109 w 171"/>
                  <a:gd name="T3" fmla="*/ 3 h 171"/>
                  <a:gd name="T4" fmla="*/ 129 w 171"/>
                  <a:gd name="T5" fmla="*/ 12 h 171"/>
                  <a:gd name="T6" fmla="*/ 147 w 171"/>
                  <a:gd name="T7" fmla="*/ 25 h 171"/>
                  <a:gd name="T8" fmla="*/ 160 w 171"/>
                  <a:gd name="T9" fmla="*/ 43 h 171"/>
                  <a:gd name="T10" fmla="*/ 168 w 171"/>
                  <a:gd name="T11" fmla="*/ 63 h 171"/>
                  <a:gd name="T12" fmla="*/ 171 w 171"/>
                  <a:gd name="T13" fmla="*/ 86 h 171"/>
                  <a:gd name="T14" fmla="*/ 168 w 171"/>
                  <a:gd name="T15" fmla="*/ 109 h 171"/>
                  <a:gd name="T16" fmla="*/ 160 w 171"/>
                  <a:gd name="T17" fmla="*/ 129 h 171"/>
                  <a:gd name="T18" fmla="*/ 147 w 171"/>
                  <a:gd name="T19" fmla="*/ 146 h 171"/>
                  <a:gd name="T20" fmla="*/ 129 w 171"/>
                  <a:gd name="T21" fmla="*/ 160 h 171"/>
                  <a:gd name="T22" fmla="*/ 109 w 171"/>
                  <a:gd name="T23" fmla="*/ 169 h 171"/>
                  <a:gd name="T24" fmla="*/ 86 w 171"/>
                  <a:gd name="T25" fmla="*/ 171 h 171"/>
                  <a:gd name="T26" fmla="*/ 64 w 171"/>
                  <a:gd name="T27" fmla="*/ 169 h 171"/>
                  <a:gd name="T28" fmla="*/ 43 w 171"/>
                  <a:gd name="T29" fmla="*/ 160 h 171"/>
                  <a:gd name="T30" fmla="*/ 25 w 171"/>
                  <a:gd name="T31" fmla="*/ 146 h 171"/>
                  <a:gd name="T32" fmla="*/ 12 w 171"/>
                  <a:gd name="T33" fmla="*/ 129 h 171"/>
                  <a:gd name="T34" fmla="*/ 3 w 171"/>
                  <a:gd name="T35" fmla="*/ 109 h 171"/>
                  <a:gd name="T36" fmla="*/ 0 w 171"/>
                  <a:gd name="T37" fmla="*/ 86 h 171"/>
                  <a:gd name="T38" fmla="*/ 3 w 171"/>
                  <a:gd name="T39" fmla="*/ 63 h 171"/>
                  <a:gd name="T40" fmla="*/ 12 w 171"/>
                  <a:gd name="T41" fmla="*/ 43 h 171"/>
                  <a:gd name="T42" fmla="*/ 25 w 171"/>
                  <a:gd name="T43" fmla="*/ 25 h 171"/>
                  <a:gd name="T44" fmla="*/ 43 w 171"/>
                  <a:gd name="T45" fmla="*/ 12 h 171"/>
                  <a:gd name="T46" fmla="*/ 64 w 171"/>
                  <a:gd name="T47" fmla="*/ 3 h 171"/>
                  <a:gd name="T48" fmla="*/ 86 w 171"/>
                  <a:gd name="T49" fmla="*/ 0 h 17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71" h="171">
                    <a:moveTo>
                      <a:pt x="86" y="0"/>
                    </a:moveTo>
                    <a:lnTo>
                      <a:pt x="109" y="3"/>
                    </a:lnTo>
                    <a:lnTo>
                      <a:pt x="129" y="12"/>
                    </a:lnTo>
                    <a:lnTo>
                      <a:pt x="147" y="25"/>
                    </a:lnTo>
                    <a:lnTo>
                      <a:pt x="160" y="43"/>
                    </a:lnTo>
                    <a:lnTo>
                      <a:pt x="168" y="63"/>
                    </a:lnTo>
                    <a:lnTo>
                      <a:pt x="171" y="86"/>
                    </a:lnTo>
                    <a:lnTo>
                      <a:pt x="168" y="109"/>
                    </a:lnTo>
                    <a:lnTo>
                      <a:pt x="160" y="129"/>
                    </a:lnTo>
                    <a:lnTo>
                      <a:pt x="147" y="146"/>
                    </a:lnTo>
                    <a:lnTo>
                      <a:pt x="129" y="160"/>
                    </a:lnTo>
                    <a:lnTo>
                      <a:pt x="109" y="169"/>
                    </a:lnTo>
                    <a:lnTo>
                      <a:pt x="86" y="171"/>
                    </a:lnTo>
                    <a:lnTo>
                      <a:pt x="64" y="169"/>
                    </a:lnTo>
                    <a:lnTo>
                      <a:pt x="43" y="160"/>
                    </a:lnTo>
                    <a:lnTo>
                      <a:pt x="25" y="146"/>
                    </a:lnTo>
                    <a:lnTo>
                      <a:pt x="12" y="129"/>
                    </a:lnTo>
                    <a:lnTo>
                      <a:pt x="3" y="109"/>
                    </a:lnTo>
                    <a:lnTo>
                      <a:pt x="0" y="86"/>
                    </a:lnTo>
                    <a:lnTo>
                      <a:pt x="3" y="63"/>
                    </a:lnTo>
                    <a:lnTo>
                      <a:pt x="12" y="43"/>
                    </a:lnTo>
                    <a:lnTo>
                      <a:pt x="25" y="25"/>
                    </a:lnTo>
                    <a:lnTo>
                      <a:pt x="43" y="12"/>
                    </a:lnTo>
                    <a:lnTo>
                      <a:pt x="64" y="3"/>
                    </a:lnTo>
                    <a:lnTo>
                      <a:pt x="86" y="0"/>
                    </a:lnTo>
                    <a:close/>
                  </a:path>
                </a:pathLst>
              </a:custGeom>
              <a:solidFill>
                <a:srgbClr val="29426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79" name="Freeform 329"/>
              <p:cNvSpPr>
                <a:spLocks noEditPoints="1"/>
              </p:cNvSpPr>
              <p:nvPr/>
            </p:nvSpPr>
            <p:spPr bwMode="auto">
              <a:xfrm>
                <a:off x="1429" y="2421"/>
                <a:ext cx="182" cy="183"/>
              </a:xfrm>
              <a:custGeom>
                <a:avLst/>
                <a:gdLst>
                  <a:gd name="T0" fmla="*/ 90 w 182"/>
                  <a:gd name="T1" fmla="*/ 10 h 183"/>
                  <a:gd name="T2" fmla="*/ 70 w 182"/>
                  <a:gd name="T3" fmla="*/ 13 h 183"/>
                  <a:gd name="T4" fmla="*/ 50 w 182"/>
                  <a:gd name="T5" fmla="*/ 22 h 183"/>
                  <a:gd name="T6" fmla="*/ 33 w 182"/>
                  <a:gd name="T7" fmla="*/ 34 h 183"/>
                  <a:gd name="T8" fmla="*/ 20 w 182"/>
                  <a:gd name="T9" fmla="*/ 51 h 183"/>
                  <a:gd name="T10" fmla="*/ 12 w 182"/>
                  <a:gd name="T11" fmla="*/ 71 h 183"/>
                  <a:gd name="T12" fmla="*/ 10 w 182"/>
                  <a:gd name="T13" fmla="*/ 92 h 183"/>
                  <a:gd name="T14" fmla="*/ 12 w 182"/>
                  <a:gd name="T15" fmla="*/ 112 h 183"/>
                  <a:gd name="T16" fmla="*/ 20 w 182"/>
                  <a:gd name="T17" fmla="*/ 133 h 183"/>
                  <a:gd name="T18" fmla="*/ 33 w 182"/>
                  <a:gd name="T19" fmla="*/ 150 h 183"/>
                  <a:gd name="T20" fmla="*/ 50 w 182"/>
                  <a:gd name="T21" fmla="*/ 163 h 183"/>
                  <a:gd name="T22" fmla="*/ 70 w 182"/>
                  <a:gd name="T23" fmla="*/ 171 h 183"/>
                  <a:gd name="T24" fmla="*/ 90 w 182"/>
                  <a:gd name="T25" fmla="*/ 174 h 183"/>
                  <a:gd name="T26" fmla="*/ 112 w 182"/>
                  <a:gd name="T27" fmla="*/ 171 h 183"/>
                  <a:gd name="T28" fmla="*/ 131 w 182"/>
                  <a:gd name="T29" fmla="*/ 163 h 183"/>
                  <a:gd name="T30" fmla="*/ 148 w 182"/>
                  <a:gd name="T31" fmla="*/ 150 h 183"/>
                  <a:gd name="T32" fmla="*/ 161 w 182"/>
                  <a:gd name="T33" fmla="*/ 133 h 183"/>
                  <a:gd name="T34" fmla="*/ 170 w 182"/>
                  <a:gd name="T35" fmla="*/ 112 h 183"/>
                  <a:gd name="T36" fmla="*/ 173 w 182"/>
                  <a:gd name="T37" fmla="*/ 92 h 183"/>
                  <a:gd name="T38" fmla="*/ 170 w 182"/>
                  <a:gd name="T39" fmla="*/ 71 h 183"/>
                  <a:gd name="T40" fmla="*/ 161 w 182"/>
                  <a:gd name="T41" fmla="*/ 51 h 183"/>
                  <a:gd name="T42" fmla="*/ 148 w 182"/>
                  <a:gd name="T43" fmla="*/ 34 h 183"/>
                  <a:gd name="T44" fmla="*/ 131 w 182"/>
                  <a:gd name="T45" fmla="*/ 22 h 183"/>
                  <a:gd name="T46" fmla="*/ 112 w 182"/>
                  <a:gd name="T47" fmla="*/ 13 h 183"/>
                  <a:gd name="T48" fmla="*/ 90 w 182"/>
                  <a:gd name="T49" fmla="*/ 10 h 183"/>
                  <a:gd name="T50" fmla="*/ 90 w 182"/>
                  <a:gd name="T51" fmla="*/ 0 h 183"/>
                  <a:gd name="T52" fmla="*/ 114 w 182"/>
                  <a:gd name="T53" fmla="*/ 4 h 183"/>
                  <a:gd name="T54" fmla="*/ 137 w 182"/>
                  <a:gd name="T55" fmla="*/ 13 h 183"/>
                  <a:gd name="T56" fmla="*/ 155 w 182"/>
                  <a:gd name="T57" fmla="*/ 27 h 183"/>
                  <a:gd name="T58" fmla="*/ 167 w 182"/>
                  <a:gd name="T59" fmla="*/ 41 h 183"/>
                  <a:gd name="T60" fmla="*/ 175 w 182"/>
                  <a:gd name="T61" fmla="*/ 56 h 183"/>
                  <a:gd name="T62" fmla="*/ 181 w 182"/>
                  <a:gd name="T63" fmla="*/ 74 h 183"/>
                  <a:gd name="T64" fmla="*/ 182 w 182"/>
                  <a:gd name="T65" fmla="*/ 92 h 183"/>
                  <a:gd name="T66" fmla="*/ 181 w 182"/>
                  <a:gd name="T67" fmla="*/ 110 h 183"/>
                  <a:gd name="T68" fmla="*/ 175 w 182"/>
                  <a:gd name="T69" fmla="*/ 126 h 183"/>
                  <a:gd name="T70" fmla="*/ 167 w 182"/>
                  <a:gd name="T71" fmla="*/ 143 h 183"/>
                  <a:gd name="T72" fmla="*/ 155 w 182"/>
                  <a:gd name="T73" fmla="*/ 157 h 183"/>
                  <a:gd name="T74" fmla="*/ 137 w 182"/>
                  <a:gd name="T75" fmla="*/ 172 h 183"/>
                  <a:gd name="T76" fmla="*/ 114 w 182"/>
                  <a:gd name="T77" fmla="*/ 180 h 183"/>
                  <a:gd name="T78" fmla="*/ 90 w 182"/>
                  <a:gd name="T79" fmla="*/ 183 h 183"/>
                  <a:gd name="T80" fmla="*/ 67 w 182"/>
                  <a:gd name="T81" fmla="*/ 180 h 183"/>
                  <a:gd name="T82" fmla="*/ 45 w 182"/>
                  <a:gd name="T83" fmla="*/ 172 h 183"/>
                  <a:gd name="T84" fmla="*/ 27 w 182"/>
                  <a:gd name="T85" fmla="*/ 157 h 183"/>
                  <a:gd name="T86" fmla="*/ 12 w 182"/>
                  <a:gd name="T87" fmla="*/ 137 h 183"/>
                  <a:gd name="T88" fmla="*/ 3 w 182"/>
                  <a:gd name="T89" fmla="*/ 116 h 183"/>
                  <a:gd name="T90" fmla="*/ 0 w 182"/>
                  <a:gd name="T91" fmla="*/ 92 h 183"/>
                  <a:gd name="T92" fmla="*/ 1 w 182"/>
                  <a:gd name="T93" fmla="*/ 74 h 183"/>
                  <a:gd name="T94" fmla="*/ 6 w 182"/>
                  <a:gd name="T95" fmla="*/ 56 h 183"/>
                  <a:gd name="T96" fmla="*/ 15 w 182"/>
                  <a:gd name="T97" fmla="*/ 41 h 183"/>
                  <a:gd name="T98" fmla="*/ 27 w 182"/>
                  <a:gd name="T99" fmla="*/ 27 h 183"/>
                  <a:gd name="T100" fmla="*/ 45 w 182"/>
                  <a:gd name="T101" fmla="*/ 13 h 183"/>
                  <a:gd name="T102" fmla="*/ 67 w 182"/>
                  <a:gd name="T103" fmla="*/ 4 h 183"/>
                  <a:gd name="T104" fmla="*/ 90 w 182"/>
                  <a:gd name="T105" fmla="*/ 0 h 18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2" h="183">
                    <a:moveTo>
                      <a:pt x="90" y="10"/>
                    </a:moveTo>
                    <a:lnTo>
                      <a:pt x="70" y="13"/>
                    </a:lnTo>
                    <a:lnTo>
                      <a:pt x="50" y="22"/>
                    </a:lnTo>
                    <a:lnTo>
                      <a:pt x="33" y="34"/>
                    </a:lnTo>
                    <a:lnTo>
                      <a:pt x="20" y="51"/>
                    </a:lnTo>
                    <a:lnTo>
                      <a:pt x="12" y="71"/>
                    </a:lnTo>
                    <a:lnTo>
                      <a:pt x="10" y="92"/>
                    </a:lnTo>
                    <a:lnTo>
                      <a:pt x="12" y="112"/>
                    </a:lnTo>
                    <a:lnTo>
                      <a:pt x="20" y="133"/>
                    </a:lnTo>
                    <a:lnTo>
                      <a:pt x="33" y="150"/>
                    </a:lnTo>
                    <a:lnTo>
                      <a:pt x="50" y="163"/>
                    </a:lnTo>
                    <a:lnTo>
                      <a:pt x="70" y="171"/>
                    </a:lnTo>
                    <a:lnTo>
                      <a:pt x="90" y="174"/>
                    </a:lnTo>
                    <a:lnTo>
                      <a:pt x="112" y="171"/>
                    </a:lnTo>
                    <a:lnTo>
                      <a:pt x="131" y="163"/>
                    </a:lnTo>
                    <a:lnTo>
                      <a:pt x="148" y="150"/>
                    </a:lnTo>
                    <a:lnTo>
                      <a:pt x="161" y="133"/>
                    </a:lnTo>
                    <a:lnTo>
                      <a:pt x="170" y="112"/>
                    </a:lnTo>
                    <a:lnTo>
                      <a:pt x="173" y="92"/>
                    </a:lnTo>
                    <a:lnTo>
                      <a:pt x="170" y="71"/>
                    </a:lnTo>
                    <a:lnTo>
                      <a:pt x="161" y="51"/>
                    </a:lnTo>
                    <a:lnTo>
                      <a:pt x="148" y="34"/>
                    </a:lnTo>
                    <a:lnTo>
                      <a:pt x="131" y="22"/>
                    </a:lnTo>
                    <a:lnTo>
                      <a:pt x="112" y="13"/>
                    </a:lnTo>
                    <a:lnTo>
                      <a:pt x="90" y="10"/>
                    </a:lnTo>
                    <a:close/>
                    <a:moveTo>
                      <a:pt x="90" y="0"/>
                    </a:moveTo>
                    <a:lnTo>
                      <a:pt x="114" y="4"/>
                    </a:lnTo>
                    <a:lnTo>
                      <a:pt x="137" y="13"/>
                    </a:lnTo>
                    <a:lnTo>
                      <a:pt x="155" y="27"/>
                    </a:lnTo>
                    <a:lnTo>
                      <a:pt x="167" y="41"/>
                    </a:lnTo>
                    <a:lnTo>
                      <a:pt x="175" y="56"/>
                    </a:lnTo>
                    <a:lnTo>
                      <a:pt x="181" y="74"/>
                    </a:lnTo>
                    <a:lnTo>
                      <a:pt x="182" y="92"/>
                    </a:lnTo>
                    <a:lnTo>
                      <a:pt x="181" y="110"/>
                    </a:lnTo>
                    <a:lnTo>
                      <a:pt x="175" y="126"/>
                    </a:lnTo>
                    <a:lnTo>
                      <a:pt x="167" y="143"/>
                    </a:lnTo>
                    <a:lnTo>
                      <a:pt x="155" y="157"/>
                    </a:lnTo>
                    <a:lnTo>
                      <a:pt x="137" y="172"/>
                    </a:lnTo>
                    <a:lnTo>
                      <a:pt x="114" y="180"/>
                    </a:lnTo>
                    <a:lnTo>
                      <a:pt x="90" y="183"/>
                    </a:lnTo>
                    <a:lnTo>
                      <a:pt x="67" y="180"/>
                    </a:lnTo>
                    <a:lnTo>
                      <a:pt x="45" y="172"/>
                    </a:lnTo>
                    <a:lnTo>
                      <a:pt x="27" y="157"/>
                    </a:lnTo>
                    <a:lnTo>
                      <a:pt x="12" y="137"/>
                    </a:lnTo>
                    <a:lnTo>
                      <a:pt x="3" y="116"/>
                    </a:lnTo>
                    <a:lnTo>
                      <a:pt x="0" y="92"/>
                    </a:lnTo>
                    <a:lnTo>
                      <a:pt x="1" y="74"/>
                    </a:lnTo>
                    <a:lnTo>
                      <a:pt x="6" y="56"/>
                    </a:lnTo>
                    <a:lnTo>
                      <a:pt x="15" y="41"/>
                    </a:lnTo>
                    <a:lnTo>
                      <a:pt x="27" y="27"/>
                    </a:lnTo>
                    <a:lnTo>
                      <a:pt x="45" y="13"/>
                    </a:lnTo>
                    <a:lnTo>
                      <a:pt x="67" y="4"/>
                    </a:lnTo>
                    <a:lnTo>
                      <a:pt x="90" y="0"/>
                    </a:lnTo>
                    <a:close/>
                  </a:path>
                </a:pathLst>
              </a:custGeom>
              <a:solidFill>
                <a:srgbClr val="E3931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80" name="Freeform 330"/>
              <p:cNvSpPr>
                <a:spLocks/>
              </p:cNvSpPr>
              <p:nvPr/>
            </p:nvSpPr>
            <p:spPr bwMode="auto">
              <a:xfrm>
                <a:off x="1496" y="2487"/>
                <a:ext cx="48" cy="60"/>
              </a:xfrm>
              <a:custGeom>
                <a:avLst/>
                <a:gdLst>
                  <a:gd name="T0" fmla="*/ 10 w 48"/>
                  <a:gd name="T1" fmla="*/ 0 h 60"/>
                  <a:gd name="T2" fmla="*/ 39 w 48"/>
                  <a:gd name="T3" fmla="*/ 0 h 60"/>
                  <a:gd name="T4" fmla="*/ 42 w 48"/>
                  <a:gd name="T5" fmla="*/ 0 h 60"/>
                  <a:gd name="T6" fmla="*/ 45 w 48"/>
                  <a:gd name="T7" fmla="*/ 2 h 60"/>
                  <a:gd name="T8" fmla="*/ 47 w 48"/>
                  <a:gd name="T9" fmla="*/ 4 h 60"/>
                  <a:gd name="T10" fmla="*/ 48 w 48"/>
                  <a:gd name="T11" fmla="*/ 8 h 60"/>
                  <a:gd name="T12" fmla="*/ 48 w 48"/>
                  <a:gd name="T13" fmla="*/ 11 h 60"/>
                  <a:gd name="T14" fmla="*/ 48 w 48"/>
                  <a:gd name="T15" fmla="*/ 51 h 60"/>
                  <a:gd name="T16" fmla="*/ 48 w 48"/>
                  <a:gd name="T17" fmla="*/ 54 h 60"/>
                  <a:gd name="T18" fmla="*/ 47 w 48"/>
                  <a:gd name="T19" fmla="*/ 57 h 60"/>
                  <a:gd name="T20" fmla="*/ 45 w 48"/>
                  <a:gd name="T21" fmla="*/ 58 h 60"/>
                  <a:gd name="T22" fmla="*/ 42 w 48"/>
                  <a:gd name="T23" fmla="*/ 60 h 60"/>
                  <a:gd name="T24" fmla="*/ 39 w 48"/>
                  <a:gd name="T25" fmla="*/ 60 h 60"/>
                  <a:gd name="T26" fmla="*/ 10 w 48"/>
                  <a:gd name="T27" fmla="*/ 60 h 60"/>
                  <a:gd name="T28" fmla="*/ 7 w 48"/>
                  <a:gd name="T29" fmla="*/ 60 h 60"/>
                  <a:gd name="T30" fmla="*/ 4 w 48"/>
                  <a:gd name="T31" fmla="*/ 58 h 60"/>
                  <a:gd name="T32" fmla="*/ 2 w 48"/>
                  <a:gd name="T33" fmla="*/ 57 h 60"/>
                  <a:gd name="T34" fmla="*/ 0 w 48"/>
                  <a:gd name="T35" fmla="*/ 54 h 60"/>
                  <a:gd name="T36" fmla="*/ 0 w 48"/>
                  <a:gd name="T37" fmla="*/ 51 h 60"/>
                  <a:gd name="T38" fmla="*/ 0 w 48"/>
                  <a:gd name="T39" fmla="*/ 11 h 60"/>
                  <a:gd name="T40" fmla="*/ 0 w 48"/>
                  <a:gd name="T41" fmla="*/ 8 h 60"/>
                  <a:gd name="T42" fmla="*/ 2 w 48"/>
                  <a:gd name="T43" fmla="*/ 4 h 60"/>
                  <a:gd name="T44" fmla="*/ 4 w 48"/>
                  <a:gd name="T45" fmla="*/ 2 h 60"/>
                  <a:gd name="T46" fmla="*/ 7 w 48"/>
                  <a:gd name="T47" fmla="*/ 0 h 60"/>
                  <a:gd name="T48" fmla="*/ 10 w 48"/>
                  <a:gd name="T49" fmla="*/ 0 h 6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8" h="60">
                    <a:moveTo>
                      <a:pt x="10" y="0"/>
                    </a:moveTo>
                    <a:lnTo>
                      <a:pt x="39" y="0"/>
                    </a:lnTo>
                    <a:lnTo>
                      <a:pt x="42" y="0"/>
                    </a:lnTo>
                    <a:lnTo>
                      <a:pt x="45" y="2"/>
                    </a:lnTo>
                    <a:lnTo>
                      <a:pt x="47" y="4"/>
                    </a:lnTo>
                    <a:lnTo>
                      <a:pt x="48" y="8"/>
                    </a:lnTo>
                    <a:lnTo>
                      <a:pt x="48" y="11"/>
                    </a:lnTo>
                    <a:lnTo>
                      <a:pt x="48" y="51"/>
                    </a:lnTo>
                    <a:lnTo>
                      <a:pt x="48" y="54"/>
                    </a:lnTo>
                    <a:lnTo>
                      <a:pt x="47" y="57"/>
                    </a:lnTo>
                    <a:lnTo>
                      <a:pt x="45" y="58"/>
                    </a:lnTo>
                    <a:lnTo>
                      <a:pt x="42" y="60"/>
                    </a:lnTo>
                    <a:lnTo>
                      <a:pt x="39" y="60"/>
                    </a:lnTo>
                    <a:lnTo>
                      <a:pt x="10" y="60"/>
                    </a:lnTo>
                    <a:lnTo>
                      <a:pt x="7" y="60"/>
                    </a:lnTo>
                    <a:lnTo>
                      <a:pt x="4" y="58"/>
                    </a:lnTo>
                    <a:lnTo>
                      <a:pt x="2" y="57"/>
                    </a:lnTo>
                    <a:lnTo>
                      <a:pt x="0" y="54"/>
                    </a:lnTo>
                    <a:lnTo>
                      <a:pt x="0" y="51"/>
                    </a:lnTo>
                    <a:lnTo>
                      <a:pt x="0" y="11"/>
                    </a:lnTo>
                    <a:lnTo>
                      <a:pt x="0" y="8"/>
                    </a:lnTo>
                    <a:lnTo>
                      <a:pt x="2" y="4"/>
                    </a:lnTo>
                    <a:lnTo>
                      <a:pt x="4" y="2"/>
                    </a:lnTo>
                    <a:lnTo>
                      <a:pt x="7" y="0"/>
                    </a:lnTo>
                    <a:lnTo>
                      <a:pt x="10" y="0"/>
                    </a:lnTo>
                    <a:close/>
                  </a:path>
                </a:pathLst>
              </a:custGeom>
              <a:solidFill>
                <a:srgbClr val="E3931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81" name="Rectangle 331"/>
              <p:cNvSpPr>
                <a:spLocks noChangeArrowheads="1"/>
              </p:cNvSpPr>
              <p:nvPr/>
            </p:nvSpPr>
            <p:spPr bwMode="auto">
              <a:xfrm>
                <a:off x="1502" y="2552"/>
                <a:ext cx="36" cy="3"/>
              </a:xfrm>
              <a:prstGeom prst="rect">
                <a:avLst/>
              </a:prstGeom>
              <a:solidFill>
                <a:srgbClr val="E3931C"/>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eaLnBrk="1" hangingPunct="1"/>
                <a:endParaRPr lang="es-ES" altLang="es-CL" dirty="0">
                  <a:solidFill>
                    <a:srgbClr val="333333"/>
                  </a:solidFill>
                  <a:latin typeface="Arial" pitchFamily="34" charset="0"/>
                </a:endParaRPr>
              </a:p>
            </p:txBody>
          </p:sp>
          <p:sp>
            <p:nvSpPr>
              <p:cNvPr id="2182" name="Freeform 332"/>
              <p:cNvSpPr>
                <a:spLocks noEditPoints="1"/>
              </p:cNvSpPr>
              <p:nvPr/>
            </p:nvSpPr>
            <p:spPr bwMode="auto">
              <a:xfrm>
                <a:off x="1505" y="2468"/>
                <a:ext cx="31" cy="16"/>
              </a:xfrm>
              <a:custGeom>
                <a:avLst/>
                <a:gdLst>
                  <a:gd name="T0" fmla="*/ 18 w 31"/>
                  <a:gd name="T1" fmla="*/ 6 h 16"/>
                  <a:gd name="T2" fmla="*/ 18 w 31"/>
                  <a:gd name="T3" fmla="*/ 6 h 16"/>
                  <a:gd name="T4" fmla="*/ 19 w 31"/>
                  <a:gd name="T5" fmla="*/ 7 h 16"/>
                  <a:gd name="T6" fmla="*/ 19 w 31"/>
                  <a:gd name="T7" fmla="*/ 8 h 16"/>
                  <a:gd name="T8" fmla="*/ 19 w 31"/>
                  <a:gd name="T9" fmla="*/ 9 h 16"/>
                  <a:gd name="T10" fmla="*/ 19 w 31"/>
                  <a:gd name="T11" fmla="*/ 10 h 16"/>
                  <a:gd name="T12" fmla="*/ 19 w 31"/>
                  <a:gd name="T13" fmla="*/ 10 h 16"/>
                  <a:gd name="T14" fmla="*/ 18 w 31"/>
                  <a:gd name="T15" fmla="*/ 10 h 16"/>
                  <a:gd name="T16" fmla="*/ 18 w 31"/>
                  <a:gd name="T17" fmla="*/ 13 h 16"/>
                  <a:gd name="T18" fmla="*/ 27 w 31"/>
                  <a:gd name="T19" fmla="*/ 13 h 16"/>
                  <a:gd name="T20" fmla="*/ 27 w 31"/>
                  <a:gd name="T21" fmla="*/ 6 h 16"/>
                  <a:gd name="T22" fmla="*/ 18 w 31"/>
                  <a:gd name="T23" fmla="*/ 6 h 16"/>
                  <a:gd name="T24" fmla="*/ 2 w 31"/>
                  <a:gd name="T25" fmla="*/ 6 h 16"/>
                  <a:gd name="T26" fmla="*/ 2 w 31"/>
                  <a:gd name="T27" fmla="*/ 13 h 16"/>
                  <a:gd name="T28" fmla="*/ 14 w 31"/>
                  <a:gd name="T29" fmla="*/ 13 h 16"/>
                  <a:gd name="T30" fmla="*/ 14 w 31"/>
                  <a:gd name="T31" fmla="*/ 10 h 16"/>
                  <a:gd name="T32" fmla="*/ 12 w 31"/>
                  <a:gd name="T33" fmla="*/ 10 h 16"/>
                  <a:gd name="T34" fmla="*/ 12 w 31"/>
                  <a:gd name="T35" fmla="*/ 10 h 16"/>
                  <a:gd name="T36" fmla="*/ 12 w 31"/>
                  <a:gd name="T37" fmla="*/ 10 h 16"/>
                  <a:gd name="T38" fmla="*/ 11 w 31"/>
                  <a:gd name="T39" fmla="*/ 10 h 16"/>
                  <a:gd name="T40" fmla="*/ 11 w 31"/>
                  <a:gd name="T41" fmla="*/ 9 h 16"/>
                  <a:gd name="T42" fmla="*/ 11 w 31"/>
                  <a:gd name="T43" fmla="*/ 8 h 16"/>
                  <a:gd name="T44" fmla="*/ 12 w 31"/>
                  <a:gd name="T45" fmla="*/ 7 h 16"/>
                  <a:gd name="T46" fmla="*/ 12 w 31"/>
                  <a:gd name="T47" fmla="*/ 6 h 16"/>
                  <a:gd name="T48" fmla="*/ 12 w 31"/>
                  <a:gd name="T49" fmla="*/ 6 h 16"/>
                  <a:gd name="T50" fmla="*/ 2 w 31"/>
                  <a:gd name="T51" fmla="*/ 6 h 16"/>
                  <a:gd name="T52" fmla="*/ 0 w 31"/>
                  <a:gd name="T53" fmla="*/ 0 h 16"/>
                  <a:gd name="T54" fmla="*/ 2 w 31"/>
                  <a:gd name="T55" fmla="*/ 0 h 16"/>
                  <a:gd name="T56" fmla="*/ 2 w 31"/>
                  <a:gd name="T57" fmla="*/ 3 h 16"/>
                  <a:gd name="T58" fmla="*/ 27 w 31"/>
                  <a:gd name="T59" fmla="*/ 3 h 16"/>
                  <a:gd name="T60" fmla="*/ 27 w 31"/>
                  <a:gd name="T61" fmla="*/ 0 h 16"/>
                  <a:gd name="T62" fmla="*/ 31 w 31"/>
                  <a:gd name="T63" fmla="*/ 0 h 16"/>
                  <a:gd name="T64" fmla="*/ 31 w 31"/>
                  <a:gd name="T65" fmla="*/ 16 h 16"/>
                  <a:gd name="T66" fmla="*/ 0 w 31"/>
                  <a:gd name="T67" fmla="*/ 16 h 16"/>
                  <a:gd name="T68" fmla="*/ 0 w 31"/>
                  <a:gd name="T69" fmla="*/ 0 h 1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1" h="16">
                    <a:moveTo>
                      <a:pt x="18" y="6"/>
                    </a:moveTo>
                    <a:lnTo>
                      <a:pt x="18" y="6"/>
                    </a:lnTo>
                    <a:lnTo>
                      <a:pt x="19" y="7"/>
                    </a:lnTo>
                    <a:lnTo>
                      <a:pt x="19" y="8"/>
                    </a:lnTo>
                    <a:lnTo>
                      <a:pt x="19" y="9"/>
                    </a:lnTo>
                    <a:lnTo>
                      <a:pt x="19" y="10"/>
                    </a:lnTo>
                    <a:lnTo>
                      <a:pt x="18" y="10"/>
                    </a:lnTo>
                    <a:lnTo>
                      <a:pt x="18" y="13"/>
                    </a:lnTo>
                    <a:lnTo>
                      <a:pt x="27" y="13"/>
                    </a:lnTo>
                    <a:lnTo>
                      <a:pt x="27" y="6"/>
                    </a:lnTo>
                    <a:lnTo>
                      <a:pt x="18" y="6"/>
                    </a:lnTo>
                    <a:close/>
                    <a:moveTo>
                      <a:pt x="2" y="6"/>
                    </a:moveTo>
                    <a:lnTo>
                      <a:pt x="2" y="13"/>
                    </a:lnTo>
                    <a:lnTo>
                      <a:pt x="14" y="13"/>
                    </a:lnTo>
                    <a:lnTo>
                      <a:pt x="14" y="10"/>
                    </a:lnTo>
                    <a:lnTo>
                      <a:pt x="12" y="10"/>
                    </a:lnTo>
                    <a:lnTo>
                      <a:pt x="11" y="10"/>
                    </a:lnTo>
                    <a:lnTo>
                      <a:pt x="11" y="9"/>
                    </a:lnTo>
                    <a:lnTo>
                      <a:pt x="11" y="8"/>
                    </a:lnTo>
                    <a:lnTo>
                      <a:pt x="12" y="7"/>
                    </a:lnTo>
                    <a:lnTo>
                      <a:pt x="12" y="6"/>
                    </a:lnTo>
                    <a:lnTo>
                      <a:pt x="2" y="6"/>
                    </a:lnTo>
                    <a:close/>
                    <a:moveTo>
                      <a:pt x="0" y="0"/>
                    </a:moveTo>
                    <a:lnTo>
                      <a:pt x="2" y="0"/>
                    </a:lnTo>
                    <a:lnTo>
                      <a:pt x="2" y="3"/>
                    </a:lnTo>
                    <a:lnTo>
                      <a:pt x="27" y="3"/>
                    </a:lnTo>
                    <a:lnTo>
                      <a:pt x="27" y="0"/>
                    </a:lnTo>
                    <a:lnTo>
                      <a:pt x="31" y="0"/>
                    </a:lnTo>
                    <a:lnTo>
                      <a:pt x="31" y="16"/>
                    </a:lnTo>
                    <a:lnTo>
                      <a:pt x="0" y="16"/>
                    </a:lnTo>
                    <a:lnTo>
                      <a:pt x="0" y="0"/>
                    </a:lnTo>
                    <a:close/>
                  </a:path>
                </a:pathLst>
              </a:custGeom>
              <a:solidFill>
                <a:srgbClr val="E3931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83" name="Rectangle 333"/>
              <p:cNvSpPr>
                <a:spLocks noChangeArrowheads="1"/>
              </p:cNvSpPr>
              <p:nvPr/>
            </p:nvSpPr>
            <p:spPr bwMode="auto">
              <a:xfrm>
                <a:off x="2199" y="2845"/>
                <a:ext cx="2" cy="10"/>
              </a:xfrm>
              <a:prstGeom prst="rect">
                <a:avLst/>
              </a:prstGeom>
              <a:solidFill>
                <a:srgbClr val="E3931C"/>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eaLnBrk="1" hangingPunct="1"/>
                <a:endParaRPr lang="es-ES" altLang="es-CL" dirty="0">
                  <a:solidFill>
                    <a:srgbClr val="333333"/>
                  </a:solidFill>
                  <a:latin typeface="Arial" pitchFamily="34" charset="0"/>
                </a:endParaRPr>
              </a:p>
            </p:txBody>
          </p:sp>
          <p:sp>
            <p:nvSpPr>
              <p:cNvPr id="2184" name="Freeform 334"/>
              <p:cNvSpPr>
                <a:spLocks noEditPoints="1"/>
              </p:cNvSpPr>
              <p:nvPr/>
            </p:nvSpPr>
            <p:spPr bwMode="auto">
              <a:xfrm>
                <a:off x="1614" y="2546"/>
                <a:ext cx="571" cy="301"/>
              </a:xfrm>
              <a:custGeom>
                <a:avLst/>
                <a:gdLst>
                  <a:gd name="T0" fmla="*/ 567 w 571"/>
                  <a:gd name="T1" fmla="*/ 301 h 301"/>
                  <a:gd name="T2" fmla="*/ 543 w 571"/>
                  <a:gd name="T3" fmla="*/ 278 h 301"/>
                  <a:gd name="T4" fmla="*/ 539 w 571"/>
                  <a:gd name="T5" fmla="*/ 287 h 301"/>
                  <a:gd name="T6" fmla="*/ 526 w 571"/>
                  <a:gd name="T7" fmla="*/ 268 h 301"/>
                  <a:gd name="T8" fmla="*/ 520 w 571"/>
                  <a:gd name="T9" fmla="*/ 266 h 301"/>
                  <a:gd name="T10" fmla="*/ 499 w 571"/>
                  <a:gd name="T11" fmla="*/ 266 h 301"/>
                  <a:gd name="T12" fmla="*/ 475 w 571"/>
                  <a:gd name="T13" fmla="*/ 243 h 301"/>
                  <a:gd name="T14" fmla="*/ 471 w 571"/>
                  <a:gd name="T15" fmla="*/ 251 h 301"/>
                  <a:gd name="T16" fmla="*/ 458 w 571"/>
                  <a:gd name="T17" fmla="*/ 234 h 301"/>
                  <a:gd name="T18" fmla="*/ 453 w 571"/>
                  <a:gd name="T19" fmla="*/ 231 h 301"/>
                  <a:gd name="T20" fmla="*/ 431 w 571"/>
                  <a:gd name="T21" fmla="*/ 231 h 301"/>
                  <a:gd name="T22" fmla="*/ 408 w 571"/>
                  <a:gd name="T23" fmla="*/ 208 h 301"/>
                  <a:gd name="T24" fmla="*/ 403 w 571"/>
                  <a:gd name="T25" fmla="*/ 217 h 301"/>
                  <a:gd name="T26" fmla="*/ 390 w 571"/>
                  <a:gd name="T27" fmla="*/ 200 h 301"/>
                  <a:gd name="T28" fmla="*/ 385 w 571"/>
                  <a:gd name="T29" fmla="*/ 196 h 301"/>
                  <a:gd name="T30" fmla="*/ 363 w 571"/>
                  <a:gd name="T31" fmla="*/ 196 h 301"/>
                  <a:gd name="T32" fmla="*/ 340 w 571"/>
                  <a:gd name="T33" fmla="*/ 174 h 301"/>
                  <a:gd name="T34" fmla="*/ 335 w 571"/>
                  <a:gd name="T35" fmla="*/ 182 h 301"/>
                  <a:gd name="T36" fmla="*/ 323 w 571"/>
                  <a:gd name="T37" fmla="*/ 164 h 301"/>
                  <a:gd name="T38" fmla="*/ 317 w 571"/>
                  <a:gd name="T39" fmla="*/ 162 h 301"/>
                  <a:gd name="T40" fmla="*/ 296 w 571"/>
                  <a:gd name="T41" fmla="*/ 162 h 301"/>
                  <a:gd name="T42" fmla="*/ 272 w 571"/>
                  <a:gd name="T43" fmla="*/ 138 h 301"/>
                  <a:gd name="T44" fmla="*/ 268 w 571"/>
                  <a:gd name="T45" fmla="*/ 147 h 301"/>
                  <a:gd name="T46" fmla="*/ 256 w 571"/>
                  <a:gd name="T47" fmla="*/ 130 h 301"/>
                  <a:gd name="T48" fmla="*/ 249 w 571"/>
                  <a:gd name="T49" fmla="*/ 126 h 301"/>
                  <a:gd name="T50" fmla="*/ 229 w 571"/>
                  <a:gd name="T51" fmla="*/ 126 h 301"/>
                  <a:gd name="T52" fmla="*/ 204 w 571"/>
                  <a:gd name="T53" fmla="*/ 104 h 301"/>
                  <a:gd name="T54" fmla="*/ 200 w 571"/>
                  <a:gd name="T55" fmla="*/ 112 h 301"/>
                  <a:gd name="T56" fmla="*/ 188 w 571"/>
                  <a:gd name="T57" fmla="*/ 95 h 301"/>
                  <a:gd name="T58" fmla="*/ 182 w 571"/>
                  <a:gd name="T59" fmla="*/ 92 h 301"/>
                  <a:gd name="T60" fmla="*/ 161 w 571"/>
                  <a:gd name="T61" fmla="*/ 92 h 301"/>
                  <a:gd name="T62" fmla="*/ 138 w 571"/>
                  <a:gd name="T63" fmla="*/ 69 h 301"/>
                  <a:gd name="T64" fmla="*/ 133 w 571"/>
                  <a:gd name="T65" fmla="*/ 78 h 301"/>
                  <a:gd name="T66" fmla="*/ 120 w 571"/>
                  <a:gd name="T67" fmla="*/ 60 h 301"/>
                  <a:gd name="T68" fmla="*/ 115 w 571"/>
                  <a:gd name="T69" fmla="*/ 57 h 301"/>
                  <a:gd name="T70" fmla="*/ 93 w 571"/>
                  <a:gd name="T71" fmla="*/ 57 h 301"/>
                  <a:gd name="T72" fmla="*/ 70 w 571"/>
                  <a:gd name="T73" fmla="*/ 34 h 301"/>
                  <a:gd name="T74" fmla="*/ 66 w 571"/>
                  <a:gd name="T75" fmla="*/ 42 h 301"/>
                  <a:gd name="T76" fmla="*/ 53 w 571"/>
                  <a:gd name="T77" fmla="*/ 25 h 301"/>
                  <a:gd name="T78" fmla="*/ 47 w 571"/>
                  <a:gd name="T79" fmla="*/ 22 h 301"/>
                  <a:gd name="T80" fmla="*/ 26 w 571"/>
                  <a:gd name="T81" fmla="*/ 22 h 301"/>
                  <a:gd name="T82" fmla="*/ 4 w 571"/>
                  <a:gd name="T83" fmla="*/ 0 h 301"/>
                  <a:gd name="T84" fmla="*/ 0 w 571"/>
                  <a:gd name="T85" fmla="*/ 9 h 30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1" h="301">
                    <a:moveTo>
                      <a:pt x="566" y="289"/>
                    </a:moveTo>
                    <a:lnTo>
                      <a:pt x="571" y="292"/>
                    </a:lnTo>
                    <a:lnTo>
                      <a:pt x="567" y="301"/>
                    </a:lnTo>
                    <a:lnTo>
                      <a:pt x="561" y="298"/>
                    </a:lnTo>
                    <a:lnTo>
                      <a:pt x="566" y="289"/>
                    </a:lnTo>
                    <a:close/>
                    <a:moveTo>
                      <a:pt x="543" y="278"/>
                    </a:moveTo>
                    <a:lnTo>
                      <a:pt x="548" y="280"/>
                    </a:lnTo>
                    <a:lnTo>
                      <a:pt x="544" y="289"/>
                    </a:lnTo>
                    <a:lnTo>
                      <a:pt x="539" y="287"/>
                    </a:lnTo>
                    <a:lnTo>
                      <a:pt x="543" y="278"/>
                    </a:lnTo>
                    <a:close/>
                    <a:moveTo>
                      <a:pt x="520" y="266"/>
                    </a:moveTo>
                    <a:lnTo>
                      <a:pt x="526" y="268"/>
                    </a:lnTo>
                    <a:lnTo>
                      <a:pt x="522" y="277"/>
                    </a:lnTo>
                    <a:lnTo>
                      <a:pt x="516" y="275"/>
                    </a:lnTo>
                    <a:lnTo>
                      <a:pt x="520" y="266"/>
                    </a:lnTo>
                    <a:close/>
                    <a:moveTo>
                      <a:pt x="498" y="254"/>
                    </a:moveTo>
                    <a:lnTo>
                      <a:pt x="503" y="258"/>
                    </a:lnTo>
                    <a:lnTo>
                      <a:pt x="499" y="266"/>
                    </a:lnTo>
                    <a:lnTo>
                      <a:pt x="494" y="263"/>
                    </a:lnTo>
                    <a:lnTo>
                      <a:pt x="498" y="254"/>
                    </a:lnTo>
                    <a:close/>
                    <a:moveTo>
                      <a:pt x="475" y="243"/>
                    </a:moveTo>
                    <a:lnTo>
                      <a:pt x="481" y="246"/>
                    </a:lnTo>
                    <a:lnTo>
                      <a:pt x="476" y="254"/>
                    </a:lnTo>
                    <a:lnTo>
                      <a:pt x="471" y="251"/>
                    </a:lnTo>
                    <a:lnTo>
                      <a:pt x="475" y="243"/>
                    </a:lnTo>
                    <a:close/>
                    <a:moveTo>
                      <a:pt x="453" y="231"/>
                    </a:moveTo>
                    <a:lnTo>
                      <a:pt x="458" y="234"/>
                    </a:lnTo>
                    <a:lnTo>
                      <a:pt x="454" y="243"/>
                    </a:lnTo>
                    <a:lnTo>
                      <a:pt x="448" y="239"/>
                    </a:lnTo>
                    <a:lnTo>
                      <a:pt x="453" y="231"/>
                    </a:lnTo>
                    <a:close/>
                    <a:moveTo>
                      <a:pt x="430" y="220"/>
                    </a:moveTo>
                    <a:lnTo>
                      <a:pt x="435" y="222"/>
                    </a:lnTo>
                    <a:lnTo>
                      <a:pt x="431" y="231"/>
                    </a:lnTo>
                    <a:lnTo>
                      <a:pt x="426" y="229"/>
                    </a:lnTo>
                    <a:lnTo>
                      <a:pt x="430" y="220"/>
                    </a:lnTo>
                    <a:close/>
                    <a:moveTo>
                      <a:pt x="408" y="208"/>
                    </a:moveTo>
                    <a:lnTo>
                      <a:pt x="413" y="211"/>
                    </a:lnTo>
                    <a:lnTo>
                      <a:pt x="409" y="220"/>
                    </a:lnTo>
                    <a:lnTo>
                      <a:pt x="403" y="217"/>
                    </a:lnTo>
                    <a:lnTo>
                      <a:pt x="408" y="208"/>
                    </a:lnTo>
                    <a:close/>
                    <a:moveTo>
                      <a:pt x="385" y="196"/>
                    </a:moveTo>
                    <a:lnTo>
                      <a:pt x="390" y="200"/>
                    </a:lnTo>
                    <a:lnTo>
                      <a:pt x="386" y="208"/>
                    </a:lnTo>
                    <a:lnTo>
                      <a:pt x="381" y="205"/>
                    </a:lnTo>
                    <a:lnTo>
                      <a:pt x="385" y="196"/>
                    </a:lnTo>
                    <a:close/>
                    <a:moveTo>
                      <a:pt x="362" y="184"/>
                    </a:moveTo>
                    <a:lnTo>
                      <a:pt x="368" y="188"/>
                    </a:lnTo>
                    <a:lnTo>
                      <a:pt x="363" y="196"/>
                    </a:lnTo>
                    <a:lnTo>
                      <a:pt x="358" y="193"/>
                    </a:lnTo>
                    <a:lnTo>
                      <a:pt x="362" y="184"/>
                    </a:lnTo>
                    <a:close/>
                    <a:moveTo>
                      <a:pt x="340" y="174"/>
                    </a:moveTo>
                    <a:lnTo>
                      <a:pt x="345" y="176"/>
                    </a:lnTo>
                    <a:lnTo>
                      <a:pt x="341" y="184"/>
                    </a:lnTo>
                    <a:lnTo>
                      <a:pt x="335" y="182"/>
                    </a:lnTo>
                    <a:lnTo>
                      <a:pt x="340" y="174"/>
                    </a:lnTo>
                    <a:close/>
                    <a:moveTo>
                      <a:pt x="317" y="162"/>
                    </a:moveTo>
                    <a:lnTo>
                      <a:pt x="323" y="164"/>
                    </a:lnTo>
                    <a:lnTo>
                      <a:pt x="318" y="173"/>
                    </a:lnTo>
                    <a:lnTo>
                      <a:pt x="313" y="170"/>
                    </a:lnTo>
                    <a:lnTo>
                      <a:pt x="317" y="162"/>
                    </a:lnTo>
                    <a:close/>
                    <a:moveTo>
                      <a:pt x="295" y="150"/>
                    </a:moveTo>
                    <a:lnTo>
                      <a:pt x="300" y="153"/>
                    </a:lnTo>
                    <a:lnTo>
                      <a:pt x="296" y="162"/>
                    </a:lnTo>
                    <a:lnTo>
                      <a:pt x="290" y="159"/>
                    </a:lnTo>
                    <a:lnTo>
                      <a:pt x="295" y="150"/>
                    </a:lnTo>
                    <a:close/>
                    <a:moveTo>
                      <a:pt x="272" y="138"/>
                    </a:moveTo>
                    <a:lnTo>
                      <a:pt x="278" y="141"/>
                    </a:lnTo>
                    <a:lnTo>
                      <a:pt x="274" y="150"/>
                    </a:lnTo>
                    <a:lnTo>
                      <a:pt x="268" y="147"/>
                    </a:lnTo>
                    <a:lnTo>
                      <a:pt x="272" y="138"/>
                    </a:lnTo>
                    <a:close/>
                    <a:moveTo>
                      <a:pt x="249" y="126"/>
                    </a:moveTo>
                    <a:lnTo>
                      <a:pt x="256" y="130"/>
                    </a:lnTo>
                    <a:lnTo>
                      <a:pt x="252" y="138"/>
                    </a:lnTo>
                    <a:lnTo>
                      <a:pt x="245" y="135"/>
                    </a:lnTo>
                    <a:lnTo>
                      <a:pt x="249" y="126"/>
                    </a:lnTo>
                    <a:close/>
                    <a:moveTo>
                      <a:pt x="227" y="116"/>
                    </a:moveTo>
                    <a:lnTo>
                      <a:pt x="233" y="118"/>
                    </a:lnTo>
                    <a:lnTo>
                      <a:pt x="229" y="126"/>
                    </a:lnTo>
                    <a:lnTo>
                      <a:pt x="223" y="124"/>
                    </a:lnTo>
                    <a:lnTo>
                      <a:pt x="227" y="116"/>
                    </a:lnTo>
                    <a:close/>
                    <a:moveTo>
                      <a:pt x="204" y="104"/>
                    </a:moveTo>
                    <a:lnTo>
                      <a:pt x="211" y="107"/>
                    </a:lnTo>
                    <a:lnTo>
                      <a:pt x="206" y="116"/>
                    </a:lnTo>
                    <a:lnTo>
                      <a:pt x="200" y="112"/>
                    </a:lnTo>
                    <a:lnTo>
                      <a:pt x="204" y="104"/>
                    </a:lnTo>
                    <a:close/>
                    <a:moveTo>
                      <a:pt x="182" y="92"/>
                    </a:moveTo>
                    <a:lnTo>
                      <a:pt x="188" y="95"/>
                    </a:lnTo>
                    <a:lnTo>
                      <a:pt x="184" y="104"/>
                    </a:lnTo>
                    <a:lnTo>
                      <a:pt x="177" y="100"/>
                    </a:lnTo>
                    <a:lnTo>
                      <a:pt x="182" y="92"/>
                    </a:lnTo>
                    <a:close/>
                    <a:moveTo>
                      <a:pt x="159" y="80"/>
                    </a:moveTo>
                    <a:lnTo>
                      <a:pt x="166" y="83"/>
                    </a:lnTo>
                    <a:lnTo>
                      <a:pt x="161" y="92"/>
                    </a:lnTo>
                    <a:lnTo>
                      <a:pt x="155" y="89"/>
                    </a:lnTo>
                    <a:lnTo>
                      <a:pt x="159" y="80"/>
                    </a:lnTo>
                    <a:close/>
                    <a:moveTo>
                      <a:pt x="138" y="69"/>
                    </a:moveTo>
                    <a:lnTo>
                      <a:pt x="143" y="71"/>
                    </a:lnTo>
                    <a:lnTo>
                      <a:pt x="139" y="80"/>
                    </a:lnTo>
                    <a:lnTo>
                      <a:pt x="133" y="78"/>
                    </a:lnTo>
                    <a:lnTo>
                      <a:pt x="138" y="69"/>
                    </a:lnTo>
                    <a:close/>
                    <a:moveTo>
                      <a:pt x="115" y="57"/>
                    </a:moveTo>
                    <a:lnTo>
                      <a:pt x="120" y="60"/>
                    </a:lnTo>
                    <a:lnTo>
                      <a:pt x="116" y="68"/>
                    </a:lnTo>
                    <a:lnTo>
                      <a:pt x="111" y="66"/>
                    </a:lnTo>
                    <a:lnTo>
                      <a:pt x="115" y="57"/>
                    </a:lnTo>
                    <a:close/>
                    <a:moveTo>
                      <a:pt x="92" y="46"/>
                    </a:moveTo>
                    <a:lnTo>
                      <a:pt x="98" y="49"/>
                    </a:lnTo>
                    <a:lnTo>
                      <a:pt x="93" y="57"/>
                    </a:lnTo>
                    <a:lnTo>
                      <a:pt x="88" y="54"/>
                    </a:lnTo>
                    <a:lnTo>
                      <a:pt x="92" y="46"/>
                    </a:lnTo>
                    <a:close/>
                    <a:moveTo>
                      <a:pt x="70" y="34"/>
                    </a:moveTo>
                    <a:lnTo>
                      <a:pt x="75" y="37"/>
                    </a:lnTo>
                    <a:lnTo>
                      <a:pt x="71" y="46"/>
                    </a:lnTo>
                    <a:lnTo>
                      <a:pt x="66" y="42"/>
                    </a:lnTo>
                    <a:lnTo>
                      <a:pt x="70" y="34"/>
                    </a:lnTo>
                    <a:close/>
                    <a:moveTo>
                      <a:pt x="47" y="22"/>
                    </a:moveTo>
                    <a:lnTo>
                      <a:pt x="53" y="25"/>
                    </a:lnTo>
                    <a:lnTo>
                      <a:pt x="48" y="34"/>
                    </a:lnTo>
                    <a:lnTo>
                      <a:pt x="43" y="30"/>
                    </a:lnTo>
                    <a:lnTo>
                      <a:pt x="47" y="22"/>
                    </a:lnTo>
                    <a:close/>
                    <a:moveTo>
                      <a:pt x="25" y="11"/>
                    </a:moveTo>
                    <a:lnTo>
                      <a:pt x="30" y="13"/>
                    </a:lnTo>
                    <a:lnTo>
                      <a:pt x="26" y="22"/>
                    </a:lnTo>
                    <a:lnTo>
                      <a:pt x="20" y="20"/>
                    </a:lnTo>
                    <a:lnTo>
                      <a:pt x="25" y="11"/>
                    </a:lnTo>
                    <a:close/>
                    <a:moveTo>
                      <a:pt x="4" y="0"/>
                    </a:moveTo>
                    <a:lnTo>
                      <a:pt x="7" y="2"/>
                    </a:lnTo>
                    <a:lnTo>
                      <a:pt x="3" y="11"/>
                    </a:lnTo>
                    <a:lnTo>
                      <a:pt x="0" y="9"/>
                    </a:lnTo>
                    <a:lnTo>
                      <a:pt x="4" y="0"/>
                    </a:lnTo>
                    <a:close/>
                  </a:path>
                </a:pathLst>
              </a:custGeom>
              <a:solidFill>
                <a:srgbClr val="E3931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85" name="Freeform 335"/>
              <p:cNvSpPr>
                <a:spLocks/>
              </p:cNvSpPr>
              <p:nvPr/>
            </p:nvSpPr>
            <p:spPr bwMode="auto">
              <a:xfrm>
                <a:off x="1602" y="2541"/>
                <a:ext cx="9" cy="11"/>
              </a:xfrm>
              <a:custGeom>
                <a:avLst/>
                <a:gdLst>
                  <a:gd name="T0" fmla="*/ 5 w 9"/>
                  <a:gd name="T1" fmla="*/ 0 h 11"/>
                  <a:gd name="T2" fmla="*/ 9 w 9"/>
                  <a:gd name="T3" fmla="*/ 2 h 11"/>
                  <a:gd name="T4" fmla="*/ 3 w 9"/>
                  <a:gd name="T5" fmla="*/ 11 h 11"/>
                  <a:gd name="T6" fmla="*/ 0 w 9"/>
                  <a:gd name="T7" fmla="*/ 9 h 11"/>
                  <a:gd name="T8" fmla="*/ 5 w 9"/>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 h="11">
                    <a:moveTo>
                      <a:pt x="5" y="0"/>
                    </a:moveTo>
                    <a:lnTo>
                      <a:pt x="9" y="2"/>
                    </a:lnTo>
                    <a:lnTo>
                      <a:pt x="3" y="11"/>
                    </a:lnTo>
                    <a:lnTo>
                      <a:pt x="0" y="9"/>
                    </a:lnTo>
                    <a:lnTo>
                      <a:pt x="5" y="0"/>
                    </a:lnTo>
                    <a:close/>
                  </a:path>
                </a:pathLst>
              </a:custGeom>
              <a:solidFill>
                <a:srgbClr val="E3931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86" name="Freeform 336"/>
              <p:cNvSpPr>
                <a:spLocks/>
              </p:cNvSpPr>
              <p:nvPr/>
            </p:nvSpPr>
            <p:spPr bwMode="auto">
              <a:xfrm>
                <a:off x="2196" y="2920"/>
                <a:ext cx="9" cy="10"/>
              </a:xfrm>
              <a:custGeom>
                <a:avLst/>
                <a:gdLst>
                  <a:gd name="T0" fmla="*/ 2 w 9"/>
                  <a:gd name="T1" fmla="*/ 0 h 10"/>
                  <a:gd name="T2" fmla="*/ 9 w 9"/>
                  <a:gd name="T3" fmla="*/ 8 h 10"/>
                  <a:gd name="T4" fmla="*/ 7 w 9"/>
                  <a:gd name="T5" fmla="*/ 10 h 10"/>
                  <a:gd name="T6" fmla="*/ 0 w 9"/>
                  <a:gd name="T7" fmla="*/ 2 h 10"/>
                  <a:gd name="T8" fmla="*/ 2 w 9"/>
                  <a:gd name="T9" fmla="*/ 0 h 1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 h="10">
                    <a:moveTo>
                      <a:pt x="2" y="0"/>
                    </a:moveTo>
                    <a:lnTo>
                      <a:pt x="9" y="8"/>
                    </a:lnTo>
                    <a:lnTo>
                      <a:pt x="7" y="10"/>
                    </a:lnTo>
                    <a:lnTo>
                      <a:pt x="0" y="2"/>
                    </a:lnTo>
                    <a:lnTo>
                      <a:pt x="2" y="0"/>
                    </a:lnTo>
                    <a:close/>
                  </a:path>
                </a:pathLst>
              </a:custGeom>
              <a:solidFill>
                <a:srgbClr val="A3A7A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87" name="Freeform 337"/>
              <p:cNvSpPr>
                <a:spLocks noEditPoints="1"/>
              </p:cNvSpPr>
              <p:nvPr/>
            </p:nvSpPr>
            <p:spPr bwMode="auto">
              <a:xfrm>
                <a:off x="1521" y="2928"/>
                <a:ext cx="664" cy="346"/>
              </a:xfrm>
              <a:custGeom>
                <a:avLst/>
                <a:gdLst>
                  <a:gd name="T0" fmla="*/ 5 w 664"/>
                  <a:gd name="T1" fmla="*/ 346 h 346"/>
                  <a:gd name="T2" fmla="*/ 28 w 664"/>
                  <a:gd name="T3" fmla="*/ 324 h 346"/>
                  <a:gd name="T4" fmla="*/ 22 w 664"/>
                  <a:gd name="T5" fmla="*/ 327 h 346"/>
                  <a:gd name="T6" fmla="*/ 55 w 664"/>
                  <a:gd name="T7" fmla="*/ 321 h 346"/>
                  <a:gd name="T8" fmla="*/ 51 w 664"/>
                  <a:gd name="T9" fmla="*/ 312 h 346"/>
                  <a:gd name="T10" fmla="*/ 71 w 664"/>
                  <a:gd name="T11" fmla="*/ 312 h 346"/>
                  <a:gd name="T12" fmla="*/ 96 w 664"/>
                  <a:gd name="T13" fmla="*/ 289 h 346"/>
                  <a:gd name="T14" fmla="*/ 90 w 664"/>
                  <a:gd name="T15" fmla="*/ 291 h 346"/>
                  <a:gd name="T16" fmla="*/ 123 w 664"/>
                  <a:gd name="T17" fmla="*/ 286 h 346"/>
                  <a:gd name="T18" fmla="*/ 119 w 664"/>
                  <a:gd name="T19" fmla="*/ 277 h 346"/>
                  <a:gd name="T20" fmla="*/ 139 w 664"/>
                  <a:gd name="T21" fmla="*/ 277 h 346"/>
                  <a:gd name="T22" fmla="*/ 164 w 664"/>
                  <a:gd name="T23" fmla="*/ 254 h 346"/>
                  <a:gd name="T24" fmla="*/ 157 w 664"/>
                  <a:gd name="T25" fmla="*/ 257 h 346"/>
                  <a:gd name="T26" fmla="*/ 190 w 664"/>
                  <a:gd name="T27" fmla="*/ 252 h 346"/>
                  <a:gd name="T28" fmla="*/ 185 w 664"/>
                  <a:gd name="T29" fmla="*/ 243 h 346"/>
                  <a:gd name="T30" fmla="*/ 207 w 664"/>
                  <a:gd name="T31" fmla="*/ 243 h 346"/>
                  <a:gd name="T32" fmla="*/ 231 w 664"/>
                  <a:gd name="T33" fmla="*/ 219 h 346"/>
                  <a:gd name="T34" fmla="*/ 225 w 664"/>
                  <a:gd name="T35" fmla="*/ 223 h 346"/>
                  <a:gd name="T36" fmla="*/ 257 w 664"/>
                  <a:gd name="T37" fmla="*/ 216 h 346"/>
                  <a:gd name="T38" fmla="*/ 253 w 664"/>
                  <a:gd name="T39" fmla="*/ 207 h 346"/>
                  <a:gd name="T40" fmla="*/ 275 w 664"/>
                  <a:gd name="T41" fmla="*/ 207 h 346"/>
                  <a:gd name="T42" fmla="*/ 298 w 664"/>
                  <a:gd name="T43" fmla="*/ 185 h 346"/>
                  <a:gd name="T44" fmla="*/ 293 w 664"/>
                  <a:gd name="T45" fmla="*/ 188 h 346"/>
                  <a:gd name="T46" fmla="*/ 325 w 664"/>
                  <a:gd name="T47" fmla="*/ 182 h 346"/>
                  <a:gd name="T48" fmla="*/ 321 w 664"/>
                  <a:gd name="T49" fmla="*/ 173 h 346"/>
                  <a:gd name="T50" fmla="*/ 342 w 664"/>
                  <a:gd name="T51" fmla="*/ 173 h 346"/>
                  <a:gd name="T52" fmla="*/ 366 w 664"/>
                  <a:gd name="T53" fmla="*/ 150 h 346"/>
                  <a:gd name="T54" fmla="*/ 361 w 664"/>
                  <a:gd name="T55" fmla="*/ 152 h 346"/>
                  <a:gd name="T56" fmla="*/ 393 w 664"/>
                  <a:gd name="T57" fmla="*/ 147 h 346"/>
                  <a:gd name="T58" fmla="*/ 389 w 664"/>
                  <a:gd name="T59" fmla="*/ 138 h 346"/>
                  <a:gd name="T60" fmla="*/ 410 w 664"/>
                  <a:gd name="T61" fmla="*/ 138 h 346"/>
                  <a:gd name="T62" fmla="*/ 434 w 664"/>
                  <a:gd name="T63" fmla="*/ 115 h 346"/>
                  <a:gd name="T64" fmla="*/ 428 w 664"/>
                  <a:gd name="T65" fmla="*/ 118 h 346"/>
                  <a:gd name="T66" fmla="*/ 461 w 664"/>
                  <a:gd name="T67" fmla="*/ 113 h 346"/>
                  <a:gd name="T68" fmla="*/ 456 w 664"/>
                  <a:gd name="T69" fmla="*/ 104 h 346"/>
                  <a:gd name="T70" fmla="*/ 478 w 664"/>
                  <a:gd name="T71" fmla="*/ 104 h 346"/>
                  <a:gd name="T72" fmla="*/ 502 w 664"/>
                  <a:gd name="T73" fmla="*/ 80 h 346"/>
                  <a:gd name="T74" fmla="*/ 496 w 664"/>
                  <a:gd name="T75" fmla="*/ 84 h 346"/>
                  <a:gd name="T76" fmla="*/ 528 w 664"/>
                  <a:gd name="T77" fmla="*/ 78 h 346"/>
                  <a:gd name="T78" fmla="*/ 524 w 664"/>
                  <a:gd name="T79" fmla="*/ 70 h 346"/>
                  <a:gd name="T80" fmla="*/ 546 w 664"/>
                  <a:gd name="T81" fmla="*/ 68 h 346"/>
                  <a:gd name="T82" fmla="*/ 569 w 664"/>
                  <a:gd name="T83" fmla="*/ 46 h 346"/>
                  <a:gd name="T84" fmla="*/ 564 w 664"/>
                  <a:gd name="T85" fmla="*/ 49 h 346"/>
                  <a:gd name="T86" fmla="*/ 596 w 664"/>
                  <a:gd name="T87" fmla="*/ 43 h 346"/>
                  <a:gd name="T88" fmla="*/ 592 w 664"/>
                  <a:gd name="T89" fmla="*/ 34 h 346"/>
                  <a:gd name="T90" fmla="*/ 613 w 664"/>
                  <a:gd name="T91" fmla="*/ 34 h 346"/>
                  <a:gd name="T92" fmla="*/ 637 w 664"/>
                  <a:gd name="T93" fmla="*/ 11 h 346"/>
                  <a:gd name="T94" fmla="*/ 632 w 664"/>
                  <a:gd name="T95" fmla="*/ 14 h 346"/>
                  <a:gd name="T96" fmla="*/ 664 w 664"/>
                  <a:gd name="T97" fmla="*/ 8 h 346"/>
                  <a:gd name="T98" fmla="*/ 660 w 664"/>
                  <a:gd name="T99" fmla="*/ 0 h 34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664" h="346">
                    <a:moveTo>
                      <a:pt x="6" y="336"/>
                    </a:moveTo>
                    <a:lnTo>
                      <a:pt x="10" y="344"/>
                    </a:lnTo>
                    <a:lnTo>
                      <a:pt x="5" y="346"/>
                    </a:lnTo>
                    <a:lnTo>
                      <a:pt x="0" y="338"/>
                    </a:lnTo>
                    <a:lnTo>
                      <a:pt x="6" y="336"/>
                    </a:lnTo>
                    <a:close/>
                    <a:moveTo>
                      <a:pt x="28" y="324"/>
                    </a:moveTo>
                    <a:lnTo>
                      <a:pt x="33" y="332"/>
                    </a:lnTo>
                    <a:lnTo>
                      <a:pt x="26" y="336"/>
                    </a:lnTo>
                    <a:lnTo>
                      <a:pt x="22" y="327"/>
                    </a:lnTo>
                    <a:lnTo>
                      <a:pt x="28" y="324"/>
                    </a:lnTo>
                    <a:close/>
                    <a:moveTo>
                      <a:pt x="51" y="312"/>
                    </a:moveTo>
                    <a:lnTo>
                      <a:pt x="55" y="321"/>
                    </a:lnTo>
                    <a:lnTo>
                      <a:pt x="49" y="324"/>
                    </a:lnTo>
                    <a:lnTo>
                      <a:pt x="45" y="315"/>
                    </a:lnTo>
                    <a:lnTo>
                      <a:pt x="51" y="312"/>
                    </a:lnTo>
                    <a:close/>
                    <a:moveTo>
                      <a:pt x="74" y="300"/>
                    </a:moveTo>
                    <a:lnTo>
                      <a:pt x="78" y="309"/>
                    </a:lnTo>
                    <a:lnTo>
                      <a:pt x="71" y="312"/>
                    </a:lnTo>
                    <a:lnTo>
                      <a:pt x="67" y="303"/>
                    </a:lnTo>
                    <a:lnTo>
                      <a:pt x="74" y="300"/>
                    </a:lnTo>
                    <a:close/>
                    <a:moveTo>
                      <a:pt x="96" y="289"/>
                    </a:moveTo>
                    <a:lnTo>
                      <a:pt x="100" y="298"/>
                    </a:lnTo>
                    <a:lnTo>
                      <a:pt x="94" y="300"/>
                    </a:lnTo>
                    <a:lnTo>
                      <a:pt x="90" y="291"/>
                    </a:lnTo>
                    <a:lnTo>
                      <a:pt x="96" y="289"/>
                    </a:lnTo>
                    <a:close/>
                    <a:moveTo>
                      <a:pt x="119" y="277"/>
                    </a:moveTo>
                    <a:lnTo>
                      <a:pt x="123" y="286"/>
                    </a:lnTo>
                    <a:lnTo>
                      <a:pt x="117" y="289"/>
                    </a:lnTo>
                    <a:lnTo>
                      <a:pt x="112" y="281"/>
                    </a:lnTo>
                    <a:lnTo>
                      <a:pt x="119" y="277"/>
                    </a:lnTo>
                    <a:close/>
                    <a:moveTo>
                      <a:pt x="141" y="266"/>
                    </a:moveTo>
                    <a:lnTo>
                      <a:pt x="146" y="274"/>
                    </a:lnTo>
                    <a:lnTo>
                      <a:pt x="139" y="277"/>
                    </a:lnTo>
                    <a:lnTo>
                      <a:pt x="135" y="269"/>
                    </a:lnTo>
                    <a:lnTo>
                      <a:pt x="141" y="266"/>
                    </a:lnTo>
                    <a:close/>
                    <a:moveTo>
                      <a:pt x="164" y="254"/>
                    </a:moveTo>
                    <a:lnTo>
                      <a:pt x="168" y="262"/>
                    </a:lnTo>
                    <a:lnTo>
                      <a:pt x="162" y="266"/>
                    </a:lnTo>
                    <a:lnTo>
                      <a:pt x="157" y="257"/>
                    </a:lnTo>
                    <a:lnTo>
                      <a:pt x="164" y="254"/>
                    </a:lnTo>
                    <a:close/>
                    <a:moveTo>
                      <a:pt x="185" y="243"/>
                    </a:moveTo>
                    <a:lnTo>
                      <a:pt x="190" y="252"/>
                    </a:lnTo>
                    <a:lnTo>
                      <a:pt x="184" y="254"/>
                    </a:lnTo>
                    <a:lnTo>
                      <a:pt x="180" y="245"/>
                    </a:lnTo>
                    <a:lnTo>
                      <a:pt x="185" y="243"/>
                    </a:lnTo>
                    <a:close/>
                    <a:moveTo>
                      <a:pt x="208" y="231"/>
                    </a:moveTo>
                    <a:lnTo>
                      <a:pt x="212" y="240"/>
                    </a:lnTo>
                    <a:lnTo>
                      <a:pt x="207" y="243"/>
                    </a:lnTo>
                    <a:lnTo>
                      <a:pt x="203" y="234"/>
                    </a:lnTo>
                    <a:lnTo>
                      <a:pt x="208" y="231"/>
                    </a:lnTo>
                    <a:close/>
                    <a:moveTo>
                      <a:pt x="231" y="219"/>
                    </a:moveTo>
                    <a:lnTo>
                      <a:pt x="235" y="228"/>
                    </a:lnTo>
                    <a:lnTo>
                      <a:pt x="229" y="231"/>
                    </a:lnTo>
                    <a:lnTo>
                      <a:pt x="225" y="223"/>
                    </a:lnTo>
                    <a:lnTo>
                      <a:pt x="231" y="219"/>
                    </a:lnTo>
                    <a:close/>
                    <a:moveTo>
                      <a:pt x="253" y="207"/>
                    </a:moveTo>
                    <a:lnTo>
                      <a:pt x="257" y="216"/>
                    </a:lnTo>
                    <a:lnTo>
                      <a:pt x="252" y="219"/>
                    </a:lnTo>
                    <a:lnTo>
                      <a:pt x="248" y="211"/>
                    </a:lnTo>
                    <a:lnTo>
                      <a:pt x="253" y="207"/>
                    </a:lnTo>
                    <a:close/>
                    <a:moveTo>
                      <a:pt x="276" y="197"/>
                    </a:moveTo>
                    <a:lnTo>
                      <a:pt x="280" y="205"/>
                    </a:lnTo>
                    <a:lnTo>
                      <a:pt x="275" y="207"/>
                    </a:lnTo>
                    <a:lnTo>
                      <a:pt x="270" y="199"/>
                    </a:lnTo>
                    <a:lnTo>
                      <a:pt x="276" y="197"/>
                    </a:lnTo>
                    <a:close/>
                    <a:moveTo>
                      <a:pt x="298" y="185"/>
                    </a:moveTo>
                    <a:lnTo>
                      <a:pt x="303" y="193"/>
                    </a:lnTo>
                    <a:lnTo>
                      <a:pt x="297" y="197"/>
                    </a:lnTo>
                    <a:lnTo>
                      <a:pt x="293" y="188"/>
                    </a:lnTo>
                    <a:lnTo>
                      <a:pt x="298" y="185"/>
                    </a:lnTo>
                    <a:close/>
                    <a:moveTo>
                      <a:pt x="321" y="173"/>
                    </a:moveTo>
                    <a:lnTo>
                      <a:pt x="325" y="182"/>
                    </a:lnTo>
                    <a:lnTo>
                      <a:pt x="320" y="185"/>
                    </a:lnTo>
                    <a:lnTo>
                      <a:pt x="316" y="176"/>
                    </a:lnTo>
                    <a:lnTo>
                      <a:pt x="321" y="173"/>
                    </a:lnTo>
                    <a:close/>
                    <a:moveTo>
                      <a:pt x="343" y="161"/>
                    </a:moveTo>
                    <a:lnTo>
                      <a:pt x="348" y="170"/>
                    </a:lnTo>
                    <a:lnTo>
                      <a:pt x="342" y="173"/>
                    </a:lnTo>
                    <a:lnTo>
                      <a:pt x="338" y="164"/>
                    </a:lnTo>
                    <a:lnTo>
                      <a:pt x="343" y="161"/>
                    </a:lnTo>
                    <a:close/>
                    <a:moveTo>
                      <a:pt x="366" y="150"/>
                    </a:moveTo>
                    <a:lnTo>
                      <a:pt x="370" y="159"/>
                    </a:lnTo>
                    <a:lnTo>
                      <a:pt x="365" y="161"/>
                    </a:lnTo>
                    <a:lnTo>
                      <a:pt x="361" y="152"/>
                    </a:lnTo>
                    <a:lnTo>
                      <a:pt x="366" y="150"/>
                    </a:lnTo>
                    <a:close/>
                    <a:moveTo>
                      <a:pt x="389" y="138"/>
                    </a:moveTo>
                    <a:lnTo>
                      <a:pt x="393" y="147"/>
                    </a:lnTo>
                    <a:lnTo>
                      <a:pt x="388" y="150"/>
                    </a:lnTo>
                    <a:lnTo>
                      <a:pt x="383" y="142"/>
                    </a:lnTo>
                    <a:lnTo>
                      <a:pt x="389" y="138"/>
                    </a:lnTo>
                    <a:close/>
                    <a:moveTo>
                      <a:pt x="411" y="127"/>
                    </a:moveTo>
                    <a:lnTo>
                      <a:pt x="416" y="135"/>
                    </a:lnTo>
                    <a:lnTo>
                      <a:pt x="410" y="138"/>
                    </a:lnTo>
                    <a:lnTo>
                      <a:pt x="406" y="130"/>
                    </a:lnTo>
                    <a:lnTo>
                      <a:pt x="411" y="127"/>
                    </a:lnTo>
                    <a:close/>
                    <a:moveTo>
                      <a:pt x="434" y="115"/>
                    </a:moveTo>
                    <a:lnTo>
                      <a:pt x="438" y="123"/>
                    </a:lnTo>
                    <a:lnTo>
                      <a:pt x="433" y="127"/>
                    </a:lnTo>
                    <a:lnTo>
                      <a:pt x="428" y="118"/>
                    </a:lnTo>
                    <a:lnTo>
                      <a:pt x="434" y="115"/>
                    </a:lnTo>
                    <a:close/>
                    <a:moveTo>
                      <a:pt x="456" y="104"/>
                    </a:moveTo>
                    <a:lnTo>
                      <a:pt x="461" y="113"/>
                    </a:lnTo>
                    <a:lnTo>
                      <a:pt x="455" y="115"/>
                    </a:lnTo>
                    <a:lnTo>
                      <a:pt x="451" y="106"/>
                    </a:lnTo>
                    <a:lnTo>
                      <a:pt x="456" y="104"/>
                    </a:lnTo>
                    <a:close/>
                    <a:moveTo>
                      <a:pt x="479" y="92"/>
                    </a:moveTo>
                    <a:lnTo>
                      <a:pt x="483" y="101"/>
                    </a:lnTo>
                    <a:lnTo>
                      <a:pt x="478" y="104"/>
                    </a:lnTo>
                    <a:lnTo>
                      <a:pt x="474" y="95"/>
                    </a:lnTo>
                    <a:lnTo>
                      <a:pt x="479" y="92"/>
                    </a:lnTo>
                    <a:close/>
                    <a:moveTo>
                      <a:pt x="502" y="80"/>
                    </a:moveTo>
                    <a:lnTo>
                      <a:pt x="506" y="89"/>
                    </a:lnTo>
                    <a:lnTo>
                      <a:pt x="501" y="92"/>
                    </a:lnTo>
                    <a:lnTo>
                      <a:pt x="496" y="84"/>
                    </a:lnTo>
                    <a:lnTo>
                      <a:pt x="502" y="80"/>
                    </a:lnTo>
                    <a:close/>
                    <a:moveTo>
                      <a:pt x="524" y="70"/>
                    </a:moveTo>
                    <a:lnTo>
                      <a:pt x="528" y="78"/>
                    </a:lnTo>
                    <a:lnTo>
                      <a:pt x="523" y="80"/>
                    </a:lnTo>
                    <a:lnTo>
                      <a:pt x="519" y="72"/>
                    </a:lnTo>
                    <a:lnTo>
                      <a:pt x="524" y="70"/>
                    </a:lnTo>
                    <a:close/>
                    <a:moveTo>
                      <a:pt x="547" y="58"/>
                    </a:moveTo>
                    <a:lnTo>
                      <a:pt x="551" y="66"/>
                    </a:lnTo>
                    <a:lnTo>
                      <a:pt x="546" y="68"/>
                    </a:lnTo>
                    <a:lnTo>
                      <a:pt x="541" y="60"/>
                    </a:lnTo>
                    <a:lnTo>
                      <a:pt x="547" y="58"/>
                    </a:lnTo>
                    <a:close/>
                    <a:moveTo>
                      <a:pt x="569" y="46"/>
                    </a:moveTo>
                    <a:lnTo>
                      <a:pt x="574" y="54"/>
                    </a:lnTo>
                    <a:lnTo>
                      <a:pt x="568" y="58"/>
                    </a:lnTo>
                    <a:lnTo>
                      <a:pt x="564" y="49"/>
                    </a:lnTo>
                    <a:lnTo>
                      <a:pt x="569" y="46"/>
                    </a:lnTo>
                    <a:close/>
                    <a:moveTo>
                      <a:pt x="592" y="34"/>
                    </a:moveTo>
                    <a:lnTo>
                      <a:pt x="596" y="43"/>
                    </a:lnTo>
                    <a:lnTo>
                      <a:pt x="591" y="46"/>
                    </a:lnTo>
                    <a:lnTo>
                      <a:pt x="587" y="37"/>
                    </a:lnTo>
                    <a:lnTo>
                      <a:pt x="592" y="34"/>
                    </a:lnTo>
                    <a:close/>
                    <a:moveTo>
                      <a:pt x="615" y="23"/>
                    </a:moveTo>
                    <a:lnTo>
                      <a:pt x="619" y="32"/>
                    </a:lnTo>
                    <a:lnTo>
                      <a:pt x="613" y="34"/>
                    </a:lnTo>
                    <a:lnTo>
                      <a:pt x="609" y="25"/>
                    </a:lnTo>
                    <a:lnTo>
                      <a:pt x="615" y="23"/>
                    </a:lnTo>
                    <a:close/>
                    <a:moveTo>
                      <a:pt x="637" y="11"/>
                    </a:moveTo>
                    <a:lnTo>
                      <a:pt x="641" y="20"/>
                    </a:lnTo>
                    <a:lnTo>
                      <a:pt x="636" y="22"/>
                    </a:lnTo>
                    <a:lnTo>
                      <a:pt x="632" y="14"/>
                    </a:lnTo>
                    <a:lnTo>
                      <a:pt x="637" y="11"/>
                    </a:lnTo>
                    <a:close/>
                    <a:moveTo>
                      <a:pt x="660" y="0"/>
                    </a:moveTo>
                    <a:lnTo>
                      <a:pt x="664" y="8"/>
                    </a:lnTo>
                    <a:lnTo>
                      <a:pt x="659" y="11"/>
                    </a:lnTo>
                    <a:lnTo>
                      <a:pt x="654" y="3"/>
                    </a:lnTo>
                    <a:lnTo>
                      <a:pt x="660" y="0"/>
                    </a:lnTo>
                    <a:close/>
                  </a:path>
                </a:pathLst>
              </a:custGeom>
              <a:solidFill>
                <a:srgbClr val="A3A7A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88" name="Freeform 338"/>
              <p:cNvSpPr>
                <a:spLocks/>
              </p:cNvSpPr>
              <p:nvPr/>
            </p:nvSpPr>
            <p:spPr bwMode="auto">
              <a:xfrm>
                <a:off x="1512" y="3269"/>
                <a:ext cx="6" cy="10"/>
              </a:xfrm>
              <a:custGeom>
                <a:avLst/>
                <a:gdLst>
                  <a:gd name="T0" fmla="*/ 2 w 6"/>
                  <a:gd name="T1" fmla="*/ 0 h 10"/>
                  <a:gd name="T2" fmla="*/ 6 w 6"/>
                  <a:gd name="T3" fmla="*/ 9 h 10"/>
                  <a:gd name="T4" fmla="*/ 4 w 6"/>
                  <a:gd name="T5" fmla="*/ 10 h 10"/>
                  <a:gd name="T6" fmla="*/ 0 w 6"/>
                  <a:gd name="T7" fmla="*/ 1 h 10"/>
                  <a:gd name="T8" fmla="*/ 2 w 6"/>
                  <a:gd name="T9" fmla="*/ 0 h 1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10">
                    <a:moveTo>
                      <a:pt x="2" y="0"/>
                    </a:moveTo>
                    <a:lnTo>
                      <a:pt x="6" y="9"/>
                    </a:lnTo>
                    <a:lnTo>
                      <a:pt x="4" y="10"/>
                    </a:lnTo>
                    <a:lnTo>
                      <a:pt x="0" y="1"/>
                    </a:lnTo>
                    <a:lnTo>
                      <a:pt x="2" y="0"/>
                    </a:lnTo>
                    <a:close/>
                  </a:path>
                </a:pathLst>
              </a:custGeom>
              <a:solidFill>
                <a:srgbClr val="A3A7A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89" name="Freeform 339"/>
              <p:cNvSpPr>
                <a:spLocks/>
              </p:cNvSpPr>
              <p:nvPr/>
            </p:nvSpPr>
            <p:spPr bwMode="auto">
              <a:xfrm>
                <a:off x="4466" y="3151"/>
                <a:ext cx="174" cy="174"/>
              </a:xfrm>
              <a:custGeom>
                <a:avLst/>
                <a:gdLst>
                  <a:gd name="T0" fmla="*/ 87 w 174"/>
                  <a:gd name="T1" fmla="*/ 0 h 174"/>
                  <a:gd name="T2" fmla="*/ 111 w 174"/>
                  <a:gd name="T3" fmla="*/ 3 h 174"/>
                  <a:gd name="T4" fmla="*/ 131 w 174"/>
                  <a:gd name="T5" fmla="*/ 11 h 174"/>
                  <a:gd name="T6" fmla="*/ 150 w 174"/>
                  <a:gd name="T7" fmla="*/ 25 h 174"/>
                  <a:gd name="T8" fmla="*/ 162 w 174"/>
                  <a:gd name="T9" fmla="*/ 43 h 174"/>
                  <a:gd name="T10" fmla="*/ 171 w 174"/>
                  <a:gd name="T11" fmla="*/ 64 h 174"/>
                  <a:gd name="T12" fmla="*/ 174 w 174"/>
                  <a:gd name="T13" fmla="*/ 87 h 174"/>
                  <a:gd name="T14" fmla="*/ 171 w 174"/>
                  <a:gd name="T15" fmla="*/ 110 h 174"/>
                  <a:gd name="T16" fmla="*/ 162 w 174"/>
                  <a:gd name="T17" fmla="*/ 132 h 174"/>
                  <a:gd name="T18" fmla="*/ 150 w 174"/>
                  <a:gd name="T19" fmla="*/ 149 h 174"/>
                  <a:gd name="T20" fmla="*/ 131 w 174"/>
                  <a:gd name="T21" fmla="*/ 162 h 174"/>
                  <a:gd name="T22" fmla="*/ 111 w 174"/>
                  <a:gd name="T23" fmla="*/ 172 h 174"/>
                  <a:gd name="T24" fmla="*/ 87 w 174"/>
                  <a:gd name="T25" fmla="*/ 174 h 174"/>
                  <a:gd name="T26" fmla="*/ 65 w 174"/>
                  <a:gd name="T27" fmla="*/ 172 h 174"/>
                  <a:gd name="T28" fmla="*/ 43 w 174"/>
                  <a:gd name="T29" fmla="*/ 162 h 174"/>
                  <a:gd name="T30" fmla="*/ 26 w 174"/>
                  <a:gd name="T31" fmla="*/ 149 h 174"/>
                  <a:gd name="T32" fmla="*/ 12 w 174"/>
                  <a:gd name="T33" fmla="*/ 132 h 174"/>
                  <a:gd name="T34" fmla="*/ 3 w 174"/>
                  <a:gd name="T35" fmla="*/ 110 h 174"/>
                  <a:gd name="T36" fmla="*/ 0 w 174"/>
                  <a:gd name="T37" fmla="*/ 87 h 174"/>
                  <a:gd name="T38" fmla="*/ 3 w 174"/>
                  <a:gd name="T39" fmla="*/ 64 h 174"/>
                  <a:gd name="T40" fmla="*/ 12 w 174"/>
                  <a:gd name="T41" fmla="*/ 43 h 174"/>
                  <a:gd name="T42" fmla="*/ 26 w 174"/>
                  <a:gd name="T43" fmla="*/ 25 h 174"/>
                  <a:gd name="T44" fmla="*/ 43 w 174"/>
                  <a:gd name="T45" fmla="*/ 11 h 174"/>
                  <a:gd name="T46" fmla="*/ 65 w 174"/>
                  <a:gd name="T47" fmla="*/ 3 h 174"/>
                  <a:gd name="T48" fmla="*/ 87 w 174"/>
                  <a:gd name="T49" fmla="*/ 0 h 1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74" h="174">
                    <a:moveTo>
                      <a:pt x="87" y="0"/>
                    </a:moveTo>
                    <a:lnTo>
                      <a:pt x="111" y="3"/>
                    </a:lnTo>
                    <a:lnTo>
                      <a:pt x="131" y="11"/>
                    </a:lnTo>
                    <a:lnTo>
                      <a:pt x="150" y="25"/>
                    </a:lnTo>
                    <a:lnTo>
                      <a:pt x="162" y="43"/>
                    </a:lnTo>
                    <a:lnTo>
                      <a:pt x="171" y="64"/>
                    </a:lnTo>
                    <a:lnTo>
                      <a:pt x="174" y="87"/>
                    </a:lnTo>
                    <a:lnTo>
                      <a:pt x="171" y="110"/>
                    </a:lnTo>
                    <a:lnTo>
                      <a:pt x="162" y="132"/>
                    </a:lnTo>
                    <a:lnTo>
                      <a:pt x="150" y="149"/>
                    </a:lnTo>
                    <a:lnTo>
                      <a:pt x="131" y="162"/>
                    </a:lnTo>
                    <a:lnTo>
                      <a:pt x="111" y="172"/>
                    </a:lnTo>
                    <a:lnTo>
                      <a:pt x="87" y="174"/>
                    </a:lnTo>
                    <a:lnTo>
                      <a:pt x="65" y="172"/>
                    </a:lnTo>
                    <a:lnTo>
                      <a:pt x="43" y="162"/>
                    </a:lnTo>
                    <a:lnTo>
                      <a:pt x="26" y="149"/>
                    </a:lnTo>
                    <a:lnTo>
                      <a:pt x="12" y="132"/>
                    </a:lnTo>
                    <a:lnTo>
                      <a:pt x="3" y="110"/>
                    </a:lnTo>
                    <a:lnTo>
                      <a:pt x="0" y="87"/>
                    </a:lnTo>
                    <a:lnTo>
                      <a:pt x="3" y="64"/>
                    </a:lnTo>
                    <a:lnTo>
                      <a:pt x="12" y="43"/>
                    </a:lnTo>
                    <a:lnTo>
                      <a:pt x="26" y="25"/>
                    </a:lnTo>
                    <a:lnTo>
                      <a:pt x="43" y="11"/>
                    </a:lnTo>
                    <a:lnTo>
                      <a:pt x="65" y="3"/>
                    </a:lnTo>
                    <a:lnTo>
                      <a:pt x="87" y="0"/>
                    </a:lnTo>
                    <a:close/>
                  </a:path>
                </a:pathLst>
              </a:custGeom>
              <a:solidFill>
                <a:srgbClr val="29426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90" name="Freeform 340"/>
              <p:cNvSpPr>
                <a:spLocks noEditPoints="1"/>
              </p:cNvSpPr>
              <p:nvPr/>
            </p:nvSpPr>
            <p:spPr bwMode="auto">
              <a:xfrm>
                <a:off x="4461" y="3144"/>
                <a:ext cx="186" cy="186"/>
              </a:xfrm>
              <a:custGeom>
                <a:avLst/>
                <a:gdLst>
                  <a:gd name="T0" fmla="*/ 94 w 186"/>
                  <a:gd name="T1" fmla="*/ 11 h 186"/>
                  <a:gd name="T2" fmla="*/ 73 w 186"/>
                  <a:gd name="T3" fmla="*/ 14 h 186"/>
                  <a:gd name="T4" fmla="*/ 52 w 186"/>
                  <a:gd name="T5" fmla="*/ 22 h 186"/>
                  <a:gd name="T6" fmla="*/ 35 w 186"/>
                  <a:gd name="T7" fmla="*/ 36 h 186"/>
                  <a:gd name="T8" fmla="*/ 22 w 186"/>
                  <a:gd name="T9" fmla="*/ 53 h 186"/>
                  <a:gd name="T10" fmla="*/ 15 w 186"/>
                  <a:gd name="T11" fmla="*/ 72 h 186"/>
                  <a:gd name="T12" fmla="*/ 11 w 186"/>
                  <a:gd name="T13" fmla="*/ 94 h 186"/>
                  <a:gd name="T14" fmla="*/ 15 w 186"/>
                  <a:gd name="T15" fmla="*/ 114 h 186"/>
                  <a:gd name="T16" fmla="*/ 22 w 186"/>
                  <a:gd name="T17" fmla="*/ 134 h 186"/>
                  <a:gd name="T18" fmla="*/ 35 w 186"/>
                  <a:gd name="T19" fmla="*/ 151 h 186"/>
                  <a:gd name="T20" fmla="*/ 52 w 186"/>
                  <a:gd name="T21" fmla="*/ 165 h 186"/>
                  <a:gd name="T22" fmla="*/ 73 w 186"/>
                  <a:gd name="T23" fmla="*/ 172 h 186"/>
                  <a:gd name="T24" fmla="*/ 94 w 186"/>
                  <a:gd name="T25" fmla="*/ 175 h 186"/>
                  <a:gd name="T26" fmla="*/ 110 w 186"/>
                  <a:gd name="T27" fmla="*/ 173 h 186"/>
                  <a:gd name="T28" fmla="*/ 125 w 186"/>
                  <a:gd name="T29" fmla="*/ 169 h 186"/>
                  <a:gd name="T30" fmla="*/ 138 w 186"/>
                  <a:gd name="T31" fmla="*/ 162 h 186"/>
                  <a:gd name="T32" fmla="*/ 150 w 186"/>
                  <a:gd name="T33" fmla="*/ 151 h 186"/>
                  <a:gd name="T34" fmla="*/ 164 w 186"/>
                  <a:gd name="T35" fmla="*/ 134 h 186"/>
                  <a:gd name="T36" fmla="*/ 173 w 186"/>
                  <a:gd name="T37" fmla="*/ 114 h 186"/>
                  <a:gd name="T38" fmla="*/ 176 w 186"/>
                  <a:gd name="T39" fmla="*/ 94 h 186"/>
                  <a:gd name="T40" fmla="*/ 173 w 186"/>
                  <a:gd name="T41" fmla="*/ 72 h 186"/>
                  <a:gd name="T42" fmla="*/ 164 w 186"/>
                  <a:gd name="T43" fmla="*/ 53 h 186"/>
                  <a:gd name="T44" fmla="*/ 150 w 186"/>
                  <a:gd name="T45" fmla="*/ 36 h 186"/>
                  <a:gd name="T46" fmla="*/ 138 w 186"/>
                  <a:gd name="T47" fmla="*/ 25 h 186"/>
                  <a:gd name="T48" fmla="*/ 125 w 186"/>
                  <a:gd name="T49" fmla="*/ 17 h 186"/>
                  <a:gd name="T50" fmla="*/ 110 w 186"/>
                  <a:gd name="T51" fmla="*/ 13 h 186"/>
                  <a:gd name="T52" fmla="*/ 94 w 186"/>
                  <a:gd name="T53" fmla="*/ 11 h 186"/>
                  <a:gd name="T54" fmla="*/ 94 w 186"/>
                  <a:gd name="T55" fmla="*/ 0 h 186"/>
                  <a:gd name="T56" fmla="*/ 118 w 186"/>
                  <a:gd name="T57" fmla="*/ 3 h 186"/>
                  <a:gd name="T58" fmla="*/ 139 w 186"/>
                  <a:gd name="T59" fmla="*/ 13 h 186"/>
                  <a:gd name="T60" fmla="*/ 159 w 186"/>
                  <a:gd name="T61" fmla="*/ 27 h 186"/>
                  <a:gd name="T62" fmla="*/ 171 w 186"/>
                  <a:gd name="T63" fmla="*/ 41 h 186"/>
                  <a:gd name="T64" fmla="*/ 179 w 186"/>
                  <a:gd name="T65" fmla="*/ 57 h 186"/>
                  <a:gd name="T66" fmla="*/ 184 w 186"/>
                  <a:gd name="T67" fmla="*/ 75 h 186"/>
                  <a:gd name="T68" fmla="*/ 186 w 186"/>
                  <a:gd name="T69" fmla="*/ 94 h 186"/>
                  <a:gd name="T70" fmla="*/ 184 w 186"/>
                  <a:gd name="T71" fmla="*/ 112 h 186"/>
                  <a:gd name="T72" fmla="*/ 179 w 186"/>
                  <a:gd name="T73" fmla="*/ 128 h 186"/>
                  <a:gd name="T74" fmla="*/ 171 w 186"/>
                  <a:gd name="T75" fmla="*/ 144 h 186"/>
                  <a:gd name="T76" fmla="*/ 159 w 186"/>
                  <a:gd name="T77" fmla="*/ 159 h 186"/>
                  <a:gd name="T78" fmla="*/ 139 w 186"/>
                  <a:gd name="T79" fmla="*/ 173 h 186"/>
                  <a:gd name="T80" fmla="*/ 118 w 186"/>
                  <a:gd name="T81" fmla="*/ 183 h 186"/>
                  <a:gd name="T82" fmla="*/ 94 w 186"/>
                  <a:gd name="T83" fmla="*/ 186 h 186"/>
                  <a:gd name="T84" fmla="*/ 70 w 186"/>
                  <a:gd name="T85" fmla="*/ 183 h 186"/>
                  <a:gd name="T86" fmla="*/ 48 w 186"/>
                  <a:gd name="T87" fmla="*/ 173 h 186"/>
                  <a:gd name="T88" fmla="*/ 29 w 186"/>
                  <a:gd name="T89" fmla="*/ 159 h 186"/>
                  <a:gd name="T90" fmla="*/ 14 w 186"/>
                  <a:gd name="T91" fmla="*/ 140 h 186"/>
                  <a:gd name="T92" fmla="*/ 4 w 186"/>
                  <a:gd name="T93" fmla="*/ 117 h 186"/>
                  <a:gd name="T94" fmla="*/ 0 w 186"/>
                  <a:gd name="T95" fmla="*/ 94 h 186"/>
                  <a:gd name="T96" fmla="*/ 4 w 186"/>
                  <a:gd name="T97" fmla="*/ 69 h 186"/>
                  <a:gd name="T98" fmla="*/ 14 w 186"/>
                  <a:gd name="T99" fmla="*/ 46 h 186"/>
                  <a:gd name="T100" fmla="*/ 29 w 186"/>
                  <a:gd name="T101" fmla="*/ 27 h 186"/>
                  <a:gd name="T102" fmla="*/ 48 w 186"/>
                  <a:gd name="T103" fmla="*/ 13 h 186"/>
                  <a:gd name="T104" fmla="*/ 70 w 186"/>
                  <a:gd name="T105" fmla="*/ 3 h 186"/>
                  <a:gd name="T106" fmla="*/ 94 w 186"/>
                  <a:gd name="T107" fmla="*/ 0 h 18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86" h="186">
                    <a:moveTo>
                      <a:pt x="94" y="11"/>
                    </a:moveTo>
                    <a:lnTo>
                      <a:pt x="73" y="14"/>
                    </a:lnTo>
                    <a:lnTo>
                      <a:pt x="52" y="22"/>
                    </a:lnTo>
                    <a:lnTo>
                      <a:pt x="35" y="36"/>
                    </a:lnTo>
                    <a:lnTo>
                      <a:pt x="22" y="53"/>
                    </a:lnTo>
                    <a:lnTo>
                      <a:pt x="15" y="72"/>
                    </a:lnTo>
                    <a:lnTo>
                      <a:pt x="11" y="94"/>
                    </a:lnTo>
                    <a:lnTo>
                      <a:pt x="15" y="114"/>
                    </a:lnTo>
                    <a:lnTo>
                      <a:pt x="22" y="134"/>
                    </a:lnTo>
                    <a:lnTo>
                      <a:pt x="35" y="151"/>
                    </a:lnTo>
                    <a:lnTo>
                      <a:pt x="52" y="165"/>
                    </a:lnTo>
                    <a:lnTo>
                      <a:pt x="73" y="172"/>
                    </a:lnTo>
                    <a:lnTo>
                      <a:pt x="94" y="175"/>
                    </a:lnTo>
                    <a:lnTo>
                      <a:pt x="110" y="173"/>
                    </a:lnTo>
                    <a:lnTo>
                      <a:pt x="125" y="169"/>
                    </a:lnTo>
                    <a:lnTo>
                      <a:pt x="138" y="162"/>
                    </a:lnTo>
                    <a:lnTo>
                      <a:pt x="150" y="151"/>
                    </a:lnTo>
                    <a:lnTo>
                      <a:pt x="164" y="134"/>
                    </a:lnTo>
                    <a:lnTo>
                      <a:pt x="173" y="114"/>
                    </a:lnTo>
                    <a:lnTo>
                      <a:pt x="176" y="94"/>
                    </a:lnTo>
                    <a:lnTo>
                      <a:pt x="173" y="72"/>
                    </a:lnTo>
                    <a:lnTo>
                      <a:pt x="164" y="53"/>
                    </a:lnTo>
                    <a:lnTo>
                      <a:pt x="150" y="36"/>
                    </a:lnTo>
                    <a:lnTo>
                      <a:pt x="138" y="25"/>
                    </a:lnTo>
                    <a:lnTo>
                      <a:pt x="125" y="17"/>
                    </a:lnTo>
                    <a:lnTo>
                      <a:pt x="110" y="13"/>
                    </a:lnTo>
                    <a:lnTo>
                      <a:pt x="94" y="11"/>
                    </a:lnTo>
                    <a:close/>
                    <a:moveTo>
                      <a:pt x="94" y="0"/>
                    </a:moveTo>
                    <a:lnTo>
                      <a:pt x="118" y="3"/>
                    </a:lnTo>
                    <a:lnTo>
                      <a:pt x="139" y="13"/>
                    </a:lnTo>
                    <a:lnTo>
                      <a:pt x="159" y="27"/>
                    </a:lnTo>
                    <a:lnTo>
                      <a:pt x="171" y="41"/>
                    </a:lnTo>
                    <a:lnTo>
                      <a:pt x="179" y="57"/>
                    </a:lnTo>
                    <a:lnTo>
                      <a:pt x="184" y="75"/>
                    </a:lnTo>
                    <a:lnTo>
                      <a:pt x="186" y="94"/>
                    </a:lnTo>
                    <a:lnTo>
                      <a:pt x="184" y="112"/>
                    </a:lnTo>
                    <a:lnTo>
                      <a:pt x="179" y="128"/>
                    </a:lnTo>
                    <a:lnTo>
                      <a:pt x="171" y="144"/>
                    </a:lnTo>
                    <a:lnTo>
                      <a:pt x="159" y="159"/>
                    </a:lnTo>
                    <a:lnTo>
                      <a:pt x="139" y="173"/>
                    </a:lnTo>
                    <a:lnTo>
                      <a:pt x="118" y="183"/>
                    </a:lnTo>
                    <a:lnTo>
                      <a:pt x="94" y="186"/>
                    </a:lnTo>
                    <a:lnTo>
                      <a:pt x="70" y="183"/>
                    </a:lnTo>
                    <a:lnTo>
                      <a:pt x="48" y="173"/>
                    </a:lnTo>
                    <a:lnTo>
                      <a:pt x="29" y="159"/>
                    </a:lnTo>
                    <a:lnTo>
                      <a:pt x="14" y="140"/>
                    </a:lnTo>
                    <a:lnTo>
                      <a:pt x="4" y="117"/>
                    </a:lnTo>
                    <a:lnTo>
                      <a:pt x="0" y="94"/>
                    </a:lnTo>
                    <a:lnTo>
                      <a:pt x="4" y="69"/>
                    </a:lnTo>
                    <a:lnTo>
                      <a:pt x="14" y="46"/>
                    </a:lnTo>
                    <a:lnTo>
                      <a:pt x="29" y="27"/>
                    </a:lnTo>
                    <a:lnTo>
                      <a:pt x="48" y="13"/>
                    </a:lnTo>
                    <a:lnTo>
                      <a:pt x="70" y="3"/>
                    </a:lnTo>
                    <a:lnTo>
                      <a:pt x="94" y="0"/>
                    </a:lnTo>
                    <a:close/>
                  </a:path>
                </a:pathLst>
              </a:custGeom>
              <a:solidFill>
                <a:srgbClr val="74606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91" name="Freeform 341"/>
              <p:cNvSpPr>
                <a:spLocks/>
              </p:cNvSpPr>
              <p:nvPr/>
            </p:nvSpPr>
            <p:spPr bwMode="auto">
              <a:xfrm>
                <a:off x="4500" y="3191"/>
                <a:ext cx="105" cy="24"/>
              </a:xfrm>
              <a:custGeom>
                <a:avLst/>
                <a:gdLst>
                  <a:gd name="T0" fmla="*/ 47 w 105"/>
                  <a:gd name="T1" fmla="*/ 0 h 24"/>
                  <a:gd name="T2" fmla="*/ 50 w 105"/>
                  <a:gd name="T3" fmla="*/ 2 h 24"/>
                  <a:gd name="T4" fmla="*/ 52 w 105"/>
                  <a:gd name="T5" fmla="*/ 3 h 24"/>
                  <a:gd name="T6" fmla="*/ 55 w 105"/>
                  <a:gd name="T7" fmla="*/ 4 h 24"/>
                  <a:gd name="T8" fmla="*/ 57 w 105"/>
                  <a:gd name="T9" fmla="*/ 4 h 24"/>
                  <a:gd name="T10" fmla="*/ 61 w 105"/>
                  <a:gd name="T11" fmla="*/ 4 h 24"/>
                  <a:gd name="T12" fmla="*/ 64 w 105"/>
                  <a:gd name="T13" fmla="*/ 4 h 24"/>
                  <a:gd name="T14" fmla="*/ 68 w 105"/>
                  <a:gd name="T15" fmla="*/ 5 h 24"/>
                  <a:gd name="T16" fmla="*/ 70 w 105"/>
                  <a:gd name="T17" fmla="*/ 6 h 24"/>
                  <a:gd name="T18" fmla="*/ 71 w 105"/>
                  <a:gd name="T19" fmla="*/ 7 h 24"/>
                  <a:gd name="T20" fmla="*/ 72 w 105"/>
                  <a:gd name="T21" fmla="*/ 8 h 24"/>
                  <a:gd name="T22" fmla="*/ 74 w 105"/>
                  <a:gd name="T23" fmla="*/ 10 h 24"/>
                  <a:gd name="T24" fmla="*/ 74 w 105"/>
                  <a:gd name="T25" fmla="*/ 12 h 24"/>
                  <a:gd name="T26" fmla="*/ 75 w 105"/>
                  <a:gd name="T27" fmla="*/ 13 h 24"/>
                  <a:gd name="T28" fmla="*/ 77 w 105"/>
                  <a:gd name="T29" fmla="*/ 13 h 24"/>
                  <a:gd name="T30" fmla="*/ 82 w 105"/>
                  <a:gd name="T31" fmla="*/ 12 h 24"/>
                  <a:gd name="T32" fmla="*/ 86 w 105"/>
                  <a:gd name="T33" fmla="*/ 12 h 24"/>
                  <a:gd name="T34" fmla="*/ 92 w 105"/>
                  <a:gd name="T35" fmla="*/ 13 h 24"/>
                  <a:gd name="T36" fmla="*/ 94 w 105"/>
                  <a:gd name="T37" fmla="*/ 13 h 24"/>
                  <a:gd name="T38" fmla="*/ 95 w 105"/>
                  <a:gd name="T39" fmla="*/ 14 h 24"/>
                  <a:gd name="T40" fmla="*/ 96 w 105"/>
                  <a:gd name="T41" fmla="*/ 16 h 24"/>
                  <a:gd name="T42" fmla="*/ 98 w 105"/>
                  <a:gd name="T43" fmla="*/ 16 h 24"/>
                  <a:gd name="T44" fmla="*/ 100 w 105"/>
                  <a:gd name="T45" fmla="*/ 17 h 24"/>
                  <a:gd name="T46" fmla="*/ 104 w 105"/>
                  <a:gd name="T47" fmla="*/ 19 h 24"/>
                  <a:gd name="T48" fmla="*/ 105 w 105"/>
                  <a:gd name="T49" fmla="*/ 21 h 24"/>
                  <a:gd name="T50" fmla="*/ 105 w 105"/>
                  <a:gd name="T51" fmla="*/ 23 h 24"/>
                  <a:gd name="T52" fmla="*/ 104 w 105"/>
                  <a:gd name="T53" fmla="*/ 24 h 24"/>
                  <a:gd name="T54" fmla="*/ 2 w 105"/>
                  <a:gd name="T55" fmla="*/ 24 h 24"/>
                  <a:gd name="T56" fmla="*/ 0 w 105"/>
                  <a:gd name="T57" fmla="*/ 23 h 24"/>
                  <a:gd name="T58" fmla="*/ 2 w 105"/>
                  <a:gd name="T59" fmla="*/ 22 h 24"/>
                  <a:gd name="T60" fmla="*/ 3 w 105"/>
                  <a:gd name="T61" fmla="*/ 20 h 24"/>
                  <a:gd name="T62" fmla="*/ 4 w 105"/>
                  <a:gd name="T63" fmla="*/ 18 h 24"/>
                  <a:gd name="T64" fmla="*/ 6 w 105"/>
                  <a:gd name="T65" fmla="*/ 17 h 24"/>
                  <a:gd name="T66" fmla="*/ 7 w 105"/>
                  <a:gd name="T67" fmla="*/ 16 h 24"/>
                  <a:gd name="T68" fmla="*/ 9 w 105"/>
                  <a:gd name="T69" fmla="*/ 14 h 24"/>
                  <a:gd name="T70" fmla="*/ 11 w 105"/>
                  <a:gd name="T71" fmla="*/ 13 h 24"/>
                  <a:gd name="T72" fmla="*/ 12 w 105"/>
                  <a:gd name="T73" fmla="*/ 12 h 24"/>
                  <a:gd name="T74" fmla="*/ 13 w 105"/>
                  <a:gd name="T75" fmla="*/ 10 h 24"/>
                  <a:gd name="T76" fmla="*/ 14 w 105"/>
                  <a:gd name="T77" fmla="*/ 9 h 24"/>
                  <a:gd name="T78" fmla="*/ 17 w 105"/>
                  <a:gd name="T79" fmla="*/ 9 h 24"/>
                  <a:gd name="T80" fmla="*/ 20 w 105"/>
                  <a:gd name="T81" fmla="*/ 9 h 24"/>
                  <a:gd name="T82" fmla="*/ 23 w 105"/>
                  <a:gd name="T83" fmla="*/ 8 h 24"/>
                  <a:gd name="T84" fmla="*/ 26 w 105"/>
                  <a:gd name="T85" fmla="*/ 7 h 24"/>
                  <a:gd name="T86" fmla="*/ 36 w 105"/>
                  <a:gd name="T87" fmla="*/ 7 h 24"/>
                  <a:gd name="T88" fmla="*/ 38 w 105"/>
                  <a:gd name="T89" fmla="*/ 7 h 24"/>
                  <a:gd name="T90" fmla="*/ 40 w 105"/>
                  <a:gd name="T91" fmla="*/ 6 h 24"/>
                  <a:gd name="T92" fmla="*/ 42 w 105"/>
                  <a:gd name="T93" fmla="*/ 5 h 24"/>
                  <a:gd name="T94" fmla="*/ 43 w 105"/>
                  <a:gd name="T95" fmla="*/ 4 h 24"/>
                  <a:gd name="T96" fmla="*/ 45 w 105"/>
                  <a:gd name="T97" fmla="*/ 2 h 24"/>
                  <a:gd name="T98" fmla="*/ 47 w 105"/>
                  <a:gd name="T99" fmla="*/ 0 h 2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05" h="24">
                    <a:moveTo>
                      <a:pt x="47" y="0"/>
                    </a:moveTo>
                    <a:lnTo>
                      <a:pt x="50" y="2"/>
                    </a:lnTo>
                    <a:lnTo>
                      <a:pt x="52" y="3"/>
                    </a:lnTo>
                    <a:lnTo>
                      <a:pt x="55" y="4"/>
                    </a:lnTo>
                    <a:lnTo>
                      <a:pt x="57" y="4"/>
                    </a:lnTo>
                    <a:lnTo>
                      <a:pt x="61" y="4"/>
                    </a:lnTo>
                    <a:lnTo>
                      <a:pt x="64" y="4"/>
                    </a:lnTo>
                    <a:lnTo>
                      <a:pt x="68" y="5"/>
                    </a:lnTo>
                    <a:lnTo>
                      <a:pt x="70" y="6"/>
                    </a:lnTo>
                    <a:lnTo>
                      <a:pt x="71" y="7"/>
                    </a:lnTo>
                    <a:lnTo>
                      <a:pt x="72" y="8"/>
                    </a:lnTo>
                    <a:lnTo>
                      <a:pt x="74" y="10"/>
                    </a:lnTo>
                    <a:lnTo>
                      <a:pt x="74" y="12"/>
                    </a:lnTo>
                    <a:lnTo>
                      <a:pt x="75" y="13"/>
                    </a:lnTo>
                    <a:lnTo>
                      <a:pt x="77" y="13"/>
                    </a:lnTo>
                    <a:lnTo>
                      <a:pt x="82" y="12"/>
                    </a:lnTo>
                    <a:lnTo>
                      <a:pt x="86" y="12"/>
                    </a:lnTo>
                    <a:lnTo>
                      <a:pt x="92" y="13"/>
                    </a:lnTo>
                    <a:lnTo>
                      <a:pt x="94" y="13"/>
                    </a:lnTo>
                    <a:lnTo>
                      <a:pt x="95" y="14"/>
                    </a:lnTo>
                    <a:lnTo>
                      <a:pt x="96" y="16"/>
                    </a:lnTo>
                    <a:lnTo>
                      <a:pt x="98" y="16"/>
                    </a:lnTo>
                    <a:lnTo>
                      <a:pt x="100" y="17"/>
                    </a:lnTo>
                    <a:lnTo>
                      <a:pt x="104" y="19"/>
                    </a:lnTo>
                    <a:lnTo>
                      <a:pt x="105" y="21"/>
                    </a:lnTo>
                    <a:lnTo>
                      <a:pt x="105" y="23"/>
                    </a:lnTo>
                    <a:lnTo>
                      <a:pt x="104" y="24"/>
                    </a:lnTo>
                    <a:lnTo>
                      <a:pt x="2" y="24"/>
                    </a:lnTo>
                    <a:lnTo>
                      <a:pt x="0" y="23"/>
                    </a:lnTo>
                    <a:lnTo>
                      <a:pt x="2" y="22"/>
                    </a:lnTo>
                    <a:lnTo>
                      <a:pt x="3" y="20"/>
                    </a:lnTo>
                    <a:lnTo>
                      <a:pt x="4" y="18"/>
                    </a:lnTo>
                    <a:lnTo>
                      <a:pt x="6" y="17"/>
                    </a:lnTo>
                    <a:lnTo>
                      <a:pt x="7" y="16"/>
                    </a:lnTo>
                    <a:lnTo>
                      <a:pt x="9" y="14"/>
                    </a:lnTo>
                    <a:lnTo>
                      <a:pt x="11" y="13"/>
                    </a:lnTo>
                    <a:lnTo>
                      <a:pt x="12" y="12"/>
                    </a:lnTo>
                    <a:lnTo>
                      <a:pt x="13" y="10"/>
                    </a:lnTo>
                    <a:lnTo>
                      <a:pt x="14" y="9"/>
                    </a:lnTo>
                    <a:lnTo>
                      <a:pt x="17" y="9"/>
                    </a:lnTo>
                    <a:lnTo>
                      <a:pt x="20" y="9"/>
                    </a:lnTo>
                    <a:lnTo>
                      <a:pt x="23" y="8"/>
                    </a:lnTo>
                    <a:lnTo>
                      <a:pt x="26" y="7"/>
                    </a:lnTo>
                    <a:lnTo>
                      <a:pt x="36" y="7"/>
                    </a:lnTo>
                    <a:lnTo>
                      <a:pt x="38" y="7"/>
                    </a:lnTo>
                    <a:lnTo>
                      <a:pt x="40" y="6"/>
                    </a:lnTo>
                    <a:lnTo>
                      <a:pt x="42" y="5"/>
                    </a:lnTo>
                    <a:lnTo>
                      <a:pt x="43" y="4"/>
                    </a:lnTo>
                    <a:lnTo>
                      <a:pt x="45" y="2"/>
                    </a:lnTo>
                    <a:lnTo>
                      <a:pt x="47" y="0"/>
                    </a:lnTo>
                    <a:close/>
                  </a:path>
                </a:pathLst>
              </a:custGeom>
              <a:solidFill>
                <a:srgbClr val="74606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92" name="Freeform 342"/>
              <p:cNvSpPr>
                <a:spLocks noEditPoints="1"/>
              </p:cNvSpPr>
              <p:nvPr/>
            </p:nvSpPr>
            <p:spPr bwMode="auto">
              <a:xfrm>
                <a:off x="4520" y="3255"/>
                <a:ext cx="23" cy="24"/>
              </a:xfrm>
              <a:custGeom>
                <a:avLst/>
                <a:gdLst>
                  <a:gd name="T0" fmla="*/ 12 w 23"/>
                  <a:gd name="T1" fmla="*/ 5 h 24"/>
                  <a:gd name="T2" fmla="*/ 8 w 23"/>
                  <a:gd name="T3" fmla="*/ 5 h 24"/>
                  <a:gd name="T4" fmla="*/ 6 w 23"/>
                  <a:gd name="T5" fmla="*/ 8 h 24"/>
                  <a:gd name="T6" fmla="*/ 5 w 23"/>
                  <a:gd name="T7" fmla="*/ 9 h 24"/>
                  <a:gd name="T8" fmla="*/ 5 w 23"/>
                  <a:gd name="T9" fmla="*/ 12 h 24"/>
                  <a:gd name="T10" fmla="*/ 5 w 23"/>
                  <a:gd name="T11" fmla="*/ 13 h 24"/>
                  <a:gd name="T12" fmla="*/ 6 w 23"/>
                  <a:gd name="T13" fmla="*/ 15 h 24"/>
                  <a:gd name="T14" fmla="*/ 6 w 23"/>
                  <a:gd name="T15" fmla="*/ 16 h 24"/>
                  <a:gd name="T16" fmla="*/ 8 w 23"/>
                  <a:gd name="T17" fmla="*/ 17 h 24"/>
                  <a:gd name="T18" fmla="*/ 9 w 23"/>
                  <a:gd name="T19" fmla="*/ 17 h 24"/>
                  <a:gd name="T20" fmla="*/ 12 w 23"/>
                  <a:gd name="T21" fmla="*/ 18 h 24"/>
                  <a:gd name="T22" fmla="*/ 13 w 23"/>
                  <a:gd name="T23" fmla="*/ 17 h 24"/>
                  <a:gd name="T24" fmla="*/ 15 w 23"/>
                  <a:gd name="T25" fmla="*/ 17 h 24"/>
                  <a:gd name="T26" fmla="*/ 16 w 23"/>
                  <a:gd name="T27" fmla="*/ 16 h 24"/>
                  <a:gd name="T28" fmla="*/ 17 w 23"/>
                  <a:gd name="T29" fmla="*/ 15 h 24"/>
                  <a:gd name="T30" fmla="*/ 17 w 23"/>
                  <a:gd name="T31" fmla="*/ 12 h 24"/>
                  <a:gd name="T32" fmla="*/ 17 w 23"/>
                  <a:gd name="T33" fmla="*/ 10 h 24"/>
                  <a:gd name="T34" fmla="*/ 16 w 23"/>
                  <a:gd name="T35" fmla="*/ 8 h 24"/>
                  <a:gd name="T36" fmla="*/ 15 w 23"/>
                  <a:gd name="T37" fmla="*/ 6 h 24"/>
                  <a:gd name="T38" fmla="*/ 14 w 23"/>
                  <a:gd name="T39" fmla="*/ 5 h 24"/>
                  <a:gd name="T40" fmla="*/ 12 w 23"/>
                  <a:gd name="T41" fmla="*/ 5 h 24"/>
                  <a:gd name="T42" fmla="*/ 12 w 23"/>
                  <a:gd name="T43" fmla="*/ 0 h 24"/>
                  <a:gd name="T44" fmla="*/ 15 w 23"/>
                  <a:gd name="T45" fmla="*/ 1 h 24"/>
                  <a:gd name="T46" fmla="*/ 18 w 23"/>
                  <a:gd name="T47" fmla="*/ 2 h 24"/>
                  <a:gd name="T48" fmla="*/ 21 w 23"/>
                  <a:gd name="T49" fmla="*/ 4 h 24"/>
                  <a:gd name="T50" fmla="*/ 22 w 23"/>
                  <a:gd name="T51" fmla="*/ 8 h 24"/>
                  <a:gd name="T52" fmla="*/ 23 w 23"/>
                  <a:gd name="T53" fmla="*/ 12 h 24"/>
                  <a:gd name="T54" fmla="*/ 22 w 23"/>
                  <a:gd name="T55" fmla="*/ 15 h 24"/>
                  <a:gd name="T56" fmla="*/ 21 w 23"/>
                  <a:gd name="T57" fmla="*/ 18 h 24"/>
                  <a:gd name="T58" fmla="*/ 18 w 23"/>
                  <a:gd name="T59" fmla="*/ 22 h 24"/>
                  <a:gd name="T60" fmla="*/ 15 w 23"/>
                  <a:gd name="T61" fmla="*/ 24 h 24"/>
                  <a:gd name="T62" fmla="*/ 12 w 23"/>
                  <a:gd name="T63" fmla="*/ 24 h 24"/>
                  <a:gd name="T64" fmla="*/ 7 w 23"/>
                  <a:gd name="T65" fmla="*/ 24 h 24"/>
                  <a:gd name="T66" fmla="*/ 4 w 23"/>
                  <a:gd name="T67" fmla="*/ 22 h 24"/>
                  <a:gd name="T68" fmla="*/ 2 w 23"/>
                  <a:gd name="T69" fmla="*/ 18 h 24"/>
                  <a:gd name="T70" fmla="*/ 1 w 23"/>
                  <a:gd name="T71" fmla="*/ 15 h 24"/>
                  <a:gd name="T72" fmla="*/ 0 w 23"/>
                  <a:gd name="T73" fmla="*/ 12 h 24"/>
                  <a:gd name="T74" fmla="*/ 1 w 23"/>
                  <a:gd name="T75" fmla="*/ 8 h 24"/>
                  <a:gd name="T76" fmla="*/ 2 w 23"/>
                  <a:gd name="T77" fmla="*/ 4 h 24"/>
                  <a:gd name="T78" fmla="*/ 4 w 23"/>
                  <a:gd name="T79" fmla="*/ 2 h 24"/>
                  <a:gd name="T80" fmla="*/ 7 w 23"/>
                  <a:gd name="T81" fmla="*/ 1 h 24"/>
                  <a:gd name="T82" fmla="*/ 12 w 23"/>
                  <a:gd name="T83" fmla="*/ 0 h 2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3" h="24">
                    <a:moveTo>
                      <a:pt x="12" y="5"/>
                    </a:moveTo>
                    <a:lnTo>
                      <a:pt x="8" y="5"/>
                    </a:lnTo>
                    <a:lnTo>
                      <a:pt x="6" y="8"/>
                    </a:lnTo>
                    <a:lnTo>
                      <a:pt x="5" y="9"/>
                    </a:lnTo>
                    <a:lnTo>
                      <a:pt x="5" y="12"/>
                    </a:lnTo>
                    <a:lnTo>
                      <a:pt x="5" y="13"/>
                    </a:lnTo>
                    <a:lnTo>
                      <a:pt x="6" y="15"/>
                    </a:lnTo>
                    <a:lnTo>
                      <a:pt x="6" y="16"/>
                    </a:lnTo>
                    <a:lnTo>
                      <a:pt x="8" y="17"/>
                    </a:lnTo>
                    <a:lnTo>
                      <a:pt x="9" y="17"/>
                    </a:lnTo>
                    <a:lnTo>
                      <a:pt x="12" y="18"/>
                    </a:lnTo>
                    <a:lnTo>
                      <a:pt x="13" y="17"/>
                    </a:lnTo>
                    <a:lnTo>
                      <a:pt x="15" y="17"/>
                    </a:lnTo>
                    <a:lnTo>
                      <a:pt x="16" y="16"/>
                    </a:lnTo>
                    <a:lnTo>
                      <a:pt x="17" y="15"/>
                    </a:lnTo>
                    <a:lnTo>
                      <a:pt x="17" y="12"/>
                    </a:lnTo>
                    <a:lnTo>
                      <a:pt x="17" y="10"/>
                    </a:lnTo>
                    <a:lnTo>
                      <a:pt x="16" y="8"/>
                    </a:lnTo>
                    <a:lnTo>
                      <a:pt x="15" y="6"/>
                    </a:lnTo>
                    <a:lnTo>
                      <a:pt x="14" y="5"/>
                    </a:lnTo>
                    <a:lnTo>
                      <a:pt x="12" y="5"/>
                    </a:lnTo>
                    <a:close/>
                    <a:moveTo>
                      <a:pt x="12" y="0"/>
                    </a:moveTo>
                    <a:lnTo>
                      <a:pt x="15" y="1"/>
                    </a:lnTo>
                    <a:lnTo>
                      <a:pt x="18" y="2"/>
                    </a:lnTo>
                    <a:lnTo>
                      <a:pt x="21" y="4"/>
                    </a:lnTo>
                    <a:lnTo>
                      <a:pt x="22" y="8"/>
                    </a:lnTo>
                    <a:lnTo>
                      <a:pt x="23" y="12"/>
                    </a:lnTo>
                    <a:lnTo>
                      <a:pt x="22" y="15"/>
                    </a:lnTo>
                    <a:lnTo>
                      <a:pt x="21" y="18"/>
                    </a:lnTo>
                    <a:lnTo>
                      <a:pt x="18" y="22"/>
                    </a:lnTo>
                    <a:lnTo>
                      <a:pt x="15" y="24"/>
                    </a:lnTo>
                    <a:lnTo>
                      <a:pt x="12" y="24"/>
                    </a:lnTo>
                    <a:lnTo>
                      <a:pt x="7" y="24"/>
                    </a:lnTo>
                    <a:lnTo>
                      <a:pt x="4" y="22"/>
                    </a:lnTo>
                    <a:lnTo>
                      <a:pt x="2" y="18"/>
                    </a:lnTo>
                    <a:lnTo>
                      <a:pt x="1" y="15"/>
                    </a:lnTo>
                    <a:lnTo>
                      <a:pt x="0" y="12"/>
                    </a:lnTo>
                    <a:lnTo>
                      <a:pt x="1" y="8"/>
                    </a:lnTo>
                    <a:lnTo>
                      <a:pt x="2" y="4"/>
                    </a:lnTo>
                    <a:lnTo>
                      <a:pt x="4" y="2"/>
                    </a:lnTo>
                    <a:lnTo>
                      <a:pt x="7" y="1"/>
                    </a:lnTo>
                    <a:lnTo>
                      <a:pt x="12" y="0"/>
                    </a:lnTo>
                    <a:close/>
                  </a:path>
                </a:pathLst>
              </a:custGeom>
              <a:solidFill>
                <a:srgbClr val="74606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93" name="Freeform 343"/>
              <p:cNvSpPr>
                <a:spLocks noEditPoints="1"/>
              </p:cNvSpPr>
              <p:nvPr/>
            </p:nvSpPr>
            <p:spPr bwMode="auto">
              <a:xfrm>
                <a:off x="4564" y="3255"/>
                <a:ext cx="24" cy="24"/>
              </a:xfrm>
              <a:custGeom>
                <a:avLst/>
                <a:gdLst>
                  <a:gd name="T0" fmla="*/ 13 w 24"/>
                  <a:gd name="T1" fmla="*/ 5 h 24"/>
                  <a:gd name="T2" fmla="*/ 11 w 24"/>
                  <a:gd name="T3" fmla="*/ 5 h 24"/>
                  <a:gd name="T4" fmla="*/ 8 w 24"/>
                  <a:gd name="T5" fmla="*/ 6 h 24"/>
                  <a:gd name="T6" fmla="*/ 7 w 24"/>
                  <a:gd name="T7" fmla="*/ 8 h 24"/>
                  <a:gd name="T8" fmla="*/ 6 w 24"/>
                  <a:gd name="T9" fmla="*/ 10 h 24"/>
                  <a:gd name="T10" fmla="*/ 6 w 24"/>
                  <a:gd name="T11" fmla="*/ 12 h 24"/>
                  <a:gd name="T12" fmla="*/ 6 w 24"/>
                  <a:gd name="T13" fmla="*/ 15 h 24"/>
                  <a:gd name="T14" fmla="*/ 7 w 24"/>
                  <a:gd name="T15" fmla="*/ 16 h 24"/>
                  <a:gd name="T16" fmla="*/ 10 w 24"/>
                  <a:gd name="T17" fmla="*/ 17 h 24"/>
                  <a:gd name="T18" fmla="*/ 11 w 24"/>
                  <a:gd name="T19" fmla="*/ 17 h 24"/>
                  <a:gd name="T20" fmla="*/ 13 w 24"/>
                  <a:gd name="T21" fmla="*/ 18 h 24"/>
                  <a:gd name="T22" fmla="*/ 15 w 24"/>
                  <a:gd name="T23" fmla="*/ 17 h 24"/>
                  <a:gd name="T24" fmla="*/ 16 w 24"/>
                  <a:gd name="T25" fmla="*/ 17 h 24"/>
                  <a:gd name="T26" fmla="*/ 17 w 24"/>
                  <a:gd name="T27" fmla="*/ 16 h 24"/>
                  <a:gd name="T28" fmla="*/ 17 w 24"/>
                  <a:gd name="T29" fmla="*/ 15 h 24"/>
                  <a:gd name="T30" fmla="*/ 19 w 24"/>
                  <a:gd name="T31" fmla="*/ 13 h 24"/>
                  <a:gd name="T32" fmla="*/ 19 w 24"/>
                  <a:gd name="T33" fmla="*/ 12 h 24"/>
                  <a:gd name="T34" fmla="*/ 19 w 24"/>
                  <a:gd name="T35" fmla="*/ 9 h 24"/>
                  <a:gd name="T36" fmla="*/ 17 w 24"/>
                  <a:gd name="T37" fmla="*/ 8 h 24"/>
                  <a:gd name="T38" fmla="*/ 15 w 24"/>
                  <a:gd name="T39" fmla="*/ 5 h 24"/>
                  <a:gd name="T40" fmla="*/ 13 w 24"/>
                  <a:gd name="T41" fmla="*/ 5 h 24"/>
                  <a:gd name="T42" fmla="*/ 13 w 24"/>
                  <a:gd name="T43" fmla="*/ 0 h 24"/>
                  <a:gd name="T44" fmla="*/ 17 w 24"/>
                  <a:gd name="T45" fmla="*/ 1 h 24"/>
                  <a:gd name="T46" fmla="*/ 19 w 24"/>
                  <a:gd name="T47" fmla="*/ 2 h 24"/>
                  <a:gd name="T48" fmla="*/ 22 w 24"/>
                  <a:gd name="T49" fmla="*/ 4 h 24"/>
                  <a:gd name="T50" fmla="*/ 24 w 24"/>
                  <a:gd name="T51" fmla="*/ 8 h 24"/>
                  <a:gd name="T52" fmla="*/ 24 w 24"/>
                  <a:gd name="T53" fmla="*/ 12 h 24"/>
                  <a:gd name="T54" fmla="*/ 24 w 24"/>
                  <a:gd name="T55" fmla="*/ 15 h 24"/>
                  <a:gd name="T56" fmla="*/ 22 w 24"/>
                  <a:gd name="T57" fmla="*/ 18 h 24"/>
                  <a:gd name="T58" fmla="*/ 19 w 24"/>
                  <a:gd name="T59" fmla="*/ 22 h 24"/>
                  <a:gd name="T60" fmla="*/ 17 w 24"/>
                  <a:gd name="T61" fmla="*/ 24 h 24"/>
                  <a:gd name="T62" fmla="*/ 13 w 24"/>
                  <a:gd name="T63" fmla="*/ 24 h 24"/>
                  <a:gd name="T64" fmla="*/ 10 w 24"/>
                  <a:gd name="T65" fmla="*/ 24 h 24"/>
                  <a:gd name="T66" fmla="*/ 5 w 24"/>
                  <a:gd name="T67" fmla="*/ 22 h 24"/>
                  <a:gd name="T68" fmla="*/ 3 w 24"/>
                  <a:gd name="T69" fmla="*/ 18 h 24"/>
                  <a:gd name="T70" fmla="*/ 1 w 24"/>
                  <a:gd name="T71" fmla="*/ 15 h 24"/>
                  <a:gd name="T72" fmla="*/ 0 w 24"/>
                  <a:gd name="T73" fmla="*/ 12 h 24"/>
                  <a:gd name="T74" fmla="*/ 1 w 24"/>
                  <a:gd name="T75" fmla="*/ 8 h 24"/>
                  <a:gd name="T76" fmla="*/ 3 w 24"/>
                  <a:gd name="T77" fmla="*/ 4 h 24"/>
                  <a:gd name="T78" fmla="*/ 5 w 24"/>
                  <a:gd name="T79" fmla="*/ 2 h 24"/>
                  <a:gd name="T80" fmla="*/ 10 w 24"/>
                  <a:gd name="T81" fmla="*/ 1 h 24"/>
                  <a:gd name="T82" fmla="*/ 13 w 24"/>
                  <a:gd name="T83" fmla="*/ 0 h 2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 h="24">
                    <a:moveTo>
                      <a:pt x="13" y="5"/>
                    </a:moveTo>
                    <a:lnTo>
                      <a:pt x="11" y="5"/>
                    </a:lnTo>
                    <a:lnTo>
                      <a:pt x="8" y="6"/>
                    </a:lnTo>
                    <a:lnTo>
                      <a:pt x="7" y="8"/>
                    </a:lnTo>
                    <a:lnTo>
                      <a:pt x="6" y="10"/>
                    </a:lnTo>
                    <a:lnTo>
                      <a:pt x="6" y="12"/>
                    </a:lnTo>
                    <a:lnTo>
                      <a:pt x="6" y="15"/>
                    </a:lnTo>
                    <a:lnTo>
                      <a:pt x="7" y="16"/>
                    </a:lnTo>
                    <a:lnTo>
                      <a:pt x="10" y="17"/>
                    </a:lnTo>
                    <a:lnTo>
                      <a:pt x="11" y="17"/>
                    </a:lnTo>
                    <a:lnTo>
                      <a:pt x="13" y="18"/>
                    </a:lnTo>
                    <a:lnTo>
                      <a:pt x="15" y="17"/>
                    </a:lnTo>
                    <a:lnTo>
                      <a:pt x="16" y="17"/>
                    </a:lnTo>
                    <a:lnTo>
                      <a:pt x="17" y="16"/>
                    </a:lnTo>
                    <a:lnTo>
                      <a:pt x="17" y="15"/>
                    </a:lnTo>
                    <a:lnTo>
                      <a:pt x="19" y="13"/>
                    </a:lnTo>
                    <a:lnTo>
                      <a:pt x="19" y="12"/>
                    </a:lnTo>
                    <a:lnTo>
                      <a:pt x="19" y="9"/>
                    </a:lnTo>
                    <a:lnTo>
                      <a:pt x="17" y="8"/>
                    </a:lnTo>
                    <a:lnTo>
                      <a:pt x="15" y="5"/>
                    </a:lnTo>
                    <a:lnTo>
                      <a:pt x="13" y="5"/>
                    </a:lnTo>
                    <a:close/>
                    <a:moveTo>
                      <a:pt x="13" y="0"/>
                    </a:moveTo>
                    <a:lnTo>
                      <a:pt x="17" y="1"/>
                    </a:lnTo>
                    <a:lnTo>
                      <a:pt x="19" y="2"/>
                    </a:lnTo>
                    <a:lnTo>
                      <a:pt x="22" y="4"/>
                    </a:lnTo>
                    <a:lnTo>
                      <a:pt x="24" y="8"/>
                    </a:lnTo>
                    <a:lnTo>
                      <a:pt x="24" y="12"/>
                    </a:lnTo>
                    <a:lnTo>
                      <a:pt x="24" y="15"/>
                    </a:lnTo>
                    <a:lnTo>
                      <a:pt x="22" y="18"/>
                    </a:lnTo>
                    <a:lnTo>
                      <a:pt x="19" y="22"/>
                    </a:lnTo>
                    <a:lnTo>
                      <a:pt x="17" y="24"/>
                    </a:lnTo>
                    <a:lnTo>
                      <a:pt x="13" y="24"/>
                    </a:lnTo>
                    <a:lnTo>
                      <a:pt x="10" y="24"/>
                    </a:lnTo>
                    <a:lnTo>
                      <a:pt x="5" y="22"/>
                    </a:lnTo>
                    <a:lnTo>
                      <a:pt x="3" y="18"/>
                    </a:lnTo>
                    <a:lnTo>
                      <a:pt x="1" y="15"/>
                    </a:lnTo>
                    <a:lnTo>
                      <a:pt x="0" y="12"/>
                    </a:lnTo>
                    <a:lnTo>
                      <a:pt x="1" y="8"/>
                    </a:lnTo>
                    <a:lnTo>
                      <a:pt x="3" y="4"/>
                    </a:lnTo>
                    <a:lnTo>
                      <a:pt x="5" y="2"/>
                    </a:lnTo>
                    <a:lnTo>
                      <a:pt x="10" y="1"/>
                    </a:lnTo>
                    <a:lnTo>
                      <a:pt x="13" y="0"/>
                    </a:lnTo>
                    <a:close/>
                  </a:path>
                </a:pathLst>
              </a:custGeom>
              <a:solidFill>
                <a:srgbClr val="74606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94" name="Freeform 344"/>
              <p:cNvSpPr>
                <a:spLocks/>
              </p:cNvSpPr>
              <p:nvPr/>
            </p:nvSpPr>
            <p:spPr bwMode="auto">
              <a:xfrm>
                <a:off x="4506" y="3224"/>
                <a:ext cx="94" cy="41"/>
              </a:xfrm>
              <a:custGeom>
                <a:avLst/>
                <a:gdLst>
                  <a:gd name="T0" fmla="*/ 0 w 94"/>
                  <a:gd name="T1" fmla="*/ 0 h 41"/>
                  <a:gd name="T2" fmla="*/ 94 w 94"/>
                  <a:gd name="T3" fmla="*/ 0 h 41"/>
                  <a:gd name="T4" fmla="*/ 88 w 94"/>
                  <a:gd name="T5" fmla="*/ 33 h 41"/>
                  <a:gd name="T6" fmla="*/ 80 w 94"/>
                  <a:gd name="T7" fmla="*/ 26 h 41"/>
                  <a:gd name="T8" fmla="*/ 71 w 94"/>
                  <a:gd name="T9" fmla="*/ 23 h 41"/>
                  <a:gd name="T10" fmla="*/ 61 w 94"/>
                  <a:gd name="T11" fmla="*/ 26 h 41"/>
                  <a:gd name="T12" fmla="*/ 54 w 94"/>
                  <a:gd name="T13" fmla="*/ 31 h 41"/>
                  <a:gd name="T14" fmla="*/ 50 w 94"/>
                  <a:gd name="T15" fmla="*/ 41 h 41"/>
                  <a:gd name="T16" fmla="*/ 45 w 94"/>
                  <a:gd name="T17" fmla="*/ 41 h 41"/>
                  <a:gd name="T18" fmla="*/ 42 w 94"/>
                  <a:gd name="T19" fmla="*/ 31 h 41"/>
                  <a:gd name="T20" fmla="*/ 35 w 94"/>
                  <a:gd name="T21" fmla="*/ 25 h 41"/>
                  <a:gd name="T22" fmla="*/ 26 w 94"/>
                  <a:gd name="T23" fmla="*/ 21 h 41"/>
                  <a:gd name="T24" fmla="*/ 17 w 94"/>
                  <a:gd name="T25" fmla="*/ 23 h 41"/>
                  <a:gd name="T26" fmla="*/ 11 w 94"/>
                  <a:gd name="T27" fmla="*/ 29 h 41"/>
                  <a:gd name="T28" fmla="*/ 6 w 94"/>
                  <a:gd name="T29" fmla="*/ 36 h 41"/>
                  <a:gd name="T30" fmla="*/ 0 w 94"/>
                  <a:gd name="T31" fmla="*/ 0 h 4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94" h="41">
                    <a:moveTo>
                      <a:pt x="0" y="0"/>
                    </a:moveTo>
                    <a:lnTo>
                      <a:pt x="94" y="0"/>
                    </a:lnTo>
                    <a:lnTo>
                      <a:pt x="88" y="33"/>
                    </a:lnTo>
                    <a:lnTo>
                      <a:pt x="80" y="26"/>
                    </a:lnTo>
                    <a:lnTo>
                      <a:pt x="71" y="23"/>
                    </a:lnTo>
                    <a:lnTo>
                      <a:pt x="61" y="26"/>
                    </a:lnTo>
                    <a:lnTo>
                      <a:pt x="54" y="31"/>
                    </a:lnTo>
                    <a:lnTo>
                      <a:pt x="50" y="41"/>
                    </a:lnTo>
                    <a:lnTo>
                      <a:pt x="45" y="41"/>
                    </a:lnTo>
                    <a:lnTo>
                      <a:pt x="42" y="31"/>
                    </a:lnTo>
                    <a:lnTo>
                      <a:pt x="35" y="25"/>
                    </a:lnTo>
                    <a:lnTo>
                      <a:pt x="26" y="21"/>
                    </a:lnTo>
                    <a:lnTo>
                      <a:pt x="17" y="23"/>
                    </a:lnTo>
                    <a:lnTo>
                      <a:pt x="11" y="29"/>
                    </a:lnTo>
                    <a:lnTo>
                      <a:pt x="6" y="36"/>
                    </a:lnTo>
                    <a:lnTo>
                      <a:pt x="0" y="0"/>
                    </a:lnTo>
                    <a:close/>
                  </a:path>
                </a:pathLst>
              </a:custGeom>
              <a:solidFill>
                <a:srgbClr val="74606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95" name="Freeform 345"/>
              <p:cNvSpPr>
                <a:spLocks/>
              </p:cNvSpPr>
              <p:nvPr/>
            </p:nvSpPr>
            <p:spPr bwMode="auto">
              <a:xfrm>
                <a:off x="3507" y="2895"/>
                <a:ext cx="8" cy="11"/>
              </a:xfrm>
              <a:custGeom>
                <a:avLst/>
                <a:gdLst>
                  <a:gd name="T0" fmla="*/ 5 w 8"/>
                  <a:gd name="T1" fmla="*/ 0 h 11"/>
                  <a:gd name="T2" fmla="*/ 8 w 8"/>
                  <a:gd name="T3" fmla="*/ 2 h 11"/>
                  <a:gd name="T4" fmla="*/ 3 w 8"/>
                  <a:gd name="T5" fmla="*/ 11 h 11"/>
                  <a:gd name="T6" fmla="*/ 0 w 8"/>
                  <a:gd name="T7" fmla="*/ 9 h 11"/>
                  <a:gd name="T8" fmla="*/ 5 w 8"/>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11">
                    <a:moveTo>
                      <a:pt x="5" y="0"/>
                    </a:moveTo>
                    <a:lnTo>
                      <a:pt x="8" y="2"/>
                    </a:lnTo>
                    <a:lnTo>
                      <a:pt x="3" y="11"/>
                    </a:lnTo>
                    <a:lnTo>
                      <a:pt x="0" y="9"/>
                    </a:lnTo>
                    <a:lnTo>
                      <a:pt x="5" y="0"/>
                    </a:lnTo>
                    <a:close/>
                  </a:path>
                </a:pathLst>
              </a:custGeom>
              <a:solidFill>
                <a:srgbClr val="74606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96" name="Freeform 346"/>
              <p:cNvSpPr>
                <a:spLocks noEditPoints="1"/>
              </p:cNvSpPr>
              <p:nvPr/>
            </p:nvSpPr>
            <p:spPr bwMode="auto">
              <a:xfrm>
                <a:off x="3526" y="2902"/>
                <a:ext cx="917" cy="333"/>
              </a:xfrm>
              <a:custGeom>
                <a:avLst/>
                <a:gdLst>
                  <a:gd name="T0" fmla="*/ 908 w 917"/>
                  <a:gd name="T1" fmla="*/ 330 h 333"/>
                  <a:gd name="T2" fmla="*/ 889 w 917"/>
                  <a:gd name="T3" fmla="*/ 324 h 333"/>
                  <a:gd name="T4" fmla="*/ 869 w 917"/>
                  <a:gd name="T5" fmla="*/ 306 h 333"/>
                  <a:gd name="T6" fmla="*/ 839 w 917"/>
                  <a:gd name="T7" fmla="*/ 295 h 333"/>
                  <a:gd name="T8" fmla="*/ 839 w 917"/>
                  <a:gd name="T9" fmla="*/ 295 h 333"/>
                  <a:gd name="T10" fmla="*/ 812 w 917"/>
                  <a:gd name="T11" fmla="*/ 297 h 333"/>
                  <a:gd name="T12" fmla="*/ 794 w 917"/>
                  <a:gd name="T13" fmla="*/ 291 h 333"/>
                  <a:gd name="T14" fmla="*/ 773 w 917"/>
                  <a:gd name="T15" fmla="*/ 272 h 333"/>
                  <a:gd name="T16" fmla="*/ 743 w 917"/>
                  <a:gd name="T17" fmla="*/ 261 h 333"/>
                  <a:gd name="T18" fmla="*/ 743 w 917"/>
                  <a:gd name="T19" fmla="*/ 261 h 333"/>
                  <a:gd name="T20" fmla="*/ 716 w 917"/>
                  <a:gd name="T21" fmla="*/ 263 h 333"/>
                  <a:gd name="T22" fmla="*/ 699 w 917"/>
                  <a:gd name="T23" fmla="*/ 256 h 333"/>
                  <a:gd name="T24" fmla="*/ 678 w 917"/>
                  <a:gd name="T25" fmla="*/ 238 h 333"/>
                  <a:gd name="T26" fmla="*/ 649 w 917"/>
                  <a:gd name="T27" fmla="*/ 228 h 333"/>
                  <a:gd name="T28" fmla="*/ 649 w 917"/>
                  <a:gd name="T29" fmla="*/ 228 h 333"/>
                  <a:gd name="T30" fmla="*/ 621 w 917"/>
                  <a:gd name="T31" fmla="*/ 229 h 333"/>
                  <a:gd name="T32" fmla="*/ 603 w 917"/>
                  <a:gd name="T33" fmla="*/ 223 h 333"/>
                  <a:gd name="T34" fmla="*/ 582 w 917"/>
                  <a:gd name="T35" fmla="*/ 204 h 333"/>
                  <a:gd name="T36" fmla="*/ 553 w 917"/>
                  <a:gd name="T37" fmla="*/ 194 h 333"/>
                  <a:gd name="T38" fmla="*/ 553 w 917"/>
                  <a:gd name="T39" fmla="*/ 194 h 333"/>
                  <a:gd name="T40" fmla="*/ 525 w 917"/>
                  <a:gd name="T41" fmla="*/ 195 h 333"/>
                  <a:gd name="T42" fmla="*/ 508 w 917"/>
                  <a:gd name="T43" fmla="*/ 188 h 333"/>
                  <a:gd name="T44" fmla="*/ 487 w 917"/>
                  <a:gd name="T45" fmla="*/ 171 h 333"/>
                  <a:gd name="T46" fmla="*/ 457 w 917"/>
                  <a:gd name="T47" fmla="*/ 160 h 333"/>
                  <a:gd name="T48" fmla="*/ 457 w 917"/>
                  <a:gd name="T49" fmla="*/ 160 h 333"/>
                  <a:gd name="T50" fmla="*/ 430 w 917"/>
                  <a:gd name="T51" fmla="*/ 161 h 333"/>
                  <a:gd name="T52" fmla="*/ 412 w 917"/>
                  <a:gd name="T53" fmla="*/ 155 h 333"/>
                  <a:gd name="T54" fmla="*/ 392 w 917"/>
                  <a:gd name="T55" fmla="*/ 136 h 333"/>
                  <a:gd name="T56" fmla="*/ 361 w 917"/>
                  <a:gd name="T57" fmla="*/ 126 h 333"/>
                  <a:gd name="T58" fmla="*/ 361 w 917"/>
                  <a:gd name="T59" fmla="*/ 126 h 333"/>
                  <a:gd name="T60" fmla="*/ 335 w 917"/>
                  <a:gd name="T61" fmla="*/ 128 h 333"/>
                  <a:gd name="T62" fmla="*/ 316 w 917"/>
                  <a:gd name="T63" fmla="*/ 121 h 333"/>
                  <a:gd name="T64" fmla="*/ 296 w 917"/>
                  <a:gd name="T65" fmla="*/ 103 h 333"/>
                  <a:gd name="T66" fmla="*/ 266 w 917"/>
                  <a:gd name="T67" fmla="*/ 92 h 333"/>
                  <a:gd name="T68" fmla="*/ 266 w 917"/>
                  <a:gd name="T69" fmla="*/ 92 h 333"/>
                  <a:gd name="T70" fmla="*/ 239 w 917"/>
                  <a:gd name="T71" fmla="*/ 93 h 333"/>
                  <a:gd name="T72" fmla="*/ 221 w 917"/>
                  <a:gd name="T73" fmla="*/ 87 h 333"/>
                  <a:gd name="T74" fmla="*/ 200 w 917"/>
                  <a:gd name="T75" fmla="*/ 69 h 333"/>
                  <a:gd name="T76" fmla="*/ 170 w 917"/>
                  <a:gd name="T77" fmla="*/ 59 h 333"/>
                  <a:gd name="T78" fmla="*/ 170 w 917"/>
                  <a:gd name="T79" fmla="*/ 59 h 333"/>
                  <a:gd name="T80" fmla="*/ 143 w 917"/>
                  <a:gd name="T81" fmla="*/ 60 h 333"/>
                  <a:gd name="T82" fmla="*/ 125 w 917"/>
                  <a:gd name="T83" fmla="*/ 54 h 333"/>
                  <a:gd name="T84" fmla="*/ 104 w 917"/>
                  <a:gd name="T85" fmla="*/ 35 h 333"/>
                  <a:gd name="T86" fmla="*/ 74 w 917"/>
                  <a:gd name="T87" fmla="*/ 24 h 333"/>
                  <a:gd name="T88" fmla="*/ 74 w 917"/>
                  <a:gd name="T89" fmla="*/ 24 h 333"/>
                  <a:gd name="T90" fmla="*/ 47 w 917"/>
                  <a:gd name="T91" fmla="*/ 26 h 333"/>
                  <a:gd name="T92" fmla="*/ 29 w 917"/>
                  <a:gd name="T93" fmla="*/ 19 h 333"/>
                  <a:gd name="T94" fmla="*/ 9 w 917"/>
                  <a:gd name="T95" fmla="*/ 1 h 33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917" h="333">
                    <a:moveTo>
                      <a:pt x="911" y="321"/>
                    </a:moveTo>
                    <a:lnTo>
                      <a:pt x="917" y="323"/>
                    </a:lnTo>
                    <a:lnTo>
                      <a:pt x="914" y="333"/>
                    </a:lnTo>
                    <a:lnTo>
                      <a:pt x="908" y="330"/>
                    </a:lnTo>
                    <a:lnTo>
                      <a:pt x="911" y="321"/>
                    </a:lnTo>
                    <a:close/>
                    <a:moveTo>
                      <a:pt x="887" y="312"/>
                    </a:moveTo>
                    <a:lnTo>
                      <a:pt x="893" y="314"/>
                    </a:lnTo>
                    <a:lnTo>
                      <a:pt x="889" y="324"/>
                    </a:lnTo>
                    <a:lnTo>
                      <a:pt x="884" y="322"/>
                    </a:lnTo>
                    <a:lnTo>
                      <a:pt x="887" y="312"/>
                    </a:lnTo>
                    <a:close/>
                    <a:moveTo>
                      <a:pt x="864" y="303"/>
                    </a:moveTo>
                    <a:lnTo>
                      <a:pt x="869" y="306"/>
                    </a:lnTo>
                    <a:lnTo>
                      <a:pt x="866" y="315"/>
                    </a:lnTo>
                    <a:lnTo>
                      <a:pt x="860" y="313"/>
                    </a:lnTo>
                    <a:lnTo>
                      <a:pt x="864" y="303"/>
                    </a:lnTo>
                    <a:close/>
                    <a:moveTo>
                      <a:pt x="839" y="295"/>
                    </a:moveTo>
                    <a:lnTo>
                      <a:pt x="845" y="297"/>
                    </a:lnTo>
                    <a:lnTo>
                      <a:pt x="842" y="307"/>
                    </a:lnTo>
                    <a:lnTo>
                      <a:pt x="836" y="305"/>
                    </a:lnTo>
                    <a:lnTo>
                      <a:pt x="839" y="295"/>
                    </a:lnTo>
                    <a:close/>
                    <a:moveTo>
                      <a:pt x="815" y="287"/>
                    </a:moveTo>
                    <a:lnTo>
                      <a:pt x="822" y="289"/>
                    </a:lnTo>
                    <a:lnTo>
                      <a:pt x="818" y="299"/>
                    </a:lnTo>
                    <a:lnTo>
                      <a:pt x="812" y="297"/>
                    </a:lnTo>
                    <a:lnTo>
                      <a:pt x="815" y="287"/>
                    </a:lnTo>
                    <a:close/>
                    <a:moveTo>
                      <a:pt x="792" y="279"/>
                    </a:moveTo>
                    <a:lnTo>
                      <a:pt x="797" y="281"/>
                    </a:lnTo>
                    <a:lnTo>
                      <a:pt x="794" y="291"/>
                    </a:lnTo>
                    <a:lnTo>
                      <a:pt x="788" y="288"/>
                    </a:lnTo>
                    <a:lnTo>
                      <a:pt x="792" y="279"/>
                    </a:lnTo>
                    <a:close/>
                    <a:moveTo>
                      <a:pt x="768" y="270"/>
                    </a:moveTo>
                    <a:lnTo>
                      <a:pt x="773" y="272"/>
                    </a:lnTo>
                    <a:lnTo>
                      <a:pt x="770" y="282"/>
                    </a:lnTo>
                    <a:lnTo>
                      <a:pt x="765" y="280"/>
                    </a:lnTo>
                    <a:lnTo>
                      <a:pt x="768" y="270"/>
                    </a:lnTo>
                    <a:close/>
                    <a:moveTo>
                      <a:pt x="743" y="261"/>
                    </a:moveTo>
                    <a:lnTo>
                      <a:pt x="750" y="264"/>
                    </a:lnTo>
                    <a:lnTo>
                      <a:pt x="746" y="273"/>
                    </a:lnTo>
                    <a:lnTo>
                      <a:pt x="740" y="271"/>
                    </a:lnTo>
                    <a:lnTo>
                      <a:pt x="743" y="261"/>
                    </a:lnTo>
                    <a:close/>
                    <a:moveTo>
                      <a:pt x="720" y="253"/>
                    </a:moveTo>
                    <a:lnTo>
                      <a:pt x="726" y="255"/>
                    </a:lnTo>
                    <a:lnTo>
                      <a:pt x="723" y="265"/>
                    </a:lnTo>
                    <a:lnTo>
                      <a:pt x="716" y="263"/>
                    </a:lnTo>
                    <a:lnTo>
                      <a:pt x="720" y="253"/>
                    </a:lnTo>
                    <a:close/>
                    <a:moveTo>
                      <a:pt x="696" y="244"/>
                    </a:moveTo>
                    <a:lnTo>
                      <a:pt x="702" y="246"/>
                    </a:lnTo>
                    <a:lnTo>
                      <a:pt x="699" y="256"/>
                    </a:lnTo>
                    <a:lnTo>
                      <a:pt x="693" y="254"/>
                    </a:lnTo>
                    <a:lnTo>
                      <a:pt x="696" y="244"/>
                    </a:lnTo>
                    <a:close/>
                    <a:moveTo>
                      <a:pt x="672" y="236"/>
                    </a:moveTo>
                    <a:lnTo>
                      <a:pt x="678" y="238"/>
                    </a:lnTo>
                    <a:lnTo>
                      <a:pt x="674" y="247"/>
                    </a:lnTo>
                    <a:lnTo>
                      <a:pt x="669" y="245"/>
                    </a:lnTo>
                    <a:lnTo>
                      <a:pt x="672" y="236"/>
                    </a:lnTo>
                    <a:close/>
                    <a:moveTo>
                      <a:pt x="649" y="228"/>
                    </a:moveTo>
                    <a:lnTo>
                      <a:pt x="654" y="230"/>
                    </a:lnTo>
                    <a:lnTo>
                      <a:pt x="651" y="240"/>
                    </a:lnTo>
                    <a:lnTo>
                      <a:pt x="645" y="238"/>
                    </a:lnTo>
                    <a:lnTo>
                      <a:pt x="649" y="228"/>
                    </a:lnTo>
                    <a:close/>
                    <a:moveTo>
                      <a:pt x="624" y="219"/>
                    </a:moveTo>
                    <a:lnTo>
                      <a:pt x="630" y="222"/>
                    </a:lnTo>
                    <a:lnTo>
                      <a:pt x="627" y="231"/>
                    </a:lnTo>
                    <a:lnTo>
                      <a:pt x="621" y="229"/>
                    </a:lnTo>
                    <a:lnTo>
                      <a:pt x="624" y="219"/>
                    </a:lnTo>
                    <a:close/>
                    <a:moveTo>
                      <a:pt x="600" y="211"/>
                    </a:moveTo>
                    <a:lnTo>
                      <a:pt x="607" y="213"/>
                    </a:lnTo>
                    <a:lnTo>
                      <a:pt x="603" y="223"/>
                    </a:lnTo>
                    <a:lnTo>
                      <a:pt x="597" y="221"/>
                    </a:lnTo>
                    <a:lnTo>
                      <a:pt x="600" y="211"/>
                    </a:lnTo>
                    <a:close/>
                    <a:moveTo>
                      <a:pt x="577" y="202"/>
                    </a:moveTo>
                    <a:lnTo>
                      <a:pt x="582" y="204"/>
                    </a:lnTo>
                    <a:lnTo>
                      <a:pt x="579" y="214"/>
                    </a:lnTo>
                    <a:lnTo>
                      <a:pt x="573" y="212"/>
                    </a:lnTo>
                    <a:lnTo>
                      <a:pt x="577" y="202"/>
                    </a:lnTo>
                    <a:close/>
                    <a:moveTo>
                      <a:pt x="553" y="194"/>
                    </a:moveTo>
                    <a:lnTo>
                      <a:pt x="558" y="196"/>
                    </a:lnTo>
                    <a:lnTo>
                      <a:pt x="555" y="205"/>
                    </a:lnTo>
                    <a:lnTo>
                      <a:pt x="550" y="203"/>
                    </a:lnTo>
                    <a:lnTo>
                      <a:pt x="553" y="194"/>
                    </a:lnTo>
                    <a:close/>
                    <a:moveTo>
                      <a:pt x="528" y="185"/>
                    </a:moveTo>
                    <a:lnTo>
                      <a:pt x="535" y="187"/>
                    </a:lnTo>
                    <a:lnTo>
                      <a:pt x="531" y="197"/>
                    </a:lnTo>
                    <a:lnTo>
                      <a:pt x="525" y="195"/>
                    </a:lnTo>
                    <a:lnTo>
                      <a:pt x="528" y="185"/>
                    </a:lnTo>
                    <a:close/>
                    <a:moveTo>
                      <a:pt x="504" y="176"/>
                    </a:moveTo>
                    <a:lnTo>
                      <a:pt x="511" y="178"/>
                    </a:lnTo>
                    <a:lnTo>
                      <a:pt x="508" y="188"/>
                    </a:lnTo>
                    <a:lnTo>
                      <a:pt x="501" y="186"/>
                    </a:lnTo>
                    <a:lnTo>
                      <a:pt x="504" y="176"/>
                    </a:lnTo>
                    <a:close/>
                    <a:moveTo>
                      <a:pt x="481" y="169"/>
                    </a:moveTo>
                    <a:lnTo>
                      <a:pt x="487" y="171"/>
                    </a:lnTo>
                    <a:lnTo>
                      <a:pt x="484" y="181"/>
                    </a:lnTo>
                    <a:lnTo>
                      <a:pt x="478" y="178"/>
                    </a:lnTo>
                    <a:lnTo>
                      <a:pt x="481" y="169"/>
                    </a:lnTo>
                    <a:close/>
                    <a:moveTo>
                      <a:pt x="457" y="160"/>
                    </a:moveTo>
                    <a:lnTo>
                      <a:pt x="463" y="162"/>
                    </a:lnTo>
                    <a:lnTo>
                      <a:pt x="459" y="172"/>
                    </a:lnTo>
                    <a:lnTo>
                      <a:pt x="454" y="170"/>
                    </a:lnTo>
                    <a:lnTo>
                      <a:pt x="457" y="160"/>
                    </a:lnTo>
                    <a:close/>
                    <a:moveTo>
                      <a:pt x="433" y="152"/>
                    </a:moveTo>
                    <a:lnTo>
                      <a:pt x="439" y="154"/>
                    </a:lnTo>
                    <a:lnTo>
                      <a:pt x="436" y="163"/>
                    </a:lnTo>
                    <a:lnTo>
                      <a:pt x="430" y="161"/>
                    </a:lnTo>
                    <a:lnTo>
                      <a:pt x="433" y="152"/>
                    </a:lnTo>
                    <a:close/>
                    <a:moveTo>
                      <a:pt x="409" y="143"/>
                    </a:moveTo>
                    <a:lnTo>
                      <a:pt x="415" y="145"/>
                    </a:lnTo>
                    <a:lnTo>
                      <a:pt x="412" y="155"/>
                    </a:lnTo>
                    <a:lnTo>
                      <a:pt x="406" y="153"/>
                    </a:lnTo>
                    <a:lnTo>
                      <a:pt x="409" y="143"/>
                    </a:lnTo>
                    <a:close/>
                    <a:moveTo>
                      <a:pt x="385" y="134"/>
                    </a:moveTo>
                    <a:lnTo>
                      <a:pt x="392" y="136"/>
                    </a:lnTo>
                    <a:lnTo>
                      <a:pt x="388" y="146"/>
                    </a:lnTo>
                    <a:lnTo>
                      <a:pt x="382" y="144"/>
                    </a:lnTo>
                    <a:lnTo>
                      <a:pt x="385" y="134"/>
                    </a:lnTo>
                    <a:close/>
                    <a:moveTo>
                      <a:pt x="361" y="126"/>
                    </a:moveTo>
                    <a:lnTo>
                      <a:pt x="367" y="128"/>
                    </a:lnTo>
                    <a:lnTo>
                      <a:pt x="364" y="138"/>
                    </a:lnTo>
                    <a:lnTo>
                      <a:pt x="358" y="135"/>
                    </a:lnTo>
                    <a:lnTo>
                      <a:pt x="361" y="126"/>
                    </a:lnTo>
                    <a:close/>
                    <a:moveTo>
                      <a:pt x="338" y="118"/>
                    </a:moveTo>
                    <a:lnTo>
                      <a:pt x="343" y="119"/>
                    </a:lnTo>
                    <a:lnTo>
                      <a:pt x="340" y="129"/>
                    </a:lnTo>
                    <a:lnTo>
                      <a:pt x="335" y="128"/>
                    </a:lnTo>
                    <a:lnTo>
                      <a:pt x="338" y="118"/>
                    </a:lnTo>
                    <a:close/>
                    <a:moveTo>
                      <a:pt x="313" y="110"/>
                    </a:moveTo>
                    <a:lnTo>
                      <a:pt x="319" y="112"/>
                    </a:lnTo>
                    <a:lnTo>
                      <a:pt x="316" y="121"/>
                    </a:lnTo>
                    <a:lnTo>
                      <a:pt x="310" y="119"/>
                    </a:lnTo>
                    <a:lnTo>
                      <a:pt x="313" y="110"/>
                    </a:lnTo>
                    <a:close/>
                    <a:moveTo>
                      <a:pt x="289" y="101"/>
                    </a:moveTo>
                    <a:lnTo>
                      <a:pt x="296" y="103"/>
                    </a:lnTo>
                    <a:lnTo>
                      <a:pt x="293" y="113"/>
                    </a:lnTo>
                    <a:lnTo>
                      <a:pt x="286" y="111"/>
                    </a:lnTo>
                    <a:lnTo>
                      <a:pt x="289" y="101"/>
                    </a:lnTo>
                    <a:close/>
                    <a:moveTo>
                      <a:pt x="266" y="92"/>
                    </a:moveTo>
                    <a:lnTo>
                      <a:pt x="272" y="94"/>
                    </a:lnTo>
                    <a:lnTo>
                      <a:pt x="269" y="104"/>
                    </a:lnTo>
                    <a:lnTo>
                      <a:pt x="262" y="102"/>
                    </a:lnTo>
                    <a:lnTo>
                      <a:pt x="266" y="92"/>
                    </a:lnTo>
                    <a:close/>
                    <a:moveTo>
                      <a:pt x="242" y="84"/>
                    </a:moveTo>
                    <a:lnTo>
                      <a:pt x="247" y="86"/>
                    </a:lnTo>
                    <a:lnTo>
                      <a:pt x="244" y="96"/>
                    </a:lnTo>
                    <a:lnTo>
                      <a:pt x="239" y="93"/>
                    </a:lnTo>
                    <a:lnTo>
                      <a:pt x="242" y="84"/>
                    </a:lnTo>
                    <a:close/>
                    <a:moveTo>
                      <a:pt x="218" y="75"/>
                    </a:moveTo>
                    <a:lnTo>
                      <a:pt x="224" y="77"/>
                    </a:lnTo>
                    <a:lnTo>
                      <a:pt x="221" y="87"/>
                    </a:lnTo>
                    <a:lnTo>
                      <a:pt x="215" y="85"/>
                    </a:lnTo>
                    <a:lnTo>
                      <a:pt x="218" y="75"/>
                    </a:lnTo>
                    <a:close/>
                    <a:moveTo>
                      <a:pt x="194" y="66"/>
                    </a:moveTo>
                    <a:lnTo>
                      <a:pt x="200" y="69"/>
                    </a:lnTo>
                    <a:lnTo>
                      <a:pt x="197" y="78"/>
                    </a:lnTo>
                    <a:lnTo>
                      <a:pt x="190" y="76"/>
                    </a:lnTo>
                    <a:lnTo>
                      <a:pt x="194" y="66"/>
                    </a:lnTo>
                    <a:close/>
                    <a:moveTo>
                      <a:pt x="170" y="59"/>
                    </a:moveTo>
                    <a:lnTo>
                      <a:pt x="176" y="60"/>
                    </a:lnTo>
                    <a:lnTo>
                      <a:pt x="173" y="70"/>
                    </a:lnTo>
                    <a:lnTo>
                      <a:pt x="167" y="69"/>
                    </a:lnTo>
                    <a:lnTo>
                      <a:pt x="170" y="59"/>
                    </a:lnTo>
                    <a:close/>
                    <a:moveTo>
                      <a:pt x="146" y="50"/>
                    </a:moveTo>
                    <a:lnTo>
                      <a:pt x="152" y="52"/>
                    </a:lnTo>
                    <a:lnTo>
                      <a:pt x="148" y="62"/>
                    </a:lnTo>
                    <a:lnTo>
                      <a:pt x="143" y="60"/>
                    </a:lnTo>
                    <a:lnTo>
                      <a:pt x="146" y="50"/>
                    </a:lnTo>
                    <a:close/>
                    <a:moveTo>
                      <a:pt x="123" y="42"/>
                    </a:moveTo>
                    <a:lnTo>
                      <a:pt x="128" y="44"/>
                    </a:lnTo>
                    <a:lnTo>
                      <a:pt x="125" y="54"/>
                    </a:lnTo>
                    <a:lnTo>
                      <a:pt x="119" y="51"/>
                    </a:lnTo>
                    <a:lnTo>
                      <a:pt x="123" y="42"/>
                    </a:lnTo>
                    <a:close/>
                    <a:moveTo>
                      <a:pt x="98" y="33"/>
                    </a:moveTo>
                    <a:lnTo>
                      <a:pt x="104" y="35"/>
                    </a:lnTo>
                    <a:lnTo>
                      <a:pt x="101" y="45"/>
                    </a:lnTo>
                    <a:lnTo>
                      <a:pt x="95" y="43"/>
                    </a:lnTo>
                    <a:lnTo>
                      <a:pt x="98" y="33"/>
                    </a:lnTo>
                    <a:close/>
                    <a:moveTo>
                      <a:pt x="74" y="24"/>
                    </a:moveTo>
                    <a:lnTo>
                      <a:pt x="81" y="27"/>
                    </a:lnTo>
                    <a:lnTo>
                      <a:pt x="78" y="36"/>
                    </a:lnTo>
                    <a:lnTo>
                      <a:pt x="71" y="34"/>
                    </a:lnTo>
                    <a:lnTo>
                      <a:pt x="74" y="24"/>
                    </a:lnTo>
                    <a:close/>
                    <a:moveTo>
                      <a:pt x="51" y="16"/>
                    </a:moveTo>
                    <a:lnTo>
                      <a:pt x="57" y="18"/>
                    </a:lnTo>
                    <a:lnTo>
                      <a:pt x="54" y="28"/>
                    </a:lnTo>
                    <a:lnTo>
                      <a:pt x="47" y="26"/>
                    </a:lnTo>
                    <a:lnTo>
                      <a:pt x="51" y="16"/>
                    </a:lnTo>
                    <a:close/>
                    <a:moveTo>
                      <a:pt x="27" y="7"/>
                    </a:moveTo>
                    <a:lnTo>
                      <a:pt x="32" y="9"/>
                    </a:lnTo>
                    <a:lnTo>
                      <a:pt x="29" y="19"/>
                    </a:lnTo>
                    <a:lnTo>
                      <a:pt x="24" y="17"/>
                    </a:lnTo>
                    <a:lnTo>
                      <a:pt x="27" y="7"/>
                    </a:lnTo>
                    <a:close/>
                    <a:moveTo>
                      <a:pt x="3" y="0"/>
                    </a:moveTo>
                    <a:lnTo>
                      <a:pt x="9" y="1"/>
                    </a:lnTo>
                    <a:lnTo>
                      <a:pt x="5" y="10"/>
                    </a:lnTo>
                    <a:lnTo>
                      <a:pt x="0" y="9"/>
                    </a:lnTo>
                    <a:lnTo>
                      <a:pt x="3" y="0"/>
                    </a:lnTo>
                    <a:close/>
                  </a:path>
                </a:pathLst>
              </a:custGeom>
              <a:solidFill>
                <a:srgbClr val="74606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97" name="Freeform 347"/>
              <p:cNvSpPr>
                <a:spLocks/>
              </p:cNvSpPr>
              <p:nvPr/>
            </p:nvSpPr>
            <p:spPr bwMode="auto">
              <a:xfrm>
                <a:off x="4456" y="3233"/>
                <a:ext cx="9" cy="9"/>
              </a:xfrm>
              <a:custGeom>
                <a:avLst/>
                <a:gdLst>
                  <a:gd name="T0" fmla="*/ 8 w 9"/>
                  <a:gd name="T1" fmla="*/ 0 h 9"/>
                  <a:gd name="T2" fmla="*/ 9 w 9"/>
                  <a:gd name="T3" fmla="*/ 2 h 9"/>
                  <a:gd name="T4" fmla="*/ 1 w 9"/>
                  <a:gd name="T5" fmla="*/ 9 h 9"/>
                  <a:gd name="T6" fmla="*/ 0 w 9"/>
                  <a:gd name="T7" fmla="*/ 8 h 9"/>
                  <a:gd name="T8" fmla="*/ 8 w 9"/>
                  <a:gd name="T9" fmla="*/ 0 h 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 h="9">
                    <a:moveTo>
                      <a:pt x="8" y="0"/>
                    </a:moveTo>
                    <a:lnTo>
                      <a:pt x="9" y="2"/>
                    </a:lnTo>
                    <a:lnTo>
                      <a:pt x="1" y="9"/>
                    </a:lnTo>
                    <a:lnTo>
                      <a:pt x="0" y="8"/>
                    </a:lnTo>
                    <a:lnTo>
                      <a:pt x="8" y="0"/>
                    </a:lnTo>
                    <a:close/>
                  </a:path>
                </a:pathLst>
              </a:custGeom>
              <a:solidFill>
                <a:srgbClr val="74606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98" name="Freeform 348"/>
              <p:cNvSpPr>
                <a:spLocks/>
              </p:cNvSpPr>
              <p:nvPr/>
            </p:nvSpPr>
            <p:spPr bwMode="auto">
              <a:xfrm>
                <a:off x="3486" y="2810"/>
                <a:ext cx="7" cy="10"/>
              </a:xfrm>
              <a:custGeom>
                <a:avLst/>
                <a:gdLst>
                  <a:gd name="T0" fmla="*/ 2 w 7"/>
                  <a:gd name="T1" fmla="*/ 0 h 10"/>
                  <a:gd name="T2" fmla="*/ 7 w 7"/>
                  <a:gd name="T3" fmla="*/ 9 h 10"/>
                  <a:gd name="T4" fmla="*/ 5 w 7"/>
                  <a:gd name="T5" fmla="*/ 10 h 10"/>
                  <a:gd name="T6" fmla="*/ 0 w 7"/>
                  <a:gd name="T7" fmla="*/ 1 h 10"/>
                  <a:gd name="T8" fmla="*/ 2 w 7"/>
                  <a:gd name="T9" fmla="*/ 0 h 1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0">
                    <a:moveTo>
                      <a:pt x="2" y="0"/>
                    </a:moveTo>
                    <a:lnTo>
                      <a:pt x="7" y="9"/>
                    </a:lnTo>
                    <a:lnTo>
                      <a:pt x="5" y="10"/>
                    </a:lnTo>
                    <a:lnTo>
                      <a:pt x="0" y="1"/>
                    </a:lnTo>
                    <a:lnTo>
                      <a:pt x="2" y="0"/>
                    </a:lnTo>
                    <a:close/>
                  </a:path>
                </a:pathLst>
              </a:custGeom>
              <a:solidFill>
                <a:srgbClr val="E3931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99" name="Freeform 349"/>
              <p:cNvSpPr>
                <a:spLocks noEditPoints="1"/>
              </p:cNvSpPr>
              <p:nvPr/>
            </p:nvSpPr>
            <p:spPr bwMode="auto">
              <a:xfrm>
                <a:off x="3503" y="2380"/>
                <a:ext cx="677" cy="429"/>
              </a:xfrm>
              <a:custGeom>
                <a:avLst/>
                <a:gdLst>
                  <a:gd name="T0" fmla="*/ 6 w 677"/>
                  <a:gd name="T1" fmla="*/ 429 h 429"/>
                  <a:gd name="T2" fmla="*/ 27 w 677"/>
                  <a:gd name="T3" fmla="*/ 403 h 429"/>
                  <a:gd name="T4" fmla="*/ 22 w 677"/>
                  <a:gd name="T5" fmla="*/ 408 h 429"/>
                  <a:gd name="T6" fmla="*/ 54 w 677"/>
                  <a:gd name="T7" fmla="*/ 399 h 429"/>
                  <a:gd name="T8" fmla="*/ 49 w 677"/>
                  <a:gd name="T9" fmla="*/ 390 h 429"/>
                  <a:gd name="T10" fmla="*/ 70 w 677"/>
                  <a:gd name="T11" fmla="*/ 389 h 429"/>
                  <a:gd name="T12" fmla="*/ 92 w 677"/>
                  <a:gd name="T13" fmla="*/ 363 h 429"/>
                  <a:gd name="T14" fmla="*/ 87 w 677"/>
                  <a:gd name="T15" fmla="*/ 367 h 429"/>
                  <a:gd name="T16" fmla="*/ 119 w 677"/>
                  <a:gd name="T17" fmla="*/ 359 h 429"/>
                  <a:gd name="T18" fmla="*/ 113 w 677"/>
                  <a:gd name="T19" fmla="*/ 350 h 429"/>
                  <a:gd name="T20" fmla="*/ 134 w 677"/>
                  <a:gd name="T21" fmla="*/ 348 h 429"/>
                  <a:gd name="T22" fmla="*/ 155 w 677"/>
                  <a:gd name="T23" fmla="*/ 324 h 429"/>
                  <a:gd name="T24" fmla="*/ 150 w 677"/>
                  <a:gd name="T25" fmla="*/ 327 h 429"/>
                  <a:gd name="T26" fmla="*/ 182 w 677"/>
                  <a:gd name="T27" fmla="*/ 318 h 429"/>
                  <a:gd name="T28" fmla="*/ 177 w 677"/>
                  <a:gd name="T29" fmla="*/ 310 h 429"/>
                  <a:gd name="T30" fmla="*/ 198 w 677"/>
                  <a:gd name="T31" fmla="*/ 308 h 429"/>
                  <a:gd name="T32" fmla="*/ 220 w 677"/>
                  <a:gd name="T33" fmla="*/ 283 h 429"/>
                  <a:gd name="T34" fmla="*/ 215 w 677"/>
                  <a:gd name="T35" fmla="*/ 286 h 429"/>
                  <a:gd name="T36" fmla="*/ 247 w 677"/>
                  <a:gd name="T37" fmla="*/ 278 h 429"/>
                  <a:gd name="T38" fmla="*/ 241 w 677"/>
                  <a:gd name="T39" fmla="*/ 270 h 429"/>
                  <a:gd name="T40" fmla="*/ 263 w 677"/>
                  <a:gd name="T41" fmla="*/ 268 h 429"/>
                  <a:gd name="T42" fmla="*/ 284 w 677"/>
                  <a:gd name="T43" fmla="*/ 243 h 429"/>
                  <a:gd name="T44" fmla="*/ 279 w 677"/>
                  <a:gd name="T45" fmla="*/ 246 h 429"/>
                  <a:gd name="T46" fmla="*/ 311 w 677"/>
                  <a:gd name="T47" fmla="*/ 237 h 429"/>
                  <a:gd name="T48" fmla="*/ 306 w 677"/>
                  <a:gd name="T49" fmla="*/ 229 h 429"/>
                  <a:gd name="T50" fmla="*/ 327 w 677"/>
                  <a:gd name="T51" fmla="*/ 228 h 429"/>
                  <a:gd name="T52" fmla="*/ 349 w 677"/>
                  <a:gd name="T53" fmla="*/ 202 h 429"/>
                  <a:gd name="T54" fmla="*/ 344 w 677"/>
                  <a:gd name="T55" fmla="*/ 205 h 429"/>
                  <a:gd name="T56" fmla="*/ 376 w 677"/>
                  <a:gd name="T57" fmla="*/ 198 h 429"/>
                  <a:gd name="T58" fmla="*/ 370 w 677"/>
                  <a:gd name="T59" fmla="*/ 189 h 429"/>
                  <a:gd name="T60" fmla="*/ 392 w 677"/>
                  <a:gd name="T61" fmla="*/ 187 h 429"/>
                  <a:gd name="T62" fmla="*/ 413 w 677"/>
                  <a:gd name="T63" fmla="*/ 162 h 429"/>
                  <a:gd name="T64" fmla="*/ 408 w 677"/>
                  <a:gd name="T65" fmla="*/ 165 h 429"/>
                  <a:gd name="T66" fmla="*/ 440 w 677"/>
                  <a:gd name="T67" fmla="*/ 157 h 429"/>
                  <a:gd name="T68" fmla="*/ 435 w 677"/>
                  <a:gd name="T69" fmla="*/ 148 h 429"/>
                  <a:gd name="T70" fmla="*/ 456 w 677"/>
                  <a:gd name="T71" fmla="*/ 147 h 429"/>
                  <a:gd name="T72" fmla="*/ 478 w 677"/>
                  <a:gd name="T73" fmla="*/ 121 h 429"/>
                  <a:gd name="T74" fmla="*/ 473 w 677"/>
                  <a:gd name="T75" fmla="*/ 124 h 429"/>
                  <a:gd name="T76" fmla="*/ 505 w 677"/>
                  <a:gd name="T77" fmla="*/ 117 h 429"/>
                  <a:gd name="T78" fmla="*/ 500 w 677"/>
                  <a:gd name="T79" fmla="*/ 108 h 429"/>
                  <a:gd name="T80" fmla="*/ 521 w 677"/>
                  <a:gd name="T81" fmla="*/ 106 h 429"/>
                  <a:gd name="T82" fmla="*/ 543 w 677"/>
                  <a:gd name="T83" fmla="*/ 81 h 429"/>
                  <a:gd name="T84" fmla="*/ 537 w 677"/>
                  <a:gd name="T85" fmla="*/ 84 h 429"/>
                  <a:gd name="T86" fmla="*/ 569 w 677"/>
                  <a:gd name="T87" fmla="*/ 76 h 429"/>
                  <a:gd name="T88" fmla="*/ 564 w 677"/>
                  <a:gd name="T89" fmla="*/ 67 h 429"/>
                  <a:gd name="T90" fmla="*/ 586 w 677"/>
                  <a:gd name="T91" fmla="*/ 66 h 429"/>
                  <a:gd name="T92" fmla="*/ 607 w 677"/>
                  <a:gd name="T93" fmla="*/ 40 h 429"/>
                  <a:gd name="T94" fmla="*/ 602 w 677"/>
                  <a:gd name="T95" fmla="*/ 45 h 429"/>
                  <a:gd name="T96" fmla="*/ 634 w 677"/>
                  <a:gd name="T97" fmla="*/ 36 h 429"/>
                  <a:gd name="T98" fmla="*/ 629 w 677"/>
                  <a:gd name="T99" fmla="*/ 27 h 429"/>
                  <a:gd name="T100" fmla="*/ 650 w 677"/>
                  <a:gd name="T101" fmla="*/ 26 h 429"/>
                  <a:gd name="T102" fmla="*/ 672 w 677"/>
                  <a:gd name="T103" fmla="*/ 0 h 429"/>
                  <a:gd name="T104" fmla="*/ 666 w 677"/>
                  <a:gd name="T105" fmla="*/ 4 h 42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77" h="429">
                    <a:moveTo>
                      <a:pt x="6" y="417"/>
                    </a:moveTo>
                    <a:lnTo>
                      <a:pt x="11" y="426"/>
                    </a:lnTo>
                    <a:lnTo>
                      <a:pt x="6" y="429"/>
                    </a:lnTo>
                    <a:lnTo>
                      <a:pt x="0" y="420"/>
                    </a:lnTo>
                    <a:lnTo>
                      <a:pt x="6" y="417"/>
                    </a:lnTo>
                    <a:close/>
                    <a:moveTo>
                      <a:pt x="27" y="403"/>
                    </a:moveTo>
                    <a:lnTo>
                      <a:pt x="33" y="412"/>
                    </a:lnTo>
                    <a:lnTo>
                      <a:pt x="27" y="416"/>
                    </a:lnTo>
                    <a:lnTo>
                      <a:pt x="22" y="408"/>
                    </a:lnTo>
                    <a:lnTo>
                      <a:pt x="27" y="403"/>
                    </a:lnTo>
                    <a:close/>
                    <a:moveTo>
                      <a:pt x="49" y="390"/>
                    </a:moveTo>
                    <a:lnTo>
                      <a:pt x="54" y="399"/>
                    </a:lnTo>
                    <a:lnTo>
                      <a:pt x="49" y="402"/>
                    </a:lnTo>
                    <a:lnTo>
                      <a:pt x="44" y="394"/>
                    </a:lnTo>
                    <a:lnTo>
                      <a:pt x="49" y="390"/>
                    </a:lnTo>
                    <a:close/>
                    <a:moveTo>
                      <a:pt x="70" y="376"/>
                    </a:moveTo>
                    <a:lnTo>
                      <a:pt x="76" y="385"/>
                    </a:lnTo>
                    <a:lnTo>
                      <a:pt x="70" y="389"/>
                    </a:lnTo>
                    <a:lnTo>
                      <a:pt x="65" y="381"/>
                    </a:lnTo>
                    <a:lnTo>
                      <a:pt x="70" y="376"/>
                    </a:lnTo>
                    <a:close/>
                    <a:moveTo>
                      <a:pt x="92" y="363"/>
                    </a:moveTo>
                    <a:lnTo>
                      <a:pt x="97" y="372"/>
                    </a:lnTo>
                    <a:lnTo>
                      <a:pt x="92" y="375"/>
                    </a:lnTo>
                    <a:lnTo>
                      <a:pt x="87" y="367"/>
                    </a:lnTo>
                    <a:lnTo>
                      <a:pt x="92" y="363"/>
                    </a:lnTo>
                    <a:close/>
                    <a:moveTo>
                      <a:pt x="113" y="350"/>
                    </a:moveTo>
                    <a:lnTo>
                      <a:pt x="119" y="359"/>
                    </a:lnTo>
                    <a:lnTo>
                      <a:pt x="113" y="362"/>
                    </a:lnTo>
                    <a:lnTo>
                      <a:pt x="108" y="354"/>
                    </a:lnTo>
                    <a:lnTo>
                      <a:pt x="113" y="350"/>
                    </a:lnTo>
                    <a:close/>
                    <a:moveTo>
                      <a:pt x="134" y="336"/>
                    </a:moveTo>
                    <a:lnTo>
                      <a:pt x="139" y="345"/>
                    </a:lnTo>
                    <a:lnTo>
                      <a:pt x="134" y="348"/>
                    </a:lnTo>
                    <a:lnTo>
                      <a:pt x="128" y="340"/>
                    </a:lnTo>
                    <a:lnTo>
                      <a:pt x="134" y="336"/>
                    </a:lnTo>
                    <a:close/>
                    <a:moveTo>
                      <a:pt x="155" y="324"/>
                    </a:moveTo>
                    <a:lnTo>
                      <a:pt x="161" y="332"/>
                    </a:lnTo>
                    <a:lnTo>
                      <a:pt x="155" y="335"/>
                    </a:lnTo>
                    <a:lnTo>
                      <a:pt x="150" y="327"/>
                    </a:lnTo>
                    <a:lnTo>
                      <a:pt x="155" y="324"/>
                    </a:lnTo>
                    <a:close/>
                    <a:moveTo>
                      <a:pt x="177" y="310"/>
                    </a:moveTo>
                    <a:lnTo>
                      <a:pt x="182" y="318"/>
                    </a:lnTo>
                    <a:lnTo>
                      <a:pt x="177" y="321"/>
                    </a:lnTo>
                    <a:lnTo>
                      <a:pt x="171" y="313"/>
                    </a:lnTo>
                    <a:lnTo>
                      <a:pt x="177" y="310"/>
                    </a:lnTo>
                    <a:close/>
                    <a:moveTo>
                      <a:pt x="198" y="297"/>
                    </a:moveTo>
                    <a:lnTo>
                      <a:pt x="204" y="305"/>
                    </a:lnTo>
                    <a:lnTo>
                      <a:pt x="198" y="308"/>
                    </a:lnTo>
                    <a:lnTo>
                      <a:pt x="193" y="300"/>
                    </a:lnTo>
                    <a:lnTo>
                      <a:pt x="198" y="297"/>
                    </a:lnTo>
                    <a:close/>
                    <a:moveTo>
                      <a:pt x="220" y="283"/>
                    </a:moveTo>
                    <a:lnTo>
                      <a:pt x="225" y="291"/>
                    </a:lnTo>
                    <a:lnTo>
                      <a:pt x="220" y="294"/>
                    </a:lnTo>
                    <a:lnTo>
                      <a:pt x="215" y="286"/>
                    </a:lnTo>
                    <a:lnTo>
                      <a:pt x="220" y="283"/>
                    </a:lnTo>
                    <a:close/>
                    <a:moveTo>
                      <a:pt x="241" y="270"/>
                    </a:moveTo>
                    <a:lnTo>
                      <a:pt x="247" y="278"/>
                    </a:lnTo>
                    <a:lnTo>
                      <a:pt x="241" y="282"/>
                    </a:lnTo>
                    <a:lnTo>
                      <a:pt x="236" y="273"/>
                    </a:lnTo>
                    <a:lnTo>
                      <a:pt x="241" y="270"/>
                    </a:lnTo>
                    <a:close/>
                    <a:moveTo>
                      <a:pt x="263" y="256"/>
                    </a:moveTo>
                    <a:lnTo>
                      <a:pt x="268" y="264"/>
                    </a:lnTo>
                    <a:lnTo>
                      <a:pt x="263" y="268"/>
                    </a:lnTo>
                    <a:lnTo>
                      <a:pt x="258" y="259"/>
                    </a:lnTo>
                    <a:lnTo>
                      <a:pt x="263" y="256"/>
                    </a:lnTo>
                    <a:close/>
                    <a:moveTo>
                      <a:pt x="284" y="243"/>
                    </a:moveTo>
                    <a:lnTo>
                      <a:pt x="290" y="251"/>
                    </a:lnTo>
                    <a:lnTo>
                      <a:pt x="284" y="255"/>
                    </a:lnTo>
                    <a:lnTo>
                      <a:pt x="279" y="246"/>
                    </a:lnTo>
                    <a:lnTo>
                      <a:pt x="284" y="243"/>
                    </a:lnTo>
                    <a:close/>
                    <a:moveTo>
                      <a:pt x="306" y="229"/>
                    </a:moveTo>
                    <a:lnTo>
                      <a:pt x="311" y="237"/>
                    </a:lnTo>
                    <a:lnTo>
                      <a:pt x="306" y="241"/>
                    </a:lnTo>
                    <a:lnTo>
                      <a:pt x="301" y="232"/>
                    </a:lnTo>
                    <a:lnTo>
                      <a:pt x="306" y="229"/>
                    </a:lnTo>
                    <a:close/>
                    <a:moveTo>
                      <a:pt x="327" y="216"/>
                    </a:moveTo>
                    <a:lnTo>
                      <a:pt x="333" y="224"/>
                    </a:lnTo>
                    <a:lnTo>
                      <a:pt x="327" y="228"/>
                    </a:lnTo>
                    <a:lnTo>
                      <a:pt x="322" y="219"/>
                    </a:lnTo>
                    <a:lnTo>
                      <a:pt x="327" y="216"/>
                    </a:lnTo>
                    <a:close/>
                    <a:moveTo>
                      <a:pt x="349" y="202"/>
                    </a:moveTo>
                    <a:lnTo>
                      <a:pt x="354" y="210"/>
                    </a:lnTo>
                    <a:lnTo>
                      <a:pt x="349" y="214"/>
                    </a:lnTo>
                    <a:lnTo>
                      <a:pt x="344" y="205"/>
                    </a:lnTo>
                    <a:lnTo>
                      <a:pt x="349" y="202"/>
                    </a:lnTo>
                    <a:close/>
                    <a:moveTo>
                      <a:pt x="370" y="189"/>
                    </a:moveTo>
                    <a:lnTo>
                      <a:pt x="376" y="198"/>
                    </a:lnTo>
                    <a:lnTo>
                      <a:pt x="370" y="201"/>
                    </a:lnTo>
                    <a:lnTo>
                      <a:pt x="365" y="192"/>
                    </a:lnTo>
                    <a:lnTo>
                      <a:pt x="370" y="189"/>
                    </a:lnTo>
                    <a:close/>
                    <a:moveTo>
                      <a:pt x="392" y="175"/>
                    </a:moveTo>
                    <a:lnTo>
                      <a:pt x="397" y="184"/>
                    </a:lnTo>
                    <a:lnTo>
                      <a:pt x="392" y="187"/>
                    </a:lnTo>
                    <a:lnTo>
                      <a:pt x="387" y="178"/>
                    </a:lnTo>
                    <a:lnTo>
                      <a:pt x="392" y="175"/>
                    </a:lnTo>
                    <a:close/>
                    <a:moveTo>
                      <a:pt x="413" y="162"/>
                    </a:moveTo>
                    <a:lnTo>
                      <a:pt x="419" y="171"/>
                    </a:lnTo>
                    <a:lnTo>
                      <a:pt x="413" y="174"/>
                    </a:lnTo>
                    <a:lnTo>
                      <a:pt x="408" y="165"/>
                    </a:lnTo>
                    <a:lnTo>
                      <a:pt x="413" y="162"/>
                    </a:lnTo>
                    <a:close/>
                    <a:moveTo>
                      <a:pt x="435" y="148"/>
                    </a:moveTo>
                    <a:lnTo>
                      <a:pt x="440" y="157"/>
                    </a:lnTo>
                    <a:lnTo>
                      <a:pt x="435" y="160"/>
                    </a:lnTo>
                    <a:lnTo>
                      <a:pt x="430" y="151"/>
                    </a:lnTo>
                    <a:lnTo>
                      <a:pt x="435" y="148"/>
                    </a:lnTo>
                    <a:close/>
                    <a:moveTo>
                      <a:pt x="456" y="135"/>
                    </a:moveTo>
                    <a:lnTo>
                      <a:pt x="462" y="144"/>
                    </a:lnTo>
                    <a:lnTo>
                      <a:pt x="456" y="147"/>
                    </a:lnTo>
                    <a:lnTo>
                      <a:pt x="451" y="138"/>
                    </a:lnTo>
                    <a:lnTo>
                      <a:pt x="456" y="135"/>
                    </a:lnTo>
                    <a:close/>
                    <a:moveTo>
                      <a:pt x="478" y="121"/>
                    </a:moveTo>
                    <a:lnTo>
                      <a:pt x="483" y="130"/>
                    </a:lnTo>
                    <a:lnTo>
                      <a:pt x="478" y="133"/>
                    </a:lnTo>
                    <a:lnTo>
                      <a:pt x="473" y="124"/>
                    </a:lnTo>
                    <a:lnTo>
                      <a:pt x="478" y="121"/>
                    </a:lnTo>
                    <a:close/>
                    <a:moveTo>
                      <a:pt x="500" y="108"/>
                    </a:moveTo>
                    <a:lnTo>
                      <a:pt x="505" y="117"/>
                    </a:lnTo>
                    <a:lnTo>
                      <a:pt x="500" y="120"/>
                    </a:lnTo>
                    <a:lnTo>
                      <a:pt x="494" y="111"/>
                    </a:lnTo>
                    <a:lnTo>
                      <a:pt x="500" y="108"/>
                    </a:lnTo>
                    <a:close/>
                    <a:moveTo>
                      <a:pt x="521" y="94"/>
                    </a:moveTo>
                    <a:lnTo>
                      <a:pt x="526" y="103"/>
                    </a:lnTo>
                    <a:lnTo>
                      <a:pt x="521" y="106"/>
                    </a:lnTo>
                    <a:lnTo>
                      <a:pt x="516" y="97"/>
                    </a:lnTo>
                    <a:lnTo>
                      <a:pt x="521" y="94"/>
                    </a:lnTo>
                    <a:close/>
                    <a:moveTo>
                      <a:pt x="543" y="81"/>
                    </a:moveTo>
                    <a:lnTo>
                      <a:pt x="548" y="90"/>
                    </a:lnTo>
                    <a:lnTo>
                      <a:pt x="543" y="93"/>
                    </a:lnTo>
                    <a:lnTo>
                      <a:pt x="537" y="84"/>
                    </a:lnTo>
                    <a:lnTo>
                      <a:pt x="543" y="81"/>
                    </a:lnTo>
                    <a:close/>
                    <a:moveTo>
                      <a:pt x="564" y="67"/>
                    </a:moveTo>
                    <a:lnTo>
                      <a:pt x="569" y="76"/>
                    </a:lnTo>
                    <a:lnTo>
                      <a:pt x="564" y="80"/>
                    </a:lnTo>
                    <a:lnTo>
                      <a:pt x="559" y="72"/>
                    </a:lnTo>
                    <a:lnTo>
                      <a:pt x="564" y="67"/>
                    </a:lnTo>
                    <a:close/>
                    <a:moveTo>
                      <a:pt x="586" y="54"/>
                    </a:moveTo>
                    <a:lnTo>
                      <a:pt x="591" y="63"/>
                    </a:lnTo>
                    <a:lnTo>
                      <a:pt x="586" y="66"/>
                    </a:lnTo>
                    <a:lnTo>
                      <a:pt x="580" y="58"/>
                    </a:lnTo>
                    <a:lnTo>
                      <a:pt x="586" y="54"/>
                    </a:lnTo>
                    <a:close/>
                    <a:moveTo>
                      <a:pt x="607" y="40"/>
                    </a:moveTo>
                    <a:lnTo>
                      <a:pt x="612" y="49"/>
                    </a:lnTo>
                    <a:lnTo>
                      <a:pt x="607" y="53"/>
                    </a:lnTo>
                    <a:lnTo>
                      <a:pt x="602" y="45"/>
                    </a:lnTo>
                    <a:lnTo>
                      <a:pt x="607" y="40"/>
                    </a:lnTo>
                    <a:close/>
                    <a:moveTo>
                      <a:pt x="629" y="27"/>
                    </a:moveTo>
                    <a:lnTo>
                      <a:pt x="634" y="36"/>
                    </a:lnTo>
                    <a:lnTo>
                      <a:pt x="629" y="39"/>
                    </a:lnTo>
                    <a:lnTo>
                      <a:pt x="623" y="31"/>
                    </a:lnTo>
                    <a:lnTo>
                      <a:pt x="629" y="27"/>
                    </a:lnTo>
                    <a:close/>
                    <a:moveTo>
                      <a:pt x="650" y="13"/>
                    </a:moveTo>
                    <a:lnTo>
                      <a:pt x="655" y="22"/>
                    </a:lnTo>
                    <a:lnTo>
                      <a:pt x="650" y="26"/>
                    </a:lnTo>
                    <a:lnTo>
                      <a:pt x="645" y="18"/>
                    </a:lnTo>
                    <a:lnTo>
                      <a:pt x="650" y="13"/>
                    </a:lnTo>
                    <a:close/>
                    <a:moveTo>
                      <a:pt x="672" y="0"/>
                    </a:moveTo>
                    <a:lnTo>
                      <a:pt x="677" y="9"/>
                    </a:lnTo>
                    <a:lnTo>
                      <a:pt x="672" y="12"/>
                    </a:lnTo>
                    <a:lnTo>
                      <a:pt x="666" y="4"/>
                    </a:lnTo>
                    <a:lnTo>
                      <a:pt x="672" y="0"/>
                    </a:lnTo>
                    <a:close/>
                  </a:path>
                </a:pathLst>
              </a:custGeom>
              <a:solidFill>
                <a:srgbClr val="E3931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00" name="Rectangle 350"/>
              <p:cNvSpPr>
                <a:spLocks noChangeArrowheads="1"/>
              </p:cNvSpPr>
              <p:nvPr/>
            </p:nvSpPr>
            <p:spPr bwMode="auto">
              <a:xfrm>
                <a:off x="4187" y="2372"/>
                <a:ext cx="3" cy="11"/>
              </a:xfrm>
              <a:prstGeom prst="rect">
                <a:avLst/>
              </a:prstGeom>
              <a:solidFill>
                <a:srgbClr val="E3931C"/>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eaLnBrk="1" hangingPunct="1"/>
                <a:endParaRPr lang="es-ES" altLang="es-CL" dirty="0">
                  <a:solidFill>
                    <a:srgbClr val="333333"/>
                  </a:solidFill>
                  <a:latin typeface="Arial" pitchFamily="34" charset="0"/>
                </a:endParaRPr>
              </a:p>
            </p:txBody>
          </p:sp>
          <p:sp>
            <p:nvSpPr>
              <p:cNvPr id="2201" name="Freeform 351"/>
              <p:cNvSpPr>
                <a:spLocks/>
              </p:cNvSpPr>
              <p:nvPr/>
            </p:nvSpPr>
            <p:spPr bwMode="auto">
              <a:xfrm>
                <a:off x="3405" y="2734"/>
                <a:ext cx="10" cy="6"/>
              </a:xfrm>
              <a:custGeom>
                <a:avLst/>
                <a:gdLst>
                  <a:gd name="T0" fmla="*/ 1 w 10"/>
                  <a:gd name="T1" fmla="*/ 0 h 6"/>
                  <a:gd name="T2" fmla="*/ 10 w 10"/>
                  <a:gd name="T3" fmla="*/ 3 h 6"/>
                  <a:gd name="T4" fmla="*/ 9 w 10"/>
                  <a:gd name="T5" fmla="*/ 6 h 6"/>
                  <a:gd name="T6" fmla="*/ 0 w 10"/>
                  <a:gd name="T7" fmla="*/ 3 h 6"/>
                  <a:gd name="T8" fmla="*/ 1 w 10"/>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6">
                    <a:moveTo>
                      <a:pt x="1" y="0"/>
                    </a:moveTo>
                    <a:lnTo>
                      <a:pt x="10" y="3"/>
                    </a:lnTo>
                    <a:lnTo>
                      <a:pt x="9" y="6"/>
                    </a:lnTo>
                    <a:lnTo>
                      <a:pt x="0" y="3"/>
                    </a:lnTo>
                    <a:lnTo>
                      <a:pt x="1"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02" name="Freeform 352"/>
              <p:cNvSpPr>
                <a:spLocks noEditPoints="1"/>
              </p:cNvSpPr>
              <p:nvPr/>
            </p:nvSpPr>
            <p:spPr bwMode="auto">
              <a:xfrm>
                <a:off x="3415" y="1886"/>
                <a:ext cx="509" cy="838"/>
              </a:xfrm>
              <a:custGeom>
                <a:avLst/>
                <a:gdLst>
                  <a:gd name="T0" fmla="*/ 0 w 509"/>
                  <a:gd name="T1" fmla="*/ 833 h 838"/>
                  <a:gd name="T2" fmla="*/ 22 w 509"/>
                  <a:gd name="T3" fmla="*/ 815 h 838"/>
                  <a:gd name="T4" fmla="*/ 38 w 509"/>
                  <a:gd name="T5" fmla="*/ 788 h 838"/>
                  <a:gd name="T6" fmla="*/ 43 w 509"/>
                  <a:gd name="T7" fmla="*/ 762 h 838"/>
                  <a:gd name="T8" fmla="*/ 43 w 509"/>
                  <a:gd name="T9" fmla="*/ 762 h 838"/>
                  <a:gd name="T10" fmla="*/ 53 w 509"/>
                  <a:gd name="T11" fmla="*/ 745 h 838"/>
                  <a:gd name="T12" fmla="*/ 75 w 509"/>
                  <a:gd name="T13" fmla="*/ 729 h 838"/>
                  <a:gd name="T14" fmla="*/ 91 w 509"/>
                  <a:gd name="T15" fmla="*/ 701 h 838"/>
                  <a:gd name="T16" fmla="*/ 95 w 509"/>
                  <a:gd name="T17" fmla="*/ 674 h 838"/>
                  <a:gd name="T18" fmla="*/ 95 w 509"/>
                  <a:gd name="T19" fmla="*/ 674 h 838"/>
                  <a:gd name="T20" fmla="*/ 105 w 509"/>
                  <a:gd name="T21" fmla="*/ 658 h 838"/>
                  <a:gd name="T22" fmla="*/ 126 w 509"/>
                  <a:gd name="T23" fmla="*/ 642 h 838"/>
                  <a:gd name="T24" fmla="*/ 143 w 509"/>
                  <a:gd name="T25" fmla="*/ 615 h 838"/>
                  <a:gd name="T26" fmla="*/ 148 w 509"/>
                  <a:gd name="T27" fmla="*/ 587 h 838"/>
                  <a:gd name="T28" fmla="*/ 148 w 509"/>
                  <a:gd name="T29" fmla="*/ 587 h 838"/>
                  <a:gd name="T30" fmla="*/ 157 w 509"/>
                  <a:gd name="T31" fmla="*/ 571 h 838"/>
                  <a:gd name="T32" fmla="*/ 179 w 509"/>
                  <a:gd name="T33" fmla="*/ 555 h 838"/>
                  <a:gd name="T34" fmla="*/ 195 w 509"/>
                  <a:gd name="T35" fmla="*/ 528 h 838"/>
                  <a:gd name="T36" fmla="*/ 199 w 509"/>
                  <a:gd name="T37" fmla="*/ 501 h 838"/>
                  <a:gd name="T38" fmla="*/ 199 w 509"/>
                  <a:gd name="T39" fmla="*/ 501 h 838"/>
                  <a:gd name="T40" fmla="*/ 210 w 509"/>
                  <a:gd name="T41" fmla="*/ 484 h 838"/>
                  <a:gd name="T42" fmla="*/ 232 w 509"/>
                  <a:gd name="T43" fmla="*/ 468 h 838"/>
                  <a:gd name="T44" fmla="*/ 248 w 509"/>
                  <a:gd name="T45" fmla="*/ 441 h 838"/>
                  <a:gd name="T46" fmla="*/ 252 w 509"/>
                  <a:gd name="T47" fmla="*/ 414 h 838"/>
                  <a:gd name="T48" fmla="*/ 252 w 509"/>
                  <a:gd name="T49" fmla="*/ 414 h 838"/>
                  <a:gd name="T50" fmla="*/ 262 w 509"/>
                  <a:gd name="T51" fmla="*/ 397 h 838"/>
                  <a:gd name="T52" fmla="*/ 283 w 509"/>
                  <a:gd name="T53" fmla="*/ 380 h 838"/>
                  <a:gd name="T54" fmla="*/ 300 w 509"/>
                  <a:gd name="T55" fmla="*/ 353 h 838"/>
                  <a:gd name="T56" fmla="*/ 305 w 509"/>
                  <a:gd name="T57" fmla="*/ 326 h 838"/>
                  <a:gd name="T58" fmla="*/ 305 w 509"/>
                  <a:gd name="T59" fmla="*/ 326 h 838"/>
                  <a:gd name="T60" fmla="*/ 314 w 509"/>
                  <a:gd name="T61" fmla="*/ 310 h 838"/>
                  <a:gd name="T62" fmla="*/ 336 w 509"/>
                  <a:gd name="T63" fmla="*/ 294 h 838"/>
                  <a:gd name="T64" fmla="*/ 352 w 509"/>
                  <a:gd name="T65" fmla="*/ 266 h 838"/>
                  <a:gd name="T66" fmla="*/ 356 w 509"/>
                  <a:gd name="T67" fmla="*/ 239 h 838"/>
                  <a:gd name="T68" fmla="*/ 356 w 509"/>
                  <a:gd name="T69" fmla="*/ 239 h 838"/>
                  <a:gd name="T70" fmla="*/ 366 w 509"/>
                  <a:gd name="T71" fmla="*/ 223 h 838"/>
                  <a:gd name="T72" fmla="*/ 389 w 509"/>
                  <a:gd name="T73" fmla="*/ 207 h 838"/>
                  <a:gd name="T74" fmla="*/ 405 w 509"/>
                  <a:gd name="T75" fmla="*/ 180 h 838"/>
                  <a:gd name="T76" fmla="*/ 409 w 509"/>
                  <a:gd name="T77" fmla="*/ 152 h 838"/>
                  <a:gd name="T78" fmla="*/ 409 w 509"/>
                  <a:gd name="T79" fmla="*/ 152 h 838"/>
                  <a:gd name="T80" fmla="*/ 419 w 509"/>
                  <a:gd name="T81" fmla="*/ 136 h 838"/>
                  <a:gd name="T82" fmla="*/ 440 w 509"/>
                  <a:gd name="T83" fmla="*/ 120 h 838"/>
                  <a:gd name="T84" fmla="*/ 456 w 509"/>
                  <a:gd name="T85" fmla="*/ 93 h 838"/>
                  <a:gd name="T86" fmla="*/ 462 w 509"/>
                  <a:gd name="T87" fmla="*/ 66 h 838"/>
                  <a:gd name="T88" fmla="*/ 462 w 509"/>
                  <a:gd name="T89" fmla="*/ 66 h 838"/>
                  <a:gd name="T90" fmla="*/ 471 w 509"/>
                  <a:gd name="T91" fmla="*/ 50 h 838"/>
                  <a:gd name="T92" fmla="*/ 493 w 509"/>
                  <a:gd name="T93" fmla="*/ 32 h 838"/>
                  <a:gd name="T94" fmla="*/ 509 w 509"/>
                  <a:gd name="T95" fmla="*/ 5 h 83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509" h="838">
                    <a:moveTo>
                      <a:pt x="4" y="826"/>
                    </a:moveTo>
                    <a:lnTo>
                      <a:pt x="12" y="832"/>
                    </a:lnTo>
                    <a:lnTo>
                      <a:pt x="9" y="838"/>
                    </a:lnTo>
                    <a:lnTo>
                      <a:pt x="0" y="833"/>
                    </a:lnTo>
                    <a:lnTo>
                      <a:pt x="4" y="826"/>
                    </a:lnTo>
                    <a:close/>
                    <a:moveTo>
                      <a:pt x="16" y="805"/>
                    </a:moveTo>
                    <a:lnTo>
                      <a:pt x="25" y="810"/>
                    </a:lnTo>
                    <a:lnTo>
                      <a:pt x="22" y="815"/>
                    </a:lnTo>
                    <a:lnTo>
                      <a:pt x="13" y="810"/>
                    </a:lnTo>
                    <a:lnTo>
                      <a:pt x="16" y="805"/>
                    </a:lnTo>
                    <a:close/>
                    <a:moveTo>
                      <a:pt x="29" y="783"/>
                    </a:moveTo>
                    <a:lnTo>
                      <a:pt x="38" y="788"/>
                    </a:lnTo>
                    <a:lnTo>
                      <a:pt x="35" y="794"/>
                    </a:lnTo>
                    <a:lnTo>
                      <a:pt x="26" y="788"/>
                    </a:lnTo>
                    <a:lnTo>
                      <a:pt x="29" y="783"/>
                    </a:lnTo>
                    <a:close/>
                    <a:moveTo>
                      <a:pt x="43" y="762"/>
                    </a:moveTo>
                    <a:lnTo>
                      <a:pt x="52" y="767"/>
                    </a:lnTo>
                    <a:lnTo>
                      <a:pt x="49" y="772"/>
                    </a:lnTo>
                    <a:lnTo>
                      <a:pt x="40" y="767"/>
                    </a:lnTo>
                    <a:lnTo>
                      <a:pt x="43" y="762"/>
                    </a:lnTo>
                    <a:close/>
                    <a:moveTo>
                      <a:pt x="56" y="740"/>
                    </a:moveTo>
                    <a:lnTo>
                      <a:pt x="65" y="745"/>
                    </a:lnTo>
                    <a:lnTo>
                      <a:pt x="62" y="751"/>
                    </a:lnTo>
                    <a:lnTo>
                      <a:pt x="53" y="745"/>
                    </a:lnTo>
                    <a:lnTo>
                      <a:pt x="56" y="740"/>
                    </a:lnTo>
                    <a:close/>
                    <a:moveTo>
                      <a:pt x="69" y="718"/>
                    </a:moveTo>
                    <a:lnTo>
                      <a:pt x="78" y="724"/>
                    </a:lnTo>
                    <a:lnTo>
                      <a:pt x="75" y="729"/>
                    </a:lnTo>
                    <a:lnTo>
                      <a:pt x="66" y="724"/>
                    </a:lnTo>
                    <a:lnTo>
                      <a:pt x="69" y="718"/>
                    </a:lnTo>
                    <a:close/>
                    <a:moveTo>
                      <a:pt x="82" y="696"/>
                    </a:moveTo>
                    <a:lnTo>
                      <a:pt x="91" y="701"/>
                    </a:lnTo>
                    <a:lnTo>
                      <a:pt x="87" y="707"/>
                    </a:lnTo>
                    <a:lnTo>
                      <a:pt x="79" y="701"/>
                    </a:lnTo>
                    <a:lnTo>
                      <a:pt x="82" y="696"/>
                    </a:lnTo>
                    <a:close/>
                    <a:moveTo>
                      <a:pt x="95" y="674"/>
                    </a:moveTo>
                    <a:lnTo>
                      <a:pt x="104" y="680"/>
                    </a:lnTo>
                    <a:lnTo>
                      <a:pt x="100" y="685"/>
                    </a:lnTo>
                    <a:lnTo>
                      <a:pt x="92" y="680"/>
                    </a:lnTo>
                    <a:lnTo>
                      <a:pt x="95" y="674"/>
                    </a:lnTo>
                    <a:close/>
                    <a:moveTo>
                      <a:pt x="108" y="653"/>
                    </a:moveTo>
                    <a:lnTo>
                      <a:pt x="116" y="658"/>
                    </a:lnTo>
                    <a:lnTo>
                      <a:pt x="113" y="664"/>
                    </a:lnTo>
                    <a:lnTo>
                      <a:pt x="105" y="658"/>
                    </a:lnTo>
                    <a:lnTo>
                      <a:pt x="108" y="653"/>
                    </a:lnTo>
                    <a:close/>
                    <a:moveTo>
                      <a:pt x="121" y="631"/>
                    </a:moveTo>
                    <a:lnTo>
                      <a:pt x="129" y="637"/>
                    </a:lnTo>
                    <a:lnTo>
                      <a:pt x="126" y="642"/>
                    </a:lnTo>
                    <a:lnTo>
                      <a:pt x="118" y="637"/>
                    </a:lnTo>
                    <a:lnTo>
                      <a:pt x="121" y="631"/>
                    </a:lnTo>
                    <a:close/>
                    <a:moveTo>
                      <a:pt x="135" y="610"/>
                    </a:moveTo>
                    <a:lnTo>
                      <a:pt x="143" y="615"/>
                    </a:lnTo>
                    <a:lnTo>
                      <a:pt x="140" y="620"/>
                    </a:lnTo>
                    <a:lnTo>
                      <a:pt x="132" y="615"/>
                    </a:lnTo>
                    <a:lnTo>
                      <a:pt x="135" y="610"/>
                    </a:lnTo>
                    <a:close/>
                    <a:moveTo>
                      <a:pt x="148" y="587"/>
                    </a:moveTo>
                    <a:lnTo>
                      <a:pt x="156" y="592"/>
                    </a:lnTo>
                    <a:lnTo>
                      <a:pt x="153" y="598"/>
                    </a:lnTo>
                    <a:lnTo>
                      <a:pt x="144" y="592"/>
                    </a:lnTo>
                    <a:lnTo>
                      <a:pt x="148" y="587"/>
                    </a:lnTo>
                    <a:close/>
                    <a:moveTo>
                      <a:pt x="161" y="566"/>
                    </a:moveTo>
                    <a:lnTo>
                      <a:pt x="169" y="571"/>
                    </a:lnTo>
                    <a:lnTo>
                      <a:pt x="166" y="576"/>
                    </a:lnTo>
                    <a:lnTo>
                      <a:pt x="157" y="571"/>
                    </a:lnTo>
                    <a:lnTo>
                      <a:pt x="161" y="566"/>
                    </a:lnTo>
                    <a:close/>
                    <a:moveTo>
                      <a:pt x="173" y="544"/>
                    </a:moveTo>
                    <a:lnTo>
                      <a:pt x="182" y="549"/>
                    </a:lnTo>
                    <a:lnTo>
                      <a:pt x="179" y="555"/>
                    </a:lnTo>
                    <a:lnTo>
                      <a:pt x="170" y="549"/>
                    </a:lnTo>
                    <a:lnTo>
                      <a:pt x="173" y="544"/>
                    </a:lnTo>
                    <a:close/>
                    <a:moveTo>
                      <a:pt x="186" y="522"/>
                    </a:moveTo>
                    <a:lnTo>
                      <a:pt x="195" y="528"/>
                    </a:lnTo>
                    <a:lnTo>
                      <a:pt x="192" y="533"/>
                    </a:lnTo>
                    <a:lnTo>
                      <a:pt x="183" y="528"/>
                    </a:lnTo>
                    <a:lnTo>
                      <a:pt x="186" y="522"/>
                    </a:lnTo>
                    <a:close/>
                    <a:moveTo>
                      <a:pt x="199" y="501"/>
                    </a:moveTo>
                    <a:lnTo>
                      <a:pt x="208" y="506"/>
                    </a:lnTo>
                    <a:lnTo>
                      <a:pt x="205" y="512"/>
                    </a:lnTo>
                    <a:lnTo>
                      <a:pt x="196" y="506"/>
                    </a:lnTo>
                    <a:lnTo>
                      <a:pt x="199" y="501"/>
                    </a:lnTo>
                    <a:close/>
                    <a:moveTo>
                      <a:pt x="213" y="478"/>
                    </a:moveTo>
                    <a:lnTo>
                      <a:pt x="222" y="484"/>
                    </a:lnTo>
                    <a:lnTo>
                      <a:pt x="219" y="489"/>
                    </a:lnTo>
                    <a:lnTo>
                      <a:pt x="210" y="484"/>
                    </a:lnTo>
                    <a:lnTo>
                      <a:pt x="213" y="478"/>
                    </a:lnTo>
                    <a:close/>
                    <a:moveTo>
                      <a:pt x="226" y="457"/>
                    </a:moveTo>
                    <a:lnTo>
                      <a:pt x="235" y="462"/>
                    </a:lnTo>
                    <a:lnTo>
                      <a:pt x="232" y="468"/>
                    </a:lnTo>
                    <a:lnTo>
                      <a:pt x="223" y="462"/>
                    </a:lnTo>
                    <a:lnTo>
                      <a:pt x="226" y="457"/>
                    </a:lnTo>
                    <a:close/>
                    <a:moveTo>
                      <a:pt x="239" y="435"/>
                    </a:moveTo>
                    <a:lnTo>
                      <a:pt x="248" y="441"/>
                    </a:lnTo>
                    <a:lnTo>
                      <a:pt x="244" y="446"/>
                    </a:lnTo>
                    <a:lnTo>
                      <a:pt x="236" y="441"/>
                    </a:lnTo>
                    <a:lnTo>
                      <a:pt x="239" y="435"/>
                    </a:lnTo>
                    <a:close/>
                    <a:moveTo>
                      <a:pt x="252" y="414"/>
                    </a:moveTo>
                    <a:lnTo>
                      <a:pt x="261" y="419"/>
                    </a:lnTo>
                    <a:lnTo>
                      <a:pt x="257" y="424"/>
                    </a:lnTo>
                    <a:lnTo>
                      <a:pt x="249" y="419"/>
                    </a:lnTo>
                    <a:lnTo>
                      <a:pt x="252" y="414"/>
                    </a:lnTo>
                    <a:close/>
                    <a:moveTo>
                      <a:pt x="265" y="392"/>
                    </a:moveTo>
                    <a:lnTo>
                      <a:pt x="273" y="397"/>
                    </a:lnTo>
                    <a:lnTo>
                      <a:pt x="270" y="403"/>
                    </a:lnTo>
                    <a:lnTo>
                      <a:pt x="262" y="397"/>
                    </a:lnTo>
                    <a:lnTo>
                      <a:pt x="265" y="392"/>
                    </a:lnTo>
                    <a:close/>
                    <a:moveTo>
                      <a:pt x="278" y="369"/>
                    </a:moveTo>
                    <a:lnTo>
                      <a:pt x="286" y="375"/>
                    </a:lnTo>
                    <a:lnTo>
                      <a:pt x="283" y="380"/>
                    </a:lnTo>
                    <a:lnTo>
                      <a:pt x="275" y="375"/>
                    </a:lnTo>
                    <a:lnTo>
                      <a:pt x="278" y="369"/>
                    </a:lnTo>
                    <a:close/>
                    <a:moveTo>
                      <a:pt x="292" y="348"/>
                    </a:moveTo>
                    <a:lnTo>
                      <a:pt x="300" y="353"/>
                    </a:lnTo>
                    <a:lnTo>
                      <a:pt x="296" y="359"/>
                    </a:lnTo>
                    <a:lnTo>
                      <a:pt x="287" y="353"/>
                    </a:lnTo>
                    <a:lnTo>
                      <a:pt x="292" y="348"/>
                    </a:lnTo>
                    <a:close/>
                    <a:moveTo>
                      <a:pt x="305" y="326"/>
                    </a:moveTo>
                    <a:lnTo>
                      <a:pt x="313" y="332"/>
                    </a:lnTo>
                    <a:lnTo>
                      <a:pt x="310" y="337"/>
                    </a:lnTo>
                    <a:lnTo>
                      <a:pt x="301" y="332"/>
                    </a:lnTo>
                    <a:lnTo>
                      <a:pt x="305" y="326"/>
                    </a:lnTo>
                    <a:close/>
                    <a:moveTo>
                      <a:pt x="318" y="305"/>
                    </a:moveTo>
                    <a:lnTo>
                      <a:pt x="326" y="310"/>
                    </a:lnTo>
                    <a:lnTo>
                      <a:pt x="323" y="316"/>
                    </a:lnTo>
                    <a:lnTo>
                      <a:pt x="314" y="310"/>
                    </a:lnTo>
                    <a:lnTo>
                      <a:pt x="318" y="305"/>
                    </a:lnTo>
                    <a:close/>
                    <a:moveTo>
                      <a:pt x="330" y="283"/>
                    </a:moveTo>
                    <a:lnTo>
                      <a:pt x="339" y="289"/>
                    </a:lnTo>
                    <a:lnTo>
                      <a:pt x="336" y="294"/>
                    </a:lnTo>
                    <a:lnTo>
                      <a:pt x="327" y="289"/>
                    </a:lnTo>
                    <a:lnTo>
                      <a:pt x="330" y="283"/>
                    </a:lnTo>
                    <a:close/>
                    <a:moveTo>
                      <a:pt x="343" y="261"/>
                    </a:moveTo>
                    <a:lnTo>
                      <a:pt x="352" y="266"/>
                    </a:lnTo>
                    <a:lnTo>
                      <a:pt x="349" y="273"/>
                    </a:lnTo>
                    <a:lnTo>
                      <a:pt x="340" y="267"/>
                    </a:lnTo>
                    <a:lnTo>
                      <a:pt x="343" y="261"/>
                    </a:lnTo>
                    <a:close/>
                    <a:moveTo>
                      <a:pt x="356" y="239"/>
                    </a:moveTo>
                    <a:lnTo>
                      <a:pt x="365" y="245"/>
                    </a:lnTo>
                    <a:lnTo>
                      <a:pt x="362" y="250"/>
                    </a:lnTo>
                    <a:lnTo>
                      <a:pt x="353" y="245"/>
                    </a:lnTo>
                    <a:lnTo>
                      <a:pt x="356" y="239"/>
                    </a:lnTo>
                    <a:close/>
                    <a:moveTo>
                      <a:pt x="369" y="218"/>
                    </a:moveTo>
                    <a:lnTo>
                      <a:pt x="378" y="223"/>
                    </a:lnTo>
                    <a:lnTo>
                      <a:pt x="375" y="228"/>
                    </a:lnTo>
                    <a:lnTo>
                      <a:pt x="366" y="223"/>
                    </a:lnTo>
                    <a:lnTo>
                      <a:pt x="369" y="218"/>
                    </a:lnTo>
                    <a:close/>
                    <a:moveTo>
                      <a:pt x="383" y="196"/>
                    </a:moveTo>
                    <a:lnTo>
                      <a:pt x="392" y="201"/>
                    </a:lnTo>
                    <a:lnTo>
                      <a:pt x="389" y="207"/>
                    </a:lnTo>
                    <a:lnTo>
                      <a:pt x="380" y="201"/>
                    </a:lnTo>
                    <a:lnTo>
                      <a:pt x="383" y="196"/>
                    </a:lnTo>
                    <a:close/>
                    <a:moveTo>
                      <a:pt x="396" y="175"/>
                    </a:moveTo>
                    <a:lnTo>
                      <a:pt x="405" y="180"/>
                    </a:lnTo>
                    <a:lnTo>
                      <a:pt x="401" y="185"/>
                    </a:lnTo>
                    <a:lnTo>
                      <a:pt x="393" y="180"/>
                    </a:lnTo>
                    <a:lnTo>
                      <a:pt x="396" y="175"/>
                    </a:lnTo>
                    <a:close/>
                    <a:moveTo>
                      <a:pt x="409" y="152"/>
                    </a:moveTo>
                    <a:lnTo>
                      <a:pt x="418" y="157"/>
                    </a:lnTo>
                    <a:lnTo>
                      <a:pt x="414" y="164"/>
                    </a:lnTo>
                    <a:lnTo>
                      <a:pt x="406" y="158"/>
                    </a:lnTo>
                    <a:lnTo>
                      <a:pt x="409" y="152"/>
                    </a:lnTo>
                    <a:close/>
                    <a:moveTo>
                      <a:pt x="422" y="130"/>
                    </a:moveTo>
                    <a:lnTo>
                      <a:pt x="430" y="136"/>
                    </a:lnTo>
                    <a:lnTo>
                      <a:pt x="427" y="141"/>
                    </a:lnTo>
                    <a:lnTo>
                      <a:pt x="419" y="136"/>
                    </a:lnTo>
                    <a:lnTo>
                      <a:pt x="422" y="130"/>
                    </a:lnTo>
                    <a:close/>
                    <a:moveTo>
                      <a:pt x="435" y="109"/>
                    </a:moveTo>
                    <a:lnTo>
                      <a:pt x="443" y="114"/>
                    </a:lnTo>
                    <a:lnTo>
                      <a:pt x="440" y="120"/>
                    </a:lnTo>
                    <a:lnTo>
                      <a:pt x="432" y="114"/>
                    </a:lnTo>
                    <a:lnTo>
                      <a:pt x="435" y="109"/>
                    </a:lnTo>
                    <a:close/>
                    <a:moveTo>
                      <a:pt x="448" y="87"/>
                    </a:moveTo>
                    <a:lnTo>
                      <a:pt x="456" y="93"/>
                    </a:lnTo>
                    <a:lnTo>
                      <a:pt x="453" y="98"/>
                    </a:lnTo>
                    <a:lnTo>
                      <a:pt x="444" y="93"/>
                    </a:lnTo>
                    <a:lnTo>
                      <a:pt x="448" y="87"/>
                    </a:lnTo>
                    <a:close/>
                    <a:moveTo>
                      <a:pt x="462" y="66"/>
                    </a:moveTo>
                    <a:lnTo>
                      <a:pt x="470" y="71"/>
                    </a:lnTo>
                    <a:lnTo>
                      <a:pt x="467" y="77"/>
                    </a:lnTo>
                    <a:lnTo>
                      <a:pt x="458" y="71"/>
                    </a:lnTo>
                    <a:lnTo>
                      <a:pt x="462" y="66"/>
                    </a:lnTo>
                    <a:close/>
                    <a:moveTo>
                      <a:pt x="475" y="44"/>
                    </a:moveTo>
                    <a:lnTo>
                      <a:pt x="483" y="50"/>
                    </a:lnTo>
                    <a:lnTo>
                      <a:pt x="480" y="55"/>
                    </a:lnTo>
                    <a:lnTo>
                      <a:pt x="471" y="50"/>
                    </a:lnTo>
                    <a:lnTo>
                      <a:pt x="475" y="44"/>
                    </a:lnTo>
                    <a:close/>
                    <a:moveTo>
                      <a:pt x="487" y="22"/>
                    </a:moveTo>
                    <a:lnTo>
                      <a:pt x="496" y="27"/>
                    </a:lnTo>
                    <a:lnTo>
                      <a:pt x="493" y="32"/>
                    </a:lnTo>
                    <a:lnTo>
                      <a:pt x="484" y="27"/>
                    </a:lnTo>
                    <a:lnTo>
                      <a:pt x="487" y="22"/>
                    </a:lnTo>
                    <a:close/>
                    <a:moveTo>
                      <a:pt x="500" y="0"/>
                    </a:moveTo>
                    <a:lnTo>
                      <a:pt x="509" y="5"/>
                    </a:lnTo>
                    <a:lnTo>
                      <a:pt x="506" y="11"/>
                    </a:lnTo>
                    <a:lnTo>
                      <a:pt x="497" y="5"/>
                    </a:lnTo>
                    <a:lnTo>
                      <a:pt x="500"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03" name="Freeform 353"/>
              <p:cNvSpPr>
                <a:spLocks/>
              </p:cNvSpPr>
              <p:nvPr/>
            </p:nvSpPr>
            <p:spPr bwMode="auto">
              <a:xfrm>
                <a:off x="3923" y="1870"/>
                <a:ext cx="10" cy="6"/>
              </a:xfrm>
              <a:custGeom>
                <a:avLst/>
                <a:gdLst>
                  <a:gd name="T0" fmla="*/ 1 w 10"/>
                  <a:gd name="T1" fmla="*/ 0 h 6"/>
                  <a:gd name="T2" fmla="*/ 10 w 10"/>
                  <a:gd name="T3" fmla="*/ 4 h 6"/>
                  <a:gd name="T4" fmla="*/ 9 w 10"/>
                  <a:gd name="T5" fmla="*/ 6 h 6"/>
                  <a:gd name="T6" fmla="*/ 0 w 10"/>
                  <a:gd name="T7" fmla="*/ 2 h 6"/>
                  <a:gd name="T8" fmla="*/ 1 w 10"/>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6">
                    <a:moveTo>
                      <a:pt x="1" y="0"/>
                    </a:moveTo>
                    <a:lnTo>
                      <a:pt x="10" y="4"/>
                    </a:lnTo>
                    <a:lnTo>
                      <a:pt x="9" y="6"/>
                    </a:lnTo>
                    <a:lnTo>
                      <a:pt x="0" y="2"/>
                    </a:lnTo>
                    <a:lnTo>
                      <a:pt x="1"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04" name="Freeform 354"/>
              <p:cNvSpPr>
                <a:spLocks/>
              </p:cNvSpPr>
              <p:nvPr/>
            </p:nvSpPr>
            <p:spPr bwMode="auto">
              <a:xfrm>
                <a:off x="4196" y="2271"/>
                <a:ext cx="174" cy="175"/>
              </a:xfrm>
              <a:custGeom>
                <a:avLst/>
                <a:gdLst>
                  <a:gd name="T0" fmla="*/ 88 w 174"/>
                  <a:gd name="T1" fmla="*/ 0 h 175"/>
                  <a:gd name="T2" fmla="*/ 111 w 174"/>
                  <a:gd name="T3" fmla="*/ 3 h 175"/>
                  <a:gd name="T4" fmla="*/ 132 w 174"/>
                  <a:gd name="T5" fmla="*/ 11 h 175"/>
                  <a:gd name="T6" fmla="*/ 150 w 174"/>
                  <a:gd name="T7" fmla="*/ 25 h 175"/>
                  <a:gd name="T8" fmla="*/ 164 w 174"/>
                  <a:gd name="T9" fmla="*/ 43 h 175"/>
                  <a:gd name="T10" fmla="*/ 172 w 174"/>
                  <a:gd name="T11" fmla="*/ 64 h 175"/>
                  <a:gd name="T12" fmla="*/ 174 w 174"/>
                  <a:gd name="T13" fmla="*/ 87 h 175"/>
                  <a:gd name="T14" fmla="*/ 172 w 174"/>
                  <a:gd name="T15" fmla="*/ 111 h 175"/>
                  <a:gd name="T16" fmla="*/ 164 w 174"/>
                  <a:gd name="T17" fmla="*/ 131 h 175"/>
                  <a:gd name="T18" fmla="*/ 150 w 174"/>
                  <a:gd name="T19" fmla="*/ 149 h 175"/>
                  <a:gd name="T20" fmla="*/ 132 w 174"/>
                  <a:gd name="T21" fmla="*/ 162 h 175"/>
                  <a:gd name="T22" fmla="*/ 111 w 174"/>
                  <a:gd name="T23" fmla="*/ 172 h 175"/>
                  <a:gd name="T24" fmla="*/ 88 w 174"/>
                  <a:gd name="T25" fmla="*/ 175 h 175"/>
                  <a:gd name="T26" fmla="*/ 65 w 174"/>
                  <a:gd name="T27" fmla="*/ 172 h 175"/>
                  <a:gd name="T28" fmla="*/ 44 w 174"/>
                  <a:gd name="T29" fmla="*/ 162 h 175"/>
                  <a:gd name="T30" fmla="*/ 26 w 174"/>
                  <a:gd name="T31" fmla="*/ 149 h 175"/>
                  <a:gd name="T32" fmla="*/ 13 w 174"/>
                  <a:gd name="T33" fmla="*/ 131 h 175"/>
                  <a:gd name="T34" fmla="*/ 3 w 174"/>
                  <a:gd name="T35" fmla="*/ 111 h 175"/>
                  <a:gd name="T36" fmla="*/ 0 w 174"/>
                  <a:gd name="T37" fmla="*/ 87 h 175"/>
                  <a:gd name="T38" fmla="*/ 3 w 174"/>
                  <a:gd name="T39" fmla="*/ 64 h 175"/>
                  <a:gd name="T40" fmla="*/ 13 w 174"/>
                  <a:gd name="T41" fmla="*/ 43 h 175"/>
                  <a:gd name="T42" fmla="*/ 26 w 174"/>
                  <a:gd name="T43" fmla="*/ 25 h 175"/>
                  <a:gd name="T44" fmla="*/ 44 w 174"/>
                  <a:gd name="T45" fmla="*/ 11 h 175"/>
                  <a:gd name="T46" fmla="*/ 65 w 174"/>
                  <a:gd name="T47" fmla="*/ 3 h 175"/>
                  <a:gd name="T48" fmla="*/ 88 w 174"/>
                  <a:gd name="T49" fmla="*/ 0 h 17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74" h="175">
                    <a:moveTo>
                      <a:pt x="88" y="0"/>
                    </a:moveTo>
                    <a:lnTo>
                      <a:pt x="111" y="3"/>
                    </a:lnTo>
                    <a:lnTo>
                      <a:pt x="132" y="11"/>
                    </a:lnTo>
                    <a:lnTo>
                      <a:pt x="150" y="25"/>
                    </a:lnTo>
                    <a:lnTo>
                      <a:pt x="164" y="43"/>
                    </a:lnTo>
                    <a:lnTo>
                      <a:pt x="172" y="64"/>
                    </a:lnTo>
                    <a:lnTo>
                      <a:pt x="174" y="87"/>
                    </a:lnTo>
                    <a:lnTo>
                      <a:pt x="172" y="111"/>
                    </a:lnTo>
                    <a:lnTo>
                      <a:pt x="164" y="131"/>
                    </a:lnTo>
                    <a:lnTo>
                      <a:pt x="150" y="149"/>
                    </a:lnTo>
                    <a:lnTo>
                      <a:pt x="132" y="162"/>
                    </a:lnTo>
                    <a:lnTo>
                      <a:pt x="111" y="172"/>
                    </a:lnTo>
                    <a:lnTo>
                      <a:pt x="88" y="175"/>
                    </a:lnTo>
                    <a:lnTo>
                      <a:pt x="65" y="172"/>
                    </a:lnTo>
                    <a:lnTo>
                      <a:pt x="44" y="162"/>
                    </a:lnTo>
                    <a:lnTo>
                      <a:pt x="26" y="149"/>
                    </a:lnTo>
                    <a:lnTo>
                      <a:pt x="13" y="131"/>
                    </a:lnTo>
                    <a:lnTo>
                      <a:pt x="3" y="111"/>
                    </a:lnTo>
                    <a:lnTo>
                      <a:pt x="0" y="87"/>
                    </a:lnTo>
                    <a:lnTo>
                      <a:pt x="3" y="64"/>
                    </a:lnTo>
                    <a:lnTo>
                      <a:pt x="13" y="43"/>
                    </a:lnTo>
                    <a:lnTo>
                      <a:pt x="26" y="25"/>
                    </a:lnTo>
                    <a:lnTo>
                      <a:pt x="44" y="11"/>
                    </a:lnTo>
                    <a:lnTo>
                      <a:pt x="65" y="3"/>
                    </a:lnTo>
                    <a:lnTo>
                      <a:pt x="88" y="0"/>
                    </a:lnTo>
                    <a:close/>
                  </a:path>
                </a:pathLst>
              </a:custGeom>
              <a:solidFill>
                <a:srgbClr val="29426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05" name="Freeform 355"/>
              <p:cNvSpPr>
                <a:spLocks noEditPoints="1"/>
              </p:cNvSpPr>
              <p:nvPr/>
            </p:nvSpPr>
            <p:spPr bwMode="auto">
              <a:xfrm>
                <a:off x="4192" y="2265"/>
                <a:ext cx="185" cy="183"/>
              </a:xfrm>
              <a:custGeom>
                <a:avLst/>
                <a:gdLst>
                  <a:gd name="T0" fmla="*/ 93 w 185"/>
                  <a:gd name="T1" fmla="*/ 9 h 183"/>
                  <a:gd name="T2" fmla="*/ 72 w 185"/>
                  <a:gd name="T3" fmla="*/ 12 h 183"/>
                  <a:gd name="T4" fmla="*/ 51 w 185"/>
                  <a:gd name="T5" fmla="*/ 21 h 183"/>
                  <a:gd name="T6" fmla="*/ 34 w 185"/>
                  <a:gd name="T7" fmla="*/ 33 h 183"/>
                  <a:gd name="T8" fmla="*/ 21 w 185"/>
                  <a:gd name="T9" fmla="*/ 51 h 183"/>
                  <a:gd name="T10" fmla="*/ 14 w 185"/>
                  <a:gd name="T11" fmla="*/ 70 h 183"/>
                  <a:gd name="T12" fmla="*/ 11 w 185"/>
                  <a:gd name="T13" fmla="*/ 92 h 183"/>
                  <a:gd name="T14" fmla="*/ 14 w 185"/>
                  <a:gd name="T15" fmla="*/ 113 h 183"/>
                  <a:gd name="T16" fmla="*/ 21 w 185"/>
                  <a:gd name="T17" fmla="*/ 134 h 183"/>
                  <a:gd name="T18" fmla="*/ 34 w 185"/>
                  <a:gd name="T19" fmla="*/ 151 h 183"/>
                  <a:gd name="T20" fmla="*/ 51 w 185"/>
                  <a:gd name="T21" fmla="*/ 163 h 183"/>
                  <a:gd name="T22" fmla="*/ 72 w 185"/>
                  <a:gd name="T23" fmla="*/ 171 h 183"/>
                  <a:gd name="T24" fmla="*/ 93 w 185"/>
                  <a:gd name="T25" fmla="*/ 175 h 183"/>
                  <a:gd name="T26" fmla="*/ 114 w 185"/>
                  <a:gd name="T27" fmla="*/ 171 h 183"/>
                  <a:gd name="T28" fmla="*/ 133 w 185"/>
                  <a:gd name="T29" fmla="*/ 163 h 183"/>
                  <a:gd name="T30" fmla="*/ 150 w 185"/>
                  <a:gd name="T31" fmla="*/ 151 h 183"/>
                  <a:gd name="T32" fmla="*/ 161 w 185"/>
                  <a:gd name="T33" fmla="*/ 138 h 183"/>
                  <a:gd name="T34" fmla="*/ 169 w 185"/>
                  <a:gd name="T35" fmla="*/ 124 h 183"/>
                  <a:gd name="T36" fmla="*/ 173 w 185"/>
                  <a:gd name="T37" fmla="*/ 108 h 183"/>
                  <a:gd name="T38" fmla="*/ 174 w 185"/>
                  <a:gd name="T39" fmla="*/ 92 h 183"/>
                  <a:gd name="T40" fmla="*/ 173 w 185"/>
                  <a:gd name="T41" fmla="*/ 76 h 183"/>
                  <a:gd name="T42" fmla="*/ 169 w 185"/>
                  <a:gd name="T43" fmla="*/ 61 h 183"/>
                  <a:gd name="T44" fmla="*/ 161 w 185"/>
                  <a:gd name="T45" fmla="*/ 45 h 183"/>
                  <a:gd name="T46" fmla="*/ 150 w 185"/>
                  <a:gd name="T47" fmla="*/ 33 h 183"/>
                  <a:gd name="T48" fmla="*/ 133 w 185"/>
                  <a:gd name="T49" fmla="*/ 21 h 183"/>
                  <a:gd name="T50" fmla="*/ 114 w 185"/>
                  <a:gd name="T51" fmla="*/ 12 h 183"/>
                  <a:gd name="T52" fmla="*/ 93 w 185"/>
                  <a:gd name="T53" fmla="*/ 9 h 183"/>
                  <a:gd name="T54" fmla="*/ 93 w 185"/>
                  <a:gd name="T55" fmla="*/ 0 h 183"/>
                  <a:gd name="T56" fmla="*/ 111 w 185"/>
                  <a:gd name="T57" fmla="*/ 1 h 183"/>
                  <a:gd name="T58" fmla="*/ 128 w 185"/>
                  <a:gd name="T59" fmla="*/ 7 h 183"/>
                  <a:gd name="T60" fmla="*/ 144 w 185"/>
                  <a:gd name="T61" fmla="*/ 15 h 183"/>
                  <a:gd name="T62" fmla="*/ 159 w 185"/>
                  <a:gd name="T63" fmla="*/ 27 h 183"/>
                  <a:gd name="T64" fmla="*/ 173 w 185"/>
                  <a:gd name="T65" fmla="*/ 45 h 183"/>
                  <a:gd name="T66" fmla="*/ 183 w 185"/>
                  <a:gd name="T67" fmla="*/ 67 h 183"/>
                  <a:gd name="T68" fmla="*/ 185 w 185"/>
                  <a:gd name="T69" fmla="*/ 92 h 183"/>
                  <a:gd name="T70" fmla="*/ 183 w 185"/>
                  <a:gd name="T71" fmla="*/ 117 h 183"/>
                  <a:gd name="T72" fmla="*/ 173 w 185"/>
                  <a:gd name="T73" fmla="*/ 138 h 183"/>
                  <a:gd name="T74" fmla="*/ 159 w 185"/>
                  <a:gd name="T75" fmla="*/ 156 h 183"/>
                  <a:gd name="T76" fmla="*/ 144 w 185"/>
                  <a:gd name="T77" fmla="*/ 168 h 183"/>
                  <a:gd name="T78" fmla="*/ 128 w 185"/>
                  <a:gd name="T79" fmla="*/ 177 h 183"/>
                  <a:gd name="T80" fmla="*/ 111 w 185"/>
                  <a:gd name="T81" fmla="*/ 182 h 183"/>
                  <a:gd name="T82" fmla="*/ 93 w 185"/>
                  <a:gd name="T83" fmla="*/ 183 h 183"/>
                  <a:gd name="T84" fmla="*/ 75 w 185"/>
                  <a:gd name="T85" fmla="*/ 182 h 183"/>
                  <a:gd name="T86" fmla="*/ 57 w 185"/>
                  <a:gd name="T87" fmla="*/ 177 h 183"/>
                  <a:gd name="T88" fmla="*/ 41 w 185"/>
                  <a:gd name="T89" fmla="*/ 168 h 183"/>
                  <a:gd name="T90" fmla="*/ 27 w 185"/>
                  <a:gd name="T91" fmla="*/ 156 h 183"/>
                  <a:gd name="T92" fmla="*/ 12 w 185"/>
                  <a:gd name="T93" fmla="*/ 138 h 183"/>
                  <a:gd name="T94" fmla="*/ 3 w 185"/>
                  <a:gd name="T95" fmla="*/ 117 h 183"/>
                  <a:gd name="T96" fmla="*/ 0 w 185"/>
                  <a:gd name="T97" fmla="*/ 92 h 183"/>
                  <a:gd name="T98" fmla="*/ 1 w 185"/>
                  <a:gd name="T99" fmla="*/ 73 h 183"/>
                  <a:gd name="T100" fmla="*/ 6 w 185"/>
                  <a:gd name="T101" fmla="*/ 56 h 183"/>
                  <a:gd name="T102" fmla="*/ 15 w 185"/>
                  <a:gd name="T103" fmla="*/ 40 h 183"/>
                  <a:gd name="T104" fmla="*/ 27 w 185"/>
                  <a:gd name="T105" fmla="*/ 27 h 183"/>
                  <a:gd name="T106" fmla="*/ 41 w 185"/>
                  <a:gd name="T107" fmla="*/ 15 h 183"/>
                  <a:gd name="T108" fmla="*/ 57 w 185"/>
                  <a:gd name="T109" fmla="*/ 7 h 183"/>
                  <a:gd name="T110" fmla="*/ 75 w 185"/>
                  <a:gd name="T111" fmla="*/ 1 h 183"/>
                  <a:gd name="T112" fmla="*/ 93 w 185"/>
                  <a:gd name="T113" fmla="*/ 0 h 18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85" h="183">
                    <a:moveTo>
                      <a:pt x="93" y="9"/>
                    </a:moveTo>
                    <a:lnTo>
                      <a:pt x="72" y="12"/>
                    </a:lnTo>
                    <a:lnTo>
                      <a:pt x="51" y="21"/>
                    </a:lnTo>
                    <a:lnTo>
                      <a:pt x="34" y="33"/>
                    </a:lnTo>
                    <a:lnTo>
                      <a:pt x="21" y="51"/>
                    </a:lnTo>
                    <a:lnTo>
                      <a:pt x="14" y="70"/>
                    </a:lnTo>
                    <a:lnTo>
                      <a:pt x="11" y="92"/>
                    </a:lnTo>
                    <a:lnTo>
                      <a:pt x="14" y="113"/>
                    </a:lnTo>
                    <a:lnTo>
                      <a:pt x="21" y="134"/>
                    </a:lnTo>
                    <a:lnTo>
                      <a:pt x="34" y="151"/>
                    </a:lnTo>
                    <a:lnTo>
                      <a:pt x="51" y="163"/>
                    </a:lnTo>
                    <a:lnTo>
                      <a:pt x="72" y="171"/>
                    </a:lnTo>
                    <a:lnTo>
                      <a:pt x="93" y="175"/>
                    </a:lnTo>
                    <a:lnTo>
                      <a:pt x="114" y="171"/>
                    </a:lnTo>
                    <a:lnTo>
                      <a:pt x="133" y="163"/>
                    </a:lnTo>
                    <a:lnTo>
                      <a:pt x="150" y="151"/>
                    </a:lnTo>
                    <a:lnTo>
                      <a:pt x="161" y="138"/>
                    </a:lnTo>
                    <a:lnTo>
                      <a:pt x="169" y="124"/>
                    </a:lnTo>
                    <a:lnTo>
                      <a:pt x="173" y="108"/>
                    </a:lnTo>
                    <a:lnTo>
                      <a:pt x="174" y="92"/>
                    </a:lnTo>
                    <a:lnTo>
                      <a:pt x="173" y="76"/>
                    </a:lnTo>
                    <a:lnTo>
                      <a:pt x="169" y="61"/>
                    </a:lnTo>
                    <a:lnTo>
                      <a:pt x="161" y="45"/>
                    </a:lnTo>
                    <a:lnTo>
                      <a:pt x="150" y="33"/>
                    </a:lnTo>
                    <a:lnTo>
                      <a:pt x="133" y="21"/>
                    </a:lnTo>
                    <a:lnTo>
                      <a:pt x="114" y="12"/>
                    </a:lnTo>
                    <a:lnTo>
                      <a:pt x="93" y="9"/>
                    </a:lnTo>
                    <a:close/>
                    <a:moveTo>
                      <a:pt x="93" y="0"/>
                    </a:moveTo>
                    <a:lnTo>
                      <a:pt x="111" y="1"/>
                    </a:lnTo>
                    <a:lnTo>
                      <a:pt x="128" y="7"/>
                    </a:lnTo>
                    <a:lnTo>
                      <a:pt x="144" y="15"/>
                    </a:lnTo>
                    <a:lnTo>
                      <a:pt x="159" y="27"/>
                    </a:lnTo>
                    <a:lnTo>
                      <a:pt x="173" y="45"/>
                    </a:lnTo>
                    <a:lnTo>
                      <a:pt x="183" y="67"/>
                    </a:lnTo>
                    <a:lnTo>
                      <a:pt x="185" y="92"/>
                    </a:lnTo>
                    <a:lnTo>
                      <a:pt x="183" y="117"/>
                    </a:lnTo>
                    <a:lnTo>
                      <a:pt x="173" y="138"/>
                    </a:lnTo>
                    <a:lnTo>
                      <a:pt x="159" y="156"/>
                    </a:lnTo>
                    <a:lnTo>
                      <a:pt x="144" y="168"/>
                    </a:lnTo>
                    <a:lnTo>
                      <a:pt x="128" y="177"/>
                    </a:lnTo>
                    <a:lnTo>
                      <a:pt x="111" y="182"/>
                    </a:lnTo>
                    <a:lnTo>
                      <a:pt x="93" y="183"/>
                    </a:lnTo>
                    <a:lnTo>
                      <a:pt x="75" y="182"/>
                    </a:lnTo>
                    <a:lnTo>
                      <a:pt x="57" y="177"/>
                    </a:lnTo>
                    <a:lnTo>
                      <a:pt x="41" y="168"/>
                    </a:lnTo>
                    <a:lnTo>
                      <a:pt x="27" y="156"/>
                    </a:lnTo>
                    <a:lnTo>
                      <a:pt x="12" y="138"/>
                    </a:lnTo>
                    <a:lnTo>
                      <a:pt x="3" y="117"/>
                    </a:lnTo>
                    <a:lnTo>
                      <a:pt x="0" y="92"/>
                    </a:lnTo>
                    <a:lnTo>
                      <a:pt x="1" y="73"/>
                    </a:lnTo>
                    <a:lnTo>
                      <a:pt x="6" y="56"/>
                    </a:lnTo>
                    <a:lnTo>
                      <a:pt x="15" y="40"/>
                    </a:lnTo>
                    <a:lnTo>
                      <a:pt x="27" y="27"/>
                    </a:lnTo>
                    <a:lnTo>
                      <a:pt x="41" y="15"/>
                    </a:lnTo>
                    <a:lnTo>
                      <a:pt x="57" y="7"/>
                    </a:lnTo>
                    <a:lnTo>
                      <a:pt x="75" y="1"/>
                    </a:lnTo>
                    <a:lnTo>
                      <a:pt x="93" y="0"/>
                    </a:lnTo>
                    <a:close/>
                  </a:path>
                </a:pathLst>
              </a:custGeom>
              <a:solidFill>
                <a:srgbClr val="E3931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06" name="Freeform 356"/>
              <p:cNvSpPr>
                <a:spLocks/>
              </p:cNvSpPr>
              <p:nvPr/>
            </p:nvSpPr>
            <p:spPr bwMode="auto">
              <a:xfrm>
                <a:off x="4272" y="2328"/>
                <a:ext cx="20" cy="12"/>
              </a:xfrm>
              <a:custGeom>
                <a:avLst/>
                <a:gdLst>
                  <a:gd name="T0" fmla="*/ 6 w 20"/>
                  <a:gd name="T1" fmla="*/ 0 h 12"/>
                  <a:gd name="T2" fmla="*/ 14 w 20"/>
                  <a:gd name="T3" fmla="*/ 0 h 12"/>
                  <a:gd name="T4" fmla="*/ 17 w 20"/>
                  <a:gd name="T5" fmla="*/ 1 h 12"/>
                  <a:gd name="T6" fmla="*/ 19 w 20"/>
                  <a:gd name="T7" fmla="*/ 2 h 12"/>
                  <a:gd name="T8" fmla="*/ 20 w 20"/>
                  <a:gd name="T9" fmla="*/ 3 h 12"/>
                  <a:gd name="T10" fmla="*/ 20 w 20"/>
                  <a:gd name="T11" fmla="*/ 5 h 12"/>
                  <a:gd name="T12" fmla="*/ 20 w 20"/>
                  <a:gd name="T13" fmla="*/ 6 h 12"/>
                  <a:gd name="T14" fmla="*/ 20 w 20"/>
                  <a:gd name="T15" fmla="*/ 9 h 12"/>
                  <a:gd name="T16" fmla="*/ 18 w 20"/>
                  <a:gd name="T17" fmla="*/ 10 h 12"/>
                  <a:gd name="T18" fmla="*/ 17 w 20"/>
                  <a:gd name="T19" fmla="*/ 12 h 12"/>
                  <a:gd name="T20" fmla="*/ 6 w 20"/>
                  <a:gd name="T21" fmla="*/ 12 h 12"/>
                  <a:gd name="T22" fmla="*/ 4 w 20"/>
                  <a:gd name="T23" fmla="*/ 10 h 12"/>
                  <a:gd name="T24" fmla="*/ 2 w 20"/>
                  <a:gd name="T25" fmla="*/ 10 h 12"/>
                  <a:gd name="T26" fmla="*/ 0 w 20"/>
                  <a:gd name="T27" fmla="*/ 8 h 12"/>
                  <a:gd name="T28" fmla="*/ 0 w 20"/>
                  <a:gd name="T29" fmla="*/ 6 h 12"/>
                  <a:gd name="T30" fmla="*/ 0 w 20"/>
                  <a:gd name="T31" fmla="*/ 5 h 12"/>
                  <a:gd name="T32" fmla="*/ 2 w 20"/>
                  <a:gd name="T33" fmla="*/ 3 h 12"/>
                  <a:gd name="T34" fmla="*/ 3 w 20"/>
                  <a:gd name="T35" fmla="*/ 2 h 12"/>
                  <a:gd name="T36" fmla="*/ 4 w 20"/>
                  <a:gd name="T37" fmla="*/ 1 h 12"/>
                  <a:gd name="T38" fmla="*/ 6 w 20"/>
                  <a:gd name="T39" fmla="*/ 0 h 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12">
                    <a:moveTo>
                      <a:pt x="6" y="0"/>
                    </a:moveTo>
                    <a:lnTo>
                      <a:pt x="14" y="0"/>
                    </a:lnTo>
                    <a:lnTo>
                      <a:pt x="17" y="1"/>
                    </a:lnTo>
                    <a:lnTo>
                      <a:pt x="19" y="2"/>
                    </a:lnTo>
                    <a:lnTo>
                      <a:pt x="20" y="3"/>
                    </a:lnTo>
                    <a:lnTo>
                      <a:pt x="20" y="5"/>
                    </a:lnTo>
                    <a:lnTo>
                      <a:pt x="20" y="6"/>
                    </a:lnTo>
                    <a:lnTo>
                      <a:pt x="20" y="9"/>
                    </a:lnTo>
                    <a:lnTo>
                      <a:pt x="18" y="10"/>
                    </a:lnTo>
                    <a:lnTo>
                      <a:pt x="17" y="12"/>
                    </a:lnTo>
                    <a:lnTo>
                      <a:pt x="6" y="12"/>
                    </a:lnTo>
                    <a:lnTo>
                      <a:pt x="4" y="10"/>
                    </a:lnTo>
                    <a:lnTo>
                      <a:pt x="2" y="10"/>
                    </a:lnTo>
                    <a:lnTo>
                      <a:pt x="0" y="8"/>
                    </a:lnTo>
                    <a:lnTo>
                      <a:pt x="0" y="6"/>
                    </a:lnTo>
                    <a:lnTo>
                      <a:pt x="0" y="5"/>
                    </a:lnTo>
                    <a:lnTo>
                      <a:pt x="2" y="3"/>
                    </a:lnTo>
                    <a:lnTo>
                      <a:pt x="3" y="2"/>
                    </a:lnTo>
                    <a:lnTo>
                      <a:pt x="4" y="1"/>
                    </a:lnTo>
                    <a:lnTo>
                      <a:pt x="6" y="0"/>
                    </a:lnTo>
                    <a:close/>
                  </a:path>
                </a:pathLst>
              </a:custGeom>
              <a:solidFill>
                <a:srgbClr val="E3931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07" name="Freeform 357"/>
              <p:cNvSpPr>
                <a:spLocks/>
              </p:cNvSpPr>
              <p:nvPr/>
            </p:nvSpPr>
            <p:spPr bwMode="auto">
              <a:xfrm>
                <a:off x="4250" y="2328"/>
                <a:ext cx="19" cy="12"/>
              </a:xfrm>
              <a:custGeom>
                <a:avLst/>
                <a:gdLst>
                  <a:gd name="T0" fmla="*/ 5 w 19"/>
                  <a:gd name="T1" fmla="*/ 0 h 12"/>
                  <a:gd name="T2" fmla="*/ 16 w 19"/>
                  <a:gd name="T3" fmla="*/ 0 h 12"/>
                  <a:gd name="T4" fmla="*/ 17 w 19"/>
                  <a:gd name="T5" fmla="*/ 1 h 12"/>
                  <a:gd name="T6" fmla="*/ 18 w 19"/>
                  <a:gd name="T7" fmla="*/ 2 h 12"/>
                  <a:gd name="T8" fmla="*/ 19 w 19"/>
                  <a:gd name="T9" fmla="*/ 3 h 12"/>
                  <a:gd name="T10" fmla="*/ 19 w 19"/>
                  <a:gd name="T11" fmla="*/ 5 h 12"/>
                  <a:gd name="T12" fmla="*/ 19 w 19"/>
                  <a:gd name="T13" fmla="*/ 6 h 12"/>
                  <a:gd name="T14" fmla="*/ 19 w 19"/>
                  <a:gd name="T15" fmla="*/ 8 h 12"/>
                  <a:gd name="T16" fmla="*/ 18 w 19"/>
                  <a:gd name="T17" fmla="*/ 10 h 12"/>
                  <a:gd name="T18" fmla="*/ 17 w 19"/>
                  <a:gd name="T19" fmla="*/ 10 h 12"/>
                  <a:gd name="T20" fmla="*/ 15 w 19"/>
                  <a:gd name="T21" fmla="*/ 12 h 12"/>
                  <a:gd name="T22" fmla="*/ 4 w 19"/>
                  <a:gd name="T23" fmla="*/ 12 h 12"/>
                  <a:gd name="T24" fmla="*/ 2 w 19"/>
                  <a:gd name="T25" fmla="*/ 10 h 12"/>
                  <a:gd name="T26" fmla="*/ 1 w 19"/>
                  <a:gd name="T27" fmla="*/ 9 h 12"/>
                  <a:gd name="T28" fmla="*/ 0 w 19"/>
                  <a:gd name="T29" fmla="*/ 6 h 12"/>
                  <a:gd name="T30" fmla="*/ 2 w 19"/>
                  <a:gd name="T31" fmla="*/ 5 h 12"/>
                  <a:gd name="T32" fmla="*/ 2 w 19"/>
                  <a:gd name="T33" fmla="*/ 3 h 12"/>
                  <a:gd name="T34" fmla="*/ 3 w 19"/>
                  <a:gd name="T35" fmla="*/ 2 h 12"/>
                  <a:gd name="T36" fmla="*/ 4 w 19"/>
                  <a:gd name="T37" fmla="*/ 1 h 12"/>
                  <a:gd name="T38" fmla="*/ 5 w 19"/>
                  <a:gd name="T39" fmla="*/ 0 h 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9" h="12">
                    <a:moveTo>
                      <a:pt x="5" y="0"/>
                    </a:moveTo>
                    <a:lnTo>
                      <a:pt x="16" y="0"/>
                    </a:lnTo>
                    <a:lnTo>
                      <a:pt x="17" y="1"/>
                    </a:lnTo>
                    <a:lnTo>
                      <a:pt x="18" y="2"/>
                    </a:lnTo>
                    <a:lnTo>
                      <a:pt x="19" y="3"/>
                    </a:lnTo>
                    <a:lnTo>
                      <a:pt x="19" y="5"/>
                    </a:lnTo>
                    <a:lnTo>
                      <a:pt x="19" y="6"/>
                    </a:lnTo>
                    <a:lnTo>
                      <a:pt x="19" y="8"/>
                    </a:lnTo>
                    <a:lnTo>
                      <a:pt x="18" y="10"/>
                    </a:lnTo>
                    <a:lnTo>
                      <a:pt x="17" y="10"/>
                    </a:lnTo>
                    <a:lnTo>
                      <a:pt x="15" y="12"/>
                    </a:lnTo>
                    <a:lnTo>
                      <a:pt x="4" y="12"/>
                    </a:lnTo>
                    <a:lnTo>
                      <a:pt x="2" y="10"/>
                    </a:lnTo>
                    <a:lnTo>
                      <a:pt x="1" y="9"/>
                    </a:lnTo>
                    <a:lnTo>
                      <a:pt x="0" y="6"/>
                    </a:lnTo>
                    <a:lnTo>
                      <a:pt x="2" y="5"/>
                    </a:lnTo>
                    <a:lnTo>
                      <a:pt x="2" y="3"/>
                    </a:lnTo>
                    <a:lnTo>
                      <a:pt x="3" y="2"/>
                    </a:lnTo>
                    <a:lnTo>
                      <a:pt x="4" y="1"/>
                    </a:lnTo>
                    <a:lnTo>
                      <a:pt x="5" y="0"/>
                    </a:lnTo>
                    <a:close/>
                  </a:path>
                </a:pathLst>
              </a:custGeom>
              <a:solidFill>
                <a:srgbClr val="E3931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08" name="Freeform 358"/>
              <p:cNvSpPr>
                <a:spLocks/>
              </p:cNvSpPr>
              <p:nvPr/>
            </p:nvSpPr>
            <p:spPr bwMode="auto">
              <a:xfrm>
                <a:off x="4238" y="2320"/>
                <a:ext cx="88" cy="56"/>
              </a:xfrm>
              <a:custGeom>
                <a:avLst/>
                <a:gdLst>
                  <a:gd name="T0" fmla="*/ 14 w 88"/>
                  <a:gd name="T1" fmla="*/ 0 h 56"/>
                  <a:gd name="T2" fmla="*/ 74 w 88"/>
                  <a:gd name="T3" fmla="*/ 0 h 56"/>
                  <a:gd name="T4" fmla="*/ 76 w 88"/>
                  <a:gd name="T5" fmla="*/ 1 h 56"/>
                  <a:gd name="T6" fmla="*/ 79 w 88"/>
                  <a:gd name="T7" fmla="*/ 2 h 56"/>
                  <a:gd name="T8" fmla="*/ 81 w 88"/>
                  <a:gd name="T9" fmla="*/ 4 h 56"/>
                  <a:gd name="T10" fmla="*/ 83 w 88"/>
                  <a:gd name="T11" fmla="*/ 8 h 56"/>
                  <a:gd name="T12" fmla="*/ 88 w 88"/>
                  <a:gd name="T13" fmla="*/ 50 h 56"/>
                  <a:gd name="T14" fmla="*/ 88 w 88"/>
                  <a:gd name="T15" fmla="*/ 51 h 56"/>
                  <a:gd name="T16" fmla="*/ 88 w 88"/>
                  <a:gd name="T17" fmla="*/ 53 h 56"/>
                  <a:gd name="T18" fmla="*/ 87 w 88"/>
                  <a:gd name="T19" fmla="*/ 54 h 56"/>
                  <a:gd name="T20" fmla="*/ 85 w 88"/>
                  <a:gd name="T21" fmla="*/ 55 h 56"/>
                  <a:gd name="T22" fmla="*/ 84 w 88"/>
                  <a:gd name="T23" fmla="*/ 56 h 56"/>
                  <a:gd name="T24" fmla="*/ 83 w 88"/>
                  <a:gd name="T25" fmla="*/ 56 h 56"/>
                  <a:gd name="T26" fmla="*/ 5 w 88"/>
                  <a:gd name="T27" fmla="*/ 56 h 56"/>
                  <a:gd name="T28" fmla="*/ 4 w 88"/>
                  <a:gd name="T29" fmla="*/ 56 h 56"/>
                  <a:gd name="T30" fmla="*/ 3 w 88"/>
                  <a:gd name="T31" fmla="*/ 55 h 56"/>
                  <a:gd name="T32" fmla="*/ 1 w 88"/>
                  <a:gd name="T33" fmla="*/ 54 h 56"/>
                  <a:gd name="T34" fmla="*/ 0 w 88"/>
                  <a:gd name="T35" fmla="*/ 53 h 56"/>
                  <a:gd name="T36" fmla="*/ 0 w 88"/>
                  <a:gd name="T37" fmla="*/ 51 h 56"/>
                  <a:gd name="T38" fmla="*/ 0 w 88"/>
                  <a:gd name="T39" fmla="*/ 50 h 56"/>
                  <a:gd name="T40" fmla="*/ 8 w 88"/>
                  <a:gd name="T41" fmla="*/ 8 h 56"/>
                  <a:gd name="T42" fmla="*/ 1 w 88"/>
                  <a:gd name="T43" fmla="*/ 50 h 56"/>
                  <a:gd name="T44" fmla="*/ 1 w 88"/>
                  <a:gd name="T45" fmla="*/ 51 h 56"/>
                  <a:gd name="T46" fmla="*/ 2 w 88"/>
                  <a:gd name="T47" fmla="*/ 52 h 56"/>
                  <a:gd name="T48" fmla="*/ 3 w 88"/>
                  <a:gd name="T49" fmla="*/ 53 h 56"/>
                  <a:gd name="T50" fmla="*/ 3 w 88"/>
                  <a:gd name="T51" fmla="*/ 54 h 56"/>
                  <a:gd name="T52" fmla="*/ 4 w 88"/>
                  <a:gd name="T53" fmla="*/ 54 h 56"/>
                  <a:gd name="T54" fmla="*/ 5 w 88"/>
                  <a:gd name="T55" fmla="*/ 54 h 56"/>
                  <a:gd name="T56" fmla="*/ 83 w 88"/>
                  <a:gd name="T57" fmla="*/ 54 h 56"/>
                  <a:gd name="T58" fmla="*/ 84 w 88"/>
                  <a:gd name="T59" fmla="*/ 54 h 56"/>
                  <a:gd name="T60" fmla="*/ 85 w 88"/>
                  <a:gd name="T61" fmla="*/ 54 h 56"/>
                  <a:gd name="T62" fmla="*/ 85 w 88"/>
                  <a:gd name="T63" fmla="*/ 53 h 56"/>
                  <a:gd name="T64" fmla="*/ 86 w 88"/>
                  <a:gd name="T65" fmla="*/ 52 h 56"/>
                  <a:gd name="T66" fmla="*/ 87 w 88"/>
                  <a:gd name="T67" fmla="*/ 51 h 56"/>
                  <a:gd name="T68" fmla="*/ 87 w 88"/>
                  <a:gd name="T69" fmla="*/ 50 h 56"/>
                  <a:gd name="T70" fmla="*/ 81 w 88"/>
                  <a:gd name="T71" fmla="*/ 8 h 56"/>
                  <a:gd name="T72" fmla="*/ 80 w 88"/>
                  <a:gd name="T73" fmla="*/ 6 h 56"/>
                  <a:gd name="T74" fmla="*/ 77 w 88"/>
                  <a:gd name="T75" fmla="*/ 3 h 56"/>
                  <a:gd name="T76" fmla="*/ 76 w 88"/>
                  <a:gd name="T77" fmla="*/ 2 h 56"/>
                  <a:gd name="T78" fmla="*/ 74 w 88"/>
                  <a:gd name="T79" fmla="*/ 2 h 56"/>
                  <a:gd name="T80" fmla="*/ 14 w 88"/>
                  <a:gd name="T81" fmla="*/ 2 h 56"/>
                  <a:gd name="T82" fmla="*/ 12 w 88"/>
                  <a:gd name="T83" fmla="*/ 2 h 56"/>
                  <a:gd name="T84" fmla="*/ 10 w 88"/>
                  <a:gd name="T85" fmla="*/ 3 h 56"/>
                  <a:gd name="T86" fmla="*/ 9 w 88"/>
                  <a:gd name="T87" fmla="*/ 6 h 56"/>
                  <a:gd name="T88" fmla="*/ 8 w 88"/>
                  <a:gd name="T89" fmla="*/ 8 h 56"/>
                  <a:gd name="T90" fmla="*/ 9 w 88"/>
                  <a:gd name="T91" fmla="*/ 4 h 56"/>
                  <a:gd name="T92" fmla="*/ 10 w 88"/>
                  <a:gd name="T93" fmla="*/ 2 h 56"/>
                  <a:gd name="T94" fmla="*/ 12 w 88"/>
                  <a:gd name="T95" fmla="*/ 1 h 56"/>
                  <a:gd name="T96" fmla="*/ 14 w 88"/>
                  <a:gd name="T97" fmla="*/ 0 h 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8" h="56">
                    <a:moveTo>
                      <a:pt x="14" y="0"/>
                    </a:moveTo>
                    <a:lnTo>
                      <a:pt x="74" y="0"/>
                    </a:lnTo>
                    <a:lnTo>
                      <a:pt x="76" y="1"/>
                    </a:lnTo>
                    <a:lnTo>
                      <a:pt x="79" y="2"/>
                    </a:lnTo>
                    <a:lnTo>
                      <a:pt x="81" y="4"/>
                    </a:lnTo>
                    <a:lnTo>
                      <a:pt x="83" y="8"/>
                    </a:lnTo>
                    <a:lnTo>
                      <a:pt x="88" y="50"/>
                    </a:lnTo>
                    <a:lnTo>
                      <a:pt x="88" y="51"/>
                    </a:lnTo>
                    <a:lnTo>
                      <a:pt x="88" y="53"/>
                    </a:lnTo>
                    <a:lnTo>
                      <a:pt x="87" y="54"/>
                    </a:lnTo>
                    <a:lnTo>
                      <a:pt x="85" y="55"/>
                    </a:lnTo>
                    <a:lnTo>
                      <a:pt x="84" y="56"/>
                    </a:lnTo>
                    <a:lnTo>
                      <a:pt x="83" y="56"/>
                    </a:lnTo>
                    <a:lnTo>
                      <a:pt x="5" y="56"/>
                    </a:lnTo>
                    <a:lnTo>
                      <a:pt x="4" y="56"/>
                    </a:lnTo>
                    <a:lnTo>
                      <a:pt x="3" y="55"/>
                    </a:lnTo>
                    <a:lnTo>
                      <a:pt x="1" y="54"/>
                    </a:lnTo>
                    <a:lnTo>
                      <a:pt x="0" y="53"/>
                    </a:lnTo>
                    <a:lnTo>
                      <a:pt x="0" y="51"/>
                    </a:lnTo>
                    <a:lnTo>
                      <a:pt x="0" y="50"/>
                    </a:lnTo>
                    <a:lnTo>
                      <a:pt x="8" y="8"/>
                    </a:lnTo>
                    <a:lnTo>
                      <a:pt x="1" y="50"/>
                    </a:lnTo>
                    <a:lnTo>
                      <a:pt x="1" y="51"/>
                    </a:lnTo>
                    <a:lnTo>
                      <a:pt x="2" y="52"/>
                    </a:lnTo>
                    <a:lnTo>
                      <a:pt x="3" y="53"/>
                    </a:lnTo>
                    <a:lnTo>
                      <a:pt x="3" y="54"/>
                    </a:lnTo>
                    <a:lnTo>
                      <a:pt x="4" y="54"/>
                    </a:lnTo>
                    <a:lnTo>
                      <a:pt x="5" y="54"/>
                    </a:lnTo>
                    <a:lnTo>
                      <a:pt x="83" y="54"/>
                    </a:lnTo>
                    <a:lnTo>
                      <a:pt x="84" y="54"/>
                    </a:lnTo>
                    <a:lnTo>
                      <a:pt x="85" y="54"/>
                    </a:lnTo>
                    <a:lnTo>
                      <a:pt x="85" y="53"/>
                    </a:lnTo>
                    <a:lnTo>
                      <a:pt x="86" y="52"/>
                    </a:lnTo>
                    <a:lnTo>
                      <a:pt x="87" y="51"/>
                    </a:lnTo>
                    <a:lnTo>
                      <a:pt x="87" y="50"/>
                    </a:lnTo>
                    <a:lnTo>
                      <a:pt x="81" y="8"/>
                    </a:lnTo>
                    <a:lnTo>
                      <a:pt x="80" y="6"/>
                    </a:lnTo>
                    <a:lnTo>
                      <a:pt x="77" y="3"/>
                    </a:lnTo>
                    <a:lnTo>
                      <a:pt x="76" y="2"/>
                    </a:lnTo>
                    <a:lnTo>
                      <a:pt x="74" y="2"/>
                    </a:lnTo>
                    <a:lnTo>
                      <a:pt x="14" y="2"/>
                    </a:lnTo>
                    <a:lnTo>
                      <a:pt x="12" y="2"/>
                    </a:lnTo>
                    <a:lnTo>
                      <a:pt x="10" y="3"/>
                    </a:lnTo>
                    <a:lnTo>
                      <a:pt x="9" y="6"/>
                    </a:lnTo>
                    <a:lnTo>
                      <a:pt x="8" y="8"/>
                    </a:lnTo>
                    <a:lnTo>
                      <a:pt x="9" y="4"/>
                    </a:lnTo>
                    <a:lnTo>
                      <a:pt x="10" y="2"/>
                    </a:lnTo>
                    <a:lnTo>
                      <a:pt x="12" y="1"/>
                    </a:lnTo>
                    <a:lnTo>
                      <a:pt x="14" y="0"/>
                    </a:lnTo>
                    <a:close/>
                  </a:path>
                </a:pathLst>
              </a:custGeom>
              <a:solidFill>
                <a:srgbClr val="E3931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09" name="Freeform 359"/>
              <p:cNvSpPr>
                <a:spLocks/>
              </p:cNvSpPr>
              <p:nvPr/>
            </p:nvSpPr>
            <p:spPr bwMode="auto">
              <a:xfrm>
                <a:off x="4295" y="2328"/>
                <a:ext cx="19" cy="12"/>
              </a:xfrm>
              <a:custGeom>
                <a:avLst/>
                <a:gdLst>
                  <a:gd name="T0" fmla="*/ 3 w 19"/>
                  <a:gd name="T1" fmla="*/ 0 h 12"/>
                  <a:gd name="T2" fmla="*/ 14 w 19"/>
                  <a:gd name="T3" fmla="*/ 0 h 12"/>
                  <a:gd name="T4" fmla="*/ 15 w 19"/>
                  <a:gd name="T5" fmla="*/ 1 h 12"/>
                  <a:gd name="T6" fmla="*/ 17 w 19"/>
                  <a:gd name="T7" fmla="*/ 2 h 12"/>
                  <a:gd name="T8" fmla="*/ 19 w 19"/>
                  <a:gd name="T9" fmla="*/ 5 h 12"/>
                  <a:gd name="T10" fmla="*/ 19 w 19"/>
                  <a:gd name="T11" fmla="*/ 6 h 12"/>
                  <a:gd name="T12" fmla="*/ 18 w 19"/>
                  <a:gd name="T13" fmla="*/ 8 h 12"/>
                  <a:gd name="T14" fmla="*/ 18 w 19"/>
                  <a:gd name="T15" fmla="*/ 10 h 12"/>
                  <a:gd name="T16" fmla="*/ 17 w 19"/>
                  <a:gd name="T17" fmla="*/ 10 h 12"/>
                  <a:gd name="T18" fmla="*/ 15 w 19"/>
                  <a:gd name="T19" fmla="*/ 12 h 12"/>
                  <a:gd name="T20" fmla="*/ 4 w 19"/>
                  <a:gd name="T21" fmla="*/ 12 h 12"/>
                  <a:gd name="T22" fmla="*/ 2 w 19"/>
                  <a:gd name="T23" fmla="*/ 10 h 12"/>
                  <a:gd name="T24" fmla="*/ 1 w 19"/>
                  <a:gd name="T25" fmla="*/ 10 h 12"/>
                  <a:gd name="T26" fmla="*/ 0 w 19"/>
                  <a:gd name="T27" fmla="*/ 8 h 12"/>
                  <a:gd name="T28" fmla="*/ 0 w 19"/>
                  <a:gd name="T29" fmla="*/ 6 h 12"/>
                  <a:gd name="T30" fmla="*/ 0 w 19"/>
                  <a:gd name="T31" fmla="*/ 5 h 12"/>
                  <a:gd name="T32" fmla="*/ 0 w 19"/>
                  <a:gd name="T33" fmla="*/ 3 h 12"/>
                  <a:gd name="T34" fmla="*/ 1 w 19"/>
                  <a:gd name="T35" fmla="*/ 2 h 12"/>
                  <a:gd name="T36" fmla="*/ 2 w 19"/>
                  <a:gd name="T37" fmla="*/ 1 h 12"/>
                  <a:gd name="T38" fmla="*/ 3 w 19"/>
                  <a:gd name="T39" fmla="*/ 0 h 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9" h="12">
                    <a:moveTo>
                      <a:pt x="3" y="0"/>
                    </a:moveTo>
                    <a:lnTo>
                      <a:pt x="14" y="0"/>
                    </a:lnTo>
                    <a:lnTo>
                      <a:pt x="15" y="1"/>
                    </a:lnTo>
                    <a:lnTo>
                      <a:pt x="17" y="2"/>
                    </a:lnTo>
                    <a:lnTo>
                      <a:pt x="19" y="5"/>
                    </a:lnTo>
                    <a:lnTo>
                      <a:pt x="19" y="6"/>
                    </a:lnTo>
                    <a:lnTo>
                      <a:pt x="18" y="8"/>
                    </a:lnTo>
                    <a:lnTo>
                      <a:pt x="18" y="10"/>
                    </a:lnTo>
                    <a:lnTo>
                      <a:pt x="17" y="10"/>
                    </a:lnTo>
                    <a:lnTo>
                      <a:pt x="15" y="12"/>
                    </a:lnTo>
                    <a:lnTo>
                      <a:pt x="4" y="12"/>
                    </a:lnTo>
                    <a:lnTo>
                      <a:pt x="2" y="10"/>
                    </a:lnTo>
                    <a:lnTo>
                      <a:pt x="1" y="10"/>
                    </a:lnTo>
                    <a:lnTo>
                      <a:pt x="0" y="8"/>
                    </a:lnTo>
                    <a:lnTo>
                      <a:pt x="0" y="6"/>
                    </a:lnTo>
                    <a:lnTo>
                      <a:pt x="0" y="5"/>
                    </a:lnTo>
                    <a:lnTo>
                      <a:pt x="0" y="3"/>
                    </a:lnTo>
                    <a:lnTo>
                      <a:pt x="1" y="2"/>
                    </a:lnTo>
                    <a:lnTo>
                      <a:pt x="2" y="1"/>
                    </a:lnTo>
                    <a:lnTo>
                      <a:pt x="3" y="0"/>
                    </a:lnTo>
                    <a:close/>
                  </a:path>
                </a:pathLst>
              </a:custGeom>
              <a:solidFill>
                <a:srgbClr val="E3931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10" name="Freeform 360"/>
              <p:cNvSpPr>
                <a:spLocks/>
              </p:cNvSpPr>
              <p:nvPr/>
            </p:nvSpPr>
            <p:spPr bwMode="auto">
              <a:xfrm>
                <a:off x="4272" y="2343"/>
                <a:ext cx="20" cy="11"/>
              </a:xfrm>
              <a:custGeom>
                <a:avLst/>
                <a:gdLst>
                  <a:gd name="T0" fmla="*/ 6 w 20"/>
                  <a:gd name="T1" fmla="*/ 0 h 11"/>
                  <a:gd name="T2" fmla="*/ 17 w 20"/>
                  <a:gd name="T3" fmla="*/ 0 h 11"/>
                  <a:gd name="T4" fmla="*/ 18 w 20"/>
                  <a:gd name="T5" fmla="*/ 0 h 11"/>
                  <a:gd name="T6" fmla="*/ 19 w 20"/>
                  <a:gd name="T7" fmla="*/ 1 h 11"/>
                  <a:gd name="T8" fmla="*/ 20 w 20"/>
                  <a:gd name="T9" fmla="*/ 2 h 11"/>
                  <a:gd name="T10" fmla="*/ 20 w 20"/>
                  <a:gd name="T11" fmla="*/ 4 h 11"/>
                  <a:gd name="T12" fmla="*/ 20 w 20"/>
                  <a:gd name="T13" fmla="*/ 6 h 11"/>
                  <a:gd name="T14" fmla="*/ 20 w 20"/>
                  <a:gd name="T15" fmla="*/ 8 h 11"/>
                  <a:gd name="T16" fmla="*/ 18 w 20"/>
                  <a:gd name="T17" fmla="*/ 9 h 11"/>
                  <a:gd name="T18" fmla="*/ 17 w 20"/>
                  <a:gd name="T19" fmla="*/ 11 h 11"/>
                  <a:gd name="T20" fmla="*/ 4 w 20"/>
                  <a:gd name="T21" fmla="*/ 11 h 11"/>
                  <a:gd name="T22" fmla="*/ 3 w 20"/>
                  <a:gd name="T23" fmla="*/ 9 h 11"/>
                  <a:gd name="T24" fmla="*/ 2 w 20"/>
                  <a:gd name="T25" fmla="*/ 8 h 11"/>
                  <a:gd name="T26" fmla="*/ 0 w 20"/>
                  <a:gd name="T27" fmla="*/ 6 h 11"/>
                  <a:gd name="T28" fmla="*/ 0 w 20"/>
                  <a:gd name="T29" fmla="*/ 4 h 11"/>
                  <a:gd name="T30" fmla="*/ 0 w 20"/>
                  <a:gd name="T31" fmla="*/ 2 h 11"/>
                  <a:gd name="T32" fmla="*/ 2 w 20"/>
                  <a:gd name="T33" fmla="*/ 1 h 11"/>
                  <a:gd name="T34" fmla="*/ 4 w 20"/>
                  <a:gd name="T35" fmla="*/ 0 h 11"/>
                  <a:gd name="T36" fmla="*/ 6 w 20"/>
                  <a:gd name="T37" fmla="*/ 0 h 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0" h="11">
                    <a:moveTo>
                      <a:pt x="6" y="0"/>
                    </a:moveTo>
                    <a:lnTo>
                      <a:pt x="17" y="0"/>
                    </a:lnTo>
                    <a:lnTo>
                      <a:pt x="18" y="0"/>
                    </a:lnTo>
                    <a:lnTo>
                      <a:pt x="19" y="1"/>
                    </a:lnTo>
                    <a:lnTo>
                      <a:pt x="20" y="2"/>
                    </a:lnTo>
                    <a:lnTo>
                      <a:pt x="20" y="4"/>
                    </a:lnTo>
                    <a:lnTo>
                      <a:pt x="20" y="6"/>
                    </a:lnTo>
                    <a:lnTo>
                      <a:pt x="20" y="8"/>
                    </a:lnTo>
                    <a:lnTo>
                      <a:pt x="18" y="9"/>
                    </a:lnTo>
                    <a:lnTo>
                      <a:pt x="17" y="11"/>
                    </a:lnTo>
                    <a:lnTo>
                      <a:pt x="4" y="11"/>
                    </a:lnTo>
                    <a:lnTo>
                      <a:pt x="3" y="9"/>
                    </a:lnTo>
                    <a:lnTo>
                      <a:pt x="2" y="8"/>
                    </a:lnTo>
                    <a:lnTo>
                      <a:pt x="0" y="6"/>
                    </a:lnTo>
                    <a:lnTo>
                      <a:pt x="0" y="4"/>
                    </a:lnTo>
                    <a:lnTo>
                      <a:pt x="0" y="2"/>
                    </a:lnTo>
                    <a:lnTo>
                      <a:pt x="2" y="1"/>
                    </a:lnTo>
                    <a:lnTo>
                      <a:pt x="4" y="0"/>
                    </a:lnTo>
                    <a:lnTo>
                      <a:pt x="6" y="0"/>
                    </a:lnTo>
                    <a:close/>
                  </a:path>
                </a:pathLst>
              </a:custGeom>
              <a:solidFill>
                <a:srgbClr val="E3931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11" name="Freeform 361"/>
              <p:cNvSpPr>
                <a:spLocks/>
              </p:cNvSpPr>
              <p:nvPr/>
            </p:nvSpPr>
            <p:spPr bwMode="auto">
              <a:xfrm>
                <a:off x="4249" y="2343"/>
                <a:ext cx="19" cy="11"/>
              </a:xfrm>
              <a:custGeom>
                <a:avLst/>
                <a:gdLst>
                  <a:gd name="T0" fmla="*/ 5 w 19"/>
                  <a:gd name="T1" fmla="*/ 0 h 11"/>
                  <a:gd name="T2" fmla="*/ 16 w 19"/>
                  <a:gd name="T3" fmla="*/ 0 h 11"/>
                  <a:gd name="T4" fmla="*/ 18 w 19"/>
                  <a:gd name="T5" fmla="*/ 0 h 11"/>
                  <a:gd name="T6" fmla="*/ 19 w 19"/>
                  <a:gd name="T7" fmla="*/ 1 h 11"/>
                  <a:gd name="T8" fmla="*/ 19 w 19"/>
                  <a:gd name="T9" fmla="*/ 2 h 11"/>
                  <a:gd name="T10" fmla="*/ 19 w 19"/>
                  <a:gd name="T11" fmla="*/ 4 h 11"/>
                  <a:gd name="T12" fmla="*/ 19 w 19"/>
                  <a:gd name="T13" fmla="*/ 6 h 11"/>
                  <a:gd name="T14" fmla="*/ 19 w 19"/>
                  <a:gd name="T15" fmla="*/ 8 h 11"/>
                  <a:gd name="T16" fmla="*/ 18 w 19"/>
                  <a:gd name="T17" fmla="*/ 9 h 11"/>
                  <a:gd name="T18" fmla="*/ 17 w 19"/>
                  <a:gd name="T19" fmla="*/ 11 h 11"/>
                  <a:gd name="T20" fmla="*/ 16 w 19"/>
                  <a:gd name="T21" fmla="*/ 11 h 11"/>
                  <a:gd name="T22" fmla="*/ 3 w 19"/>
                  <a:gd name="T23" fmla="*/ 11 h 11"/>
                  <a:gd name="T24" fmla="*/ 1 w 19"/>
                  <a:gd name="T25" fmla="*/ 9 h 11"/>
                  <a:gd name="T26" fmla="*/ 0 w 19"/>
                  <a:gd name="T27" fmla="*/ 8 h 11"/>
                  <a:gd name="T28" fmla="*/ 0 w 19"/>
                  <a:gd name="T29" fmla="*/ 6 h 11"/>
                  <a:gd name="T30" fmla="*/ 0 w 19"/>
                  <a:gd name="T31" fmla="*/ 4 h 11"/>
                  <a:gd name="T32" fmla="*/ 1 w 19"/>
                  <a:gd name="T33" fmla="*/ 2 h 11"/>
                  <a:gd name="T34" fmla="*/ 3 w 19"/>
                  <a:gd name="T35" fmla="*/ 0 h 11"/>
                  <a:gd name="T36" fmla="*/ 5 w 19"/>
                  <a:gd name="T37" fmla="*/ 0 h 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9" h="11">
                    <a:moveTo>
                      <a:pt x="5" y="0"/>
                    </a:moveTo>
                    <a:lnTo>
                      <a:pt x="16" y="0"/>
                    </a:lnTo>
                    <a:lnTo>
                      <a:pt x="18" y="0"/>
                    </a:lnTo>
                    <a:lnTo>
                      <a:pt x="19" y="1"/>
                    </a:lnTo>
                    <a:lnTo>
                      <a:pt x="19" y="2"/>
                    </a:lnTo>
                    <a:lnTo>
                      <a:pt x="19" y="4"/>
                    </a:lnTo>
                    <a:lnTo>
                      <a:pt x="19" y="6"/>
                    </a:lnTo>
                    <a:lnTo>
                      <a:pt x="19" y="8"/>
                    </a:lnTo>
                    <a:lnTo>
                      <a:pt x="18" y="9"/>
                    </a:lnTo>
                    <a:lnTo>
                      <a:pt x="17" y="11"/>
                    </a:lnTo>
                    <a:lnTo>
                      <a:pt x="16" y="11"/>
                    </a:lnTo>
                    <a:lnTo>
                      <a:pt x="3" y="11"/>
                    </a:lnTo>
                    <a:lnTo>
                      <a:pt x="1" y="9"/>
                    </a:lnTo>
                    <a:lnTo>
                      <a:pt x="0" y="8"/>
                    </a:lnTo>
                    <a:lnTo>
                      <a:pt x="0" y="6"/>
                    </a:lnTo>
                    <a:lnTo>
                      <a:pt x="0" y="4"/>
                    </a:lnTo>
                    <a:lnTo>
                      <a:pt x="1" y="2"/>
                    </a:lnTo>
                    <a:lnTo>
                      <a:pt x="3" y="0"/>
                    </a:lnTo>
                    <a:lnTo>
                      <a:pt x="5" y="0"/>
                    </a:lnTo>
                    <a:close/>
                  </a:path>
                </a:pathLst>
              </a:custGeom>
              <a:solidFill>
                <a:srgbClr val="E3931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12" name="Freeform 362"/>
              <p:cNvSpPr>
                <a:spLocks/>
              </p:cNvSpPr>
              <p:nvPr/>
            </p:nvSpPr>
            <p:spPr bwMode="auto">
              <a:xfrm>
                <a:off x="4296" y="2343"/>
                <a:ext cx="19" cy="11"/>
              </a:xfrm>
              <a:custGeom>
                <a:avLst/>
                <a:gdLst>
                  <a:gd name="T0" fmla="*/ 3 w 19"/>
                  <a:gd name="T1" fmla="*/ 0 h 11"/>
                  <a:gd name="T2" fmla="*/ 14 w 19"/>
                  <a:gd name="T3" fmla="*/ 0 h 11"/>
                  <a:gd name="T4" fmla="*/ 16 w 19"/>
                  <a:gd name="T5" fmla="*/ 0 h 11"/>
                  <a:gd name="T6" fmla="*/ 17 w 19"/>
                  <a:gd name="T7" fmla="*/ 1 h 11"/>
                  <a:gd name="T8" fmla="*/ 18 w 19"/>
                  <a:gd name="T9" fmla="*/ 2 h 11"/>
                  <a:gd name="T10" fmla="*/ 19 w 19"/>
                  <a:gd name="T11" fmla="*/ 4 h 11"/>
                  <a:gd name="T12" fmla="*/ 19 w 19"/>
                  <a:gd name="T13" fmla="*/ 6 h 11"/>
                  <a:gd name="T14" fmla="*/ 19 w 19"/>
                  <a:gd name="T15" fmla="*/ 8 h 11"/>
                  <a:gd name="T16" fmla="*/ 17 w 19"/>
                  <a:gd name="T17" fmla="*/ 9 h 11"/>
                  <a:gd name="T18" fmla="*/ 16 w 19"/>
                  <a:gd name="T19" fmla="*/ 11 h 11"/>
                  <a:gd name="T20" fmla="*/ 3 w 19"/>
                  <a:gd name="T21" fmla="*/ 11 h 11"/>
                  <a:gd name="T22" fmla="*/ 2 w 19"/>
                  <a:gd name="T23" fmla="*/ 11 h 11"/>
                  <a:gd name="T24" fmla="*/ 1 w 19"/>
                  <a:gd name="T25" fmla="*/ 9 h 11"/>
                  <a:gd name="T26" fmla="*/ 0 w 19"/>
                  <a:gd name="T27" fmla="*/ 8 h 11"/>
                  <a:gd name="T28" fmla="*/ 0 w 19"/>
                  <a:gd name="T29" fmla="*/ 6 h 11"/>
                  <a:gd name="T30" fmla="*/ 0 w 19"/>
                  <a:gd name="T31" fmla="*/ 4 h 11"/>
                  <a:gd name="T32" fmla="*/ 0 w 19"/>
                  <a:gd name="T33" fmla="*/ 2 h 11"/>
                  <a:gd name="T34" fmla="*/ 1 w 19"/>
                  <a:gd name="T35" fmla="*/ 1 h 11"/>
                  <a:gd name="T36" fmla="*/ 2 w 19"/>
                  <a:gd name="T37" fmla="*/ 0 h 11"/>
                  <a:gd name="T38" fmla="*/ 3 w 19"/>
                  <a:gd name="T39" fmla="*/ 0 h 1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9" h="11">
                    <a:moveTo>
                      <a:pt x="3" y="0"/>
                    </a:moveTo>
                    <a:lnTo>
                      <a:pt x="14" y="0"/>
                    </a:lnTo>
                    <a:lnTo>
                      <a:pt x="16" y="0"/>
                    </a:lnTo>
                    <a:lnTo>
                      <a:pt x="17" y="1"/>
                    </a:lnTo>
                    <a:lnTo>
                      <a:pt x="18" y="2"/>
                    </a:lnTo>
                    <a:lnTo>
                      <a:pt x="19" y="4"/>
                    </a:lnTo>
                    <a:lnTo>
                      <a:pt x="19" y="6"/>
                    </a:lnTo>
                    <a:lnTo>
                      <a:pt x="19" y="8"/>
                    </a:lnTo>
                    <a:lnTo>
                      <a:pt x="17" y="9"/>
                    </a:lnTo>
                    <a:lnTo>
                      <a:pt x="16" y="11"/>
                    </a:lnTo>
                    <a:lnTo>
                      <a:pt x="3" y="11"/>
                    </a:lnTo>
                    <a:lnTo>
                      <a:pt x="2" y="11"/>
                    </a:lnTo>
                    <a:lnTo>
                      <a:pt x="1" y="9"/>
                    </a:lnTo>
                    <a:lnTo>
                      <a:pt x="0" y="8"/>
                    </a:lnTo>
                    <a:lnTo>
                      <a:pt x="0" y="6"/>
                    </a:lnTo>
                    <a:lnTo>
                      <a:pt x="0" y="4"/>
                    </a:lnTo>
                    <a:lnTo>
                      <a:pt x="0" y="2"/>
                    </a:lnTo>
                    <a:lnTo>
                      <a:pt x="1" y="1"/>
                    </a:lnTo>
                    <a:lnTo>
                      <a:pt x="2" y="0"/>
                    </a:lnTo>
                    <a:lnTo>
                      <a:pt x="3" y="0"/>
                    </a:lnTo>
                    <a:close/>
                  </a:path>
                </a:pathLst>
              </a:custGeom>
              <a:solidFill>
                <a:srgbClr val="E3931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13" name="Freeform 363"/>
              <p:cNvSpPr>
                <a:spLocks/>
              </p:cNvSpPr>
              <p:nvPr/>
            </p:nvSpPr>
            <p:spPr bwMode="auto">
              <a:xfrm>
                <a:off x="4272" y="2358"/>
                <a:ext cx="21" cy="12"/>
              </a:xfrm>
              <a:custGeom>
                <a:avLst/>
                <a:gdLst>
                  <a:gd name="T0" fmla="*/ 4 w 21"/>
                  <a:gd name="T1" fmla="*/ 0 h 12"/>
                  <a:gd name="T2" fmla="*/ 17 w 21"/>
                  <a:gd name="T3" fmla="*/ 0 h 12"/>
                  <a:gd name="T4" fmla="*/ 18 w 21"/>
                  <a:gd name="T5" fmla="*/ 1 h 12"/>
                  <a:gd name="T6" fmla="*/ 20 w 21"/>
                  <a:gd name="T7" fmla="*/ 2 h 12"/>
                  <a:gd name="T8" fmla="*/ 21 w 21"/>
                  <a:gd name="T9" fmla="*/ 5 h 12"/>
                  <a:gd name="T10" fmla="*/ 21 w 21"/>
                  <a:gd name="T11" fmla="*/ 6 h 12"/>
                  <a:gd name="T12" fmla="*/ 21 w 21"/>
                  <a:gd name="T13" fmla="*/ 8 h 12"/>
                  <a:gd name="T14" fmla="*/ 20 w 21"/>
                  <a:gd name="T15" fmla="*/ 11 h 12"/>
                  <a:gd name="T16" fmla="*/ 18 w 21"/>
                  <a:gd name="T17" fmla="*/ 12 h 12"/>
                  <a:gd name="T18" fmla="*/ 17 w 21"/>
                  <a:gd name="T19" fmla="*/ 12 h 12"/>
                  <a:gd name="T20" fmla="*/ 4 w 21"/>
                  <a:gd name="T21" fmla="*/ 12 h 12"/>
                  <a:gd name="T22" fmla="*/ 3 w 21"/>
                  <a:gd name="T23" fmla="*/ 11 h 12"/>
                  <a:gd name="T24" fmla="*/ 2 w 21"/>
                  <a:gd name="T25" fmla="*/ 10 h 12"/>
                  <a:gd name="T26" fmla="*/ 0 w 21"/>
                  <a:gd name="T27" fmla="*/ 6 h 12"/>
                  <a:gd name="T28" fmla="*/ 0 w 21"/>
                  <a:gd name="T29" fmla="*/ 5 h 12"/>
                  <a:gd name="T30" fmla="*/ 0 w 21"/>
                  <a:gd name="T31" fmla="*/ 3 h 12"/>
                  <a:gd name="T32" fmla="*/ 2 w 21"/>
                  <a:gd name="T33" fmla="*/ 2 h 12"/>
                  <a:gd name="T34" fmla="*/ 3 w 21"/>
                  <a:gd name="T35" fmla="*/ 1 h 12"/>
                  <a:gd name="T36" fmla="*/ 4 w 21"/>
                  <a:gd name="T37" fmla="*/ 0 h 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1" h="12">
                    <a:moveTo>
                      <a:pt x="4" y="0"/>
                    </a:moveTo>
                    <a:lnTo>
                      <a:pt x="17" y="0"/>
                    </a:lnTo>
                    <a:lnTo>
                      <a:pt x="18" y="1"/>
                    </a:lnTo>
                    <a:lnTo>
                      <a:pt x="20" y="2"/>
                    </a:lnTo>
                    <a:lnTo>
                      <a:pt x="21" y="5"/>
                    </a:lnTo>
                    <a:lnTo>
                      <a:pt x="21" y="6"/>
                    </a:lnTo>
                    <a:lnTo>
                      <a:pt x="21" y="8"/>
                    </a:lnTo>
                    <a:lnTo>
                      <a:pt x="20" y="11"/>
                    </a:lnTo>
                    <a:lnTo>
                      <a:pt x="18" y="12"/>
                    </a:lnTo>
                    <a:lnTo>
                      <a:pt x="17" y="12"/>
                    </a:lnTo>
                    <a:lnTo>
                      <a:pt x="4" y="12"/>
                    </a:lnTo>
                    <a:lnTo>
                      <a:pt x="3" y="11"/>
                    </a:lnTo>
                    <a:lnTo>
                      <a:pt x="2" y="10"/>
                    </a:lnTo>
                    <a:lnTo>
                      <a:pt x="0" y="6"/>
                    </a:lnTo>
                    <a:lnTo>
                      <a:pt x="0" y="5"/>
                    </a:lnTo>
                    <a:lnTo>
                      <a:pt x="0" y="3"/>
                    </a:lnTo>
                    <a:lnTo>
                      <a:pt x="2" y="2"/>
                    </a:lnTo>
                    <a:lnTo>
                      <a:pt x="3" y="1"/>
                    </a:lnTo>
                    <a:lnTo>
                      <a:pt x="4" y="0"/>
                    </a:lnTo>
                    <a:close/>
                  </a:path>
                </a:pathLst>
              </a:custGeom>
              <a:solidFill>
                <a:srgbClr val="E3931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14" name="Freeform 364"/>
              <p:cNvSpPr>
                <a:spLocks/>
              </p:cNvSpPr>
              <p:nvPr/>
            </p:nvSpPr>
            <p:spPr bwMode="auto">
              <a:xfrm>
                <a:off x="4248" y="2358"/>
                <a:ext cx="20" cy="12"/>
              </a:xfrm>
              <a:custGeom>
                <a:avLst/>
                <a:gdLst>
                  <a:gd name="T0" fmla="*/ 4 w 20"/>
                  <a:gd name="T1" fmla="*/ 0 h 12"/>
                  <a:gd name="T2" fmla="*/ 17 w 20"/>
                  <a:gd name="T3" fmla="*/ 0 h 12"/>
                  <a:gd name="T4" fmla="*/ 18 w 20"/>
                  <a:gd name="T5" fmla="*/ 1 h 12"/>
                  <a:gd name="T6" fmla="*/ 19 w 20"/>
                  <a:gd name="T7" fmla="*/ 2 h 12"/>
                  <a:gd name="T8" fmla="*/ 20 w 20"/>
                  <a:gd name="T9" fmla="*/ 3 h 12"/>
                  <a:gd name="T10" fmla="*/ 20 w 20"/>
                  <a:gd name="T11" fmla="*/ 5 h 12"/>
                  <a:gd name="T12" fmla="*/ 20 w 20"/>
                  <a:gd name="T13" fmla="*/ 6 h 12"/>
                  <a:gd name="T14" fmla="*/ 19 w 20"/>
                  <a:gd name="T15" fmla="*/ 10 h 12"/>
                  <a:gd name="T16" fmla="*/ 18 w 20"/>
                  <a:gd name="T17" fmla="*/ 11 h 12"/>
                  <a:gd name="T18" fmla="*/ 15 w 20"/>
                  <a:gd name="T19" fmla="*/ 12 h 12"/>
                  <a:gd name="T20" fmla="*/ 2 w 20"/>
                  <a:gd name="T21" fmla="*/ 12 h 12"/>
                  <a:gd name="T22" fmla="*/ 1 w 20"/>
                  <a:gd name="T23" fmla="*/ 11 h 12"/>
                  <a:gd name="T24" fmla="*/ 0 w 20"/>
                  <a:gd name="T25" fmla="*/ 10 h 12"/>
                  <a:gd name="T26" fmla="*/ 0 w 20"/>
                  <a:gd name="T27" fmla="*/ 6 h 12"/>
                  <a:gd name="T28" fmla="*/ 0 w 20"/>
                  <a:gd name="T29" fmla="*/ 5 h 12"/>
                  <a:gd name="T30" fmla="*/ 0 w 20"/>
                  <a:gd name="T31" fmla="*/ 3 h 12"/>
                  <a:gd name="T32" fmla="*/ 1 w 20"/>
                  <a:gd name="T33" fmla="*/ 2 h 12"/>
                  <a:gd name="T34" fmla="*/ 3 w 20"/>
                  <a:gd name="T35" fmla="*/ 1 h 12"/>
                  <a:gd name="T36" fmla="*/ 4 w 20"/>
                  <a:gd name="T37" fmla="*/ 0 h 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0" h="12">
                    <a:moveTo>
                      <a:pt x="4" y="0"/>
                    </a:moveTo>
                    <a:lnTo>
                      <a:pt x="17" y="0"/>
                    </a:lnTo>
                    <a:lnTo>
                      <a:pt x="18" y="1"/>
                    </a:lnTo>
                    <a:lnTo>
                      <a:pt x="19" y="2"/>
                    </a:lnTo>
                    <a:lnTo>
                      <a:pt x="20" y="3"/>
                    </a:lnTo>
                    <a:lnTo>
                      <a:pt x="20" y="5"/>
                    </a:lnTo>
                    <a:lnTo>
                      <a:pt x="20" y="6"/>
                    </a:lnTo>
                    <a:lnTo>
                      <a:pt x="19" y="10"/>
                    </a:lnTo>
                    <a:lnTo>
                      <a:pt x="18" y="11"/>
                    </a:lnTo>
                    <a:lnTo>
                      <a:pt x="15" y="12"/>
                    </a:lnTo>
                    <a:lnTo>
                      <a:pt x="2" y="12"/>
                    </a:lnTo>
                    <a:lnTo>
                      <a:pt x="1" y="11"/>
                    </a:lnTo>
                    <a:lnTo>
                      <a:pt x="0" y="10"/>
                    </a:lnTo>
                    <a:lnTo>
                      <a:pt x="0" y="6"/>
                    </a:lnTo>
                    <a:lnTo>
                      <a:pt x="0" y="5"/>
                    </a:lnTo>
                    <a:lnTo>
                      <a:pt x="0" y="3"/>
                    </a:lnTo>
                    <a:lnTo>
                      <a:pt x="1" y="2"/>
                    </a:lnTo>
                    <a:lnTo>
                      <a:pt x="3" y="1"/>
                    </a:lnTo>
                    <a:lnTo>
                      <a:pt x="4" y="0"/>
                    </a:lnTo>
                    <a:close/>
                  </a:path>
                </a:pathLst>
              </a:custGeom>
              <a:solidFill>
                <a:srgbClr val="E3931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15" name="Freeform 365"/>
              <p:cNvSpPr>
                <a:spLocks/>
              </p:cNvSpPr>
              <p:nvPr/>
            </p:nvSpPr>
            <p:spPr bwMode="auto">
              <a:xfrm>
                <a:off x="4296" y="2358"/>
                <a:ext cx="22" cy="12"/>
              </a:xfrm>
              <a:custGeom>
                <a:avLst/>
                <a:gdLst>
                  <a:gd name="T0" fmla="*/ 5 w 22"/>
                  <a:gd name="T1" fmla="*/ 0 h 12"/>
                  <a:gd name="T2" fmla="*/ 16 w 22"/>
                  <a:gd name="T3" fmla="*/ 0 h 12"/>
                  <a:gd name="T4" fmla="*/ 18 w 22"/>
                  <a:gd name="T5" fmla="*/ 1 h 12"/>
                  <a:gd name="T6" fmla="*/ 19 w 22"/>
                  <a:gd name="T7" fmla="*/ 2 h 12"/>
                  <a:gd name="T8" fmla="*/ 21 w 22"/>
                  <a:gd name="T9" fmla="*/ 3 h 12"/>
                  <a:gd name="T10" fmla="*/ 21 w 22"/>
                  <a:gd name="T11" fmla="*/ 5 h 12"/>
                  <a:gd name="T12" fmla="*/ 21 w 22"/>
                  <a:gd name="T13" fmla="*/ 6 h 12"/>
                  <a:gd name="T14" fmla="*/ 22 w 22"/>
                  <a:gd name="T15" fmla="*/ 8 h 12"/>
                  <a:gd name="T16" fmla="*/ 21 w 22"/>
                  <a:gd name="T17" fmla="*/ 11 h 12"/>
                  <a:gd name="T18" fmla="*/ 19 w 22"/>
                  <a:gd name="T19" fmla="*/ 12 h 12"/>
                  <a:gd name="T20" fmla="*/ 18 w 22"/>
                  <a:gd name="T21" fmla="*/ 12 h 12"/>
                  <a:gd name="T22" fmla="*/ 5 w 22"/>
                  <a:gd name="T23" fmla="*/ 12 h 12"/>
                  <a:gd name="T24" fmla="*/ 3 w 22"/>
                  <a:gd name="T25" fmla="*/ 12 h 12"/>
                  <a:gd name="T26" fmla="*/ 2 w 22"/>
                  <a:gd name="T27" fmla="*/ 11 h 12"/>
                  <a:gd name="T28" fmla="*/ 1 w 22"/>
                  <a:gd name="T29" fmla="*/ 8 h 12"/>
                  <a:gd name="T30" fmla="*/ 0 w 22"/>
                  <a:gd name="T31" fmla="*/ 6 h 12"/>
                  <a:gd name="T32" fmla="*/ 0 w 22"/>
                  <a:gd name="T33" fmla="*/ 5 h 12"/>
                  <a:gd name="T34" fmla="*/ 0 w 22"/>
                  <a:gd name="T35" fmla="*/ 3 h 12"/>
                  <a:gd name="T36" fmla="*/ 1 w 22"/>
                  <a:gd name="T37" fmla="*/ 2 h 12"/>
                  <a:gd name="T38" fmla="*/ 3 w 22"/>
                  <a:gd name="T39" fmla="*/ 1 h 12"/>
                  <a:gd name="T40" fmla="*/ 5 w 22"/>
                  <a:gd name="T41" fmla="*/ 0 h 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2" h="12">
                    <a:moveTo>
                      <a:pt x="5" y="0"/>
                    </a:moveTo>
                    <a:lnTo>
                      <a:pt x="16" y="0"/>
                    </a:lnTo>
                    <a:lnTo>
                      <a:pt x="18" y="1"/>
                    </a:lnTo>
                    <a:lnTo>
                      <a:pt x="19" y="2"/>
                    </a:lnTo>
                    <a:lnTo>
                      <a:pt x="21" y="3"/>
                    </a:lnTo>
                    <a:lnTo>
                      <a:pt x="21" y="5"/>
                    </a:lnTo>
                    <a:lnTo>
                      <a:pt x="21" y="6"/>
                    </a:lnTo>
                    <a:lnTo>
                      <a:pt x="22" y="8"/>
                    </a:lnTo>
                    <a:lnTo>
                      <a:pt x="21" y="11"/>
                    </a:lnTo>
                    <a:lnTo>
                      <a:pt x="19" y="12"/>
                    </a:lnTo>
                    <a:lnTo>
                      <a:pt x="18" y="12"/>
                    </a:lnTo>
                    <a:lnTo>
                      <a:pt x="5" y="12"/>
                    </a:lnTo>
                    <a:lnTo>
                      <a:pt x="3" y="12"/>
                    </a:lnTo>
                    <a:lnTo>
                      <a:pt x="2" y="11"/>
                    </a:lnTo>
                    <a:lnTo>
                      <a:pt x="1" y="8"/>
                    </a:lnTo>
                    <a:lnTo>
                      <a:pt x="0" y="6"/>
                    </a:lnTo>
                    <a:lnTo>
                      <a:pt x="0" y="5"/>
                    </a:lnTo>
                    <a:lnTo>
                      <a:pt x="0" y="3"/>
                    </a:lnTo>
                    <a:lnTo>
                      <a:pt x="1" y="2"/>
                    </a:lnTo>
                    <a:lnTo>
                      <a:pt x="3" y="1"/>
                    </a:lnTo>
                    <a:lnTo>
                      <a:pt x="5" y="0"/>
                    </a:lnTo>
                    <a:close/>
                  </a:path>
                </a:pathLst>
              </a:custGeom>
              <a:solidFill>
                <a:srgbClr val="E3931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16" name="Freeform 366"/>
              <p:cNvSpPr>
                <a:spLocks/>
              </p:cNvSpPr>
              <p:nvPr/>
            </p:nvSpPr>
            <p:spPr bwMode="auto">
              <a:xfrm>
                <a:off x="4272" y="2380"/>
                <a:ext cx="21" cy="14"/>
              </a:xfrm>
              <a:custGeom>
                <a:avLst/>
                <a:gdLst>
                  <a:gd name="T0" fmla="*/ 7 w 21"/>
                  <a:gd name="T1" fmla="*/ 0 h 14"/>
                  <a:gd name="T2" fmla="*/ 13 w 21"/>
                  <a:gd name="T3" fmla="*/ 0 h 14"/>
                  <a:gd name="T4" fmla="*/ 14 w 21"/>
                  <a:gd name="T5" fmla="*/ 0 h 14"/>
                  <a:gd name="T6" fmla="*/ 14 w 21"/>
                  <a:gd name="T7" fmla="*/ 2 h 14"/>
                  <a:gd name="T8" fmla="*/ 14 w 21"/>
                  <a:gd name="T9" fmla="*/ 3 h 14"/>
                  <a:gd name="T10" fmla="*/ 20 w 21"/>
                  <a:gd name="T11" fmla="*/ 11 h 14"/>
                  <a:gd name="T12" fmla="*/ 21 w 21"/>
                  <a:gd name="T13" fmla="*/ 13 h 14"/>
                  <a:gd name="T14" fmla="*/ 20 w 21"/>
                  <a:gd name="T15" fmla="*/ 14 h 14"/>
                  <a:gd name="T16" fmla="*/ 20 w 21"/>
                  <a:gd name="T17" fmla="*/ 14 h 14"/>
                  <a:gd name="T18" fmla="*/ 19 w 21"/>
                  <a:gd name="T19" fmla="*/ 14 h 14"/>
                  <a:gd name="T20" fmla="*/ 2 w 21"/>
                  <a:gd name="T21" fmla="*/ 14 h 14"/>
                  <a:gd name="T22" fmla="*/ 0 w 21"/>
                  <a:gd name="T23" fmla="*/ 14 h 14"/>
                  <a:gd name="T24" fmla="*/ 0 w 21"/>
                  <a:gd name="T25" fmla="*/ 14 h 14"/>
                  <a:gd name="T26" fmla="*/ 0 w 21"/>
                  <a:gd name="T27" fmla="*/ 13 h 14"/>
                  <a:gd name="T28" fmla="*/ 0 w 21"/>
                  <a:gd name="T29" fmla="*/ 11 h 14"/>
                  <a:gd name="T30" fmla="*/ 6 w 21"/>
                  <a:gd name="T31" fmla="*/ 3 h 14"/>
                  <a:gd name="T32" fmla="*/ 6 w 21"/>
                  <a:gd name="T33" fmla="*/ 2 h 14"/>
                  <a:gd name="T34" fmla="*/ 7 w 21"/>
                  <a:gd name="T35" fmla="*/ 0 h 14"/>
                  <a:gd name="T36" fmla="*/ 7 w 21"/>
                  <a:gd name="T37" fmla="*/ 0 h 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1" h="14">
                    <a:moveTo>
                      <a:pt x="7" y="0"/>
                    </a:moveTo>
                    <a:lnTo>
                      <a:pt x="13" y="0"/>
                    </a:lnTo>
                    <a:lnTo>
                      <a:pt x="14" y="0"/>
                    </a:lnTo>
                    <a:lnTo>
                      <a:pt x="14" y="2"/>
                    </a:lnTo>
                    <a:lnTo>
                      <a:pt x="14" y="3"/>
                    </a:lnTo>
                    <a:lnTo>
                      <a:pt x="20" y="11"/>
                    </a:lnTo>
                    <a:lnTo>
                      <a:pt x="21" y="13"/>
                    </a:lnTo>
                    <a:lnTo>
                      <a:pt x="20" y="14"/>
                    </a:lnTo>
                    <a:lnTo>
                      <a:pt x="19" y="14"/>
                    </a:lnTo>
                    <a:lnTo>
                      <a:pt x="2" y="14"/>
                    </a:lnTo>
                    <a:lnTo>
                      <a:pt x="0" y="14"/>
                    </a:lnTo>
                    <a:lnTo>
                      <a:pt x="0" y="13"/>
                    </a:lnTo>
                    <a:lnTo>
                      <a:pt x="0" y="11"/>
                    </a:lnTo>
                    <a:lnTo>
                      <a:pt x="6" y="3"/>
                    </a:lnTo>
                    <a:lnTo>
                      <a:pt x="6" y="2"/>
                    </a:lnTo>
                    <a:lnTo>
                      <a:pt x="7" y="0"/>
                    </a:lnTo>
                    <a:close/>
                  </a:path>
                </a:pathLst>
              </a:custGeom>
              <a:solidFill>
                <a:srgbClr val="E3931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17" name="Freeform 367"/>
              <p:cNvSpPr>
                <a:spLocks/>
              </p:cNvSpPr>
              <p:nvPr/>
            </p:nvSpPr>
            <p:spPr bwMode="auto">
              <a:xfrm>
                <a:off x="3891" y="1721"/>
                <a:ext cx="174" cy="176"/>
              </a:xfrm>
              <a:custGeom>
                <a:avLst/>
                <a:gdLst>
                  <a:gd name="T0" fmla="*/ 87 w 174"/>
                  <a:gd name="T1" fmla="*/ 0 h 176"/>
                  <a:gd name="T2" fmla="*/ 109 w 174"/>
                  <a:gd name="T3" fmla="*/ 4 h 176"/>
                  <a:gd name="T4" fmla="*/ 131 w 174"/>
                  <a:gd name="T5" fmla="*/ 12 h 176"/>
                  <a:gd name="T6" fmla="*/ 148 w 174"/>
                  <a:gd name="T7" fmla="*/ 26 h 176"/>
                  <a:gd name="T8" fmla="*/ 162 w 174"/>
                  <a:gd name="T9" fmla="*/ 44 h 176"/>
                  <a:gd name="T10" fmla="*/ 171 w 174"/>
                  <a:gd name="T11" fmla="*/ 65 h 176"/>
                  <a:gd name="T12" fmla="*/ 174 w 174"/>
                  <a:gd name="T13" fmla="*/ 88 h 176"/>
                  <a:gd name="T14" fmla="*/ 171 w 174"/>
                  <a:gd name="T15" fmla="*/ 111 h 176"/>
                  <a:gd name="T16" fmla="*/ 162 w 174"/>
                  <a:gd name="T17" fmla="*/ 133 h 176"/>
                  <a:gd name="T18" fmla="*/ 148 w 174"/>
                  <a:gd name="T19" fmla="*/ 150 h 176"/>
                  <a:gd name="T20" fmla="*/ 131 w 174"/>
                  <a:gd name="T21" fmla="*/ 164 h 176"/>
                  <a:gd name="T22" fmla="*/ 109 w 174"/>
                  <a:gd name="T23" fmla="*/ 173 h 176"/>
                  <a:gd name="T24" fmla="*/ 87 w 174"/>
                  <a:gd name="T25" fmla="*/ 176 h 176"/>
                  <a:gd name="T26" fmla="*/ 63 w 174"/>
                  <a:gd name="T27" fmla="*/ 173 h 176"/>
                  <a:gd name="T28" fmla="*/ 43 w 174"/>
                  <a:gd name="T29" fmla="*/ 164 h 176"/>
                  <a:gd name="T30" fmla="*/ 24 w 174"/>
                  <a:gd name="T31" fmla="*/ 150 h 176"/>
                  <a:gd name="T32" fmla="*/ 11 w 174"/>
                  <a:gd name="T33" fmla="*/ 133 h 176"/>
                  <a:gd name="T34" fmla="*/ 3 w 174"/>
                  <a:gd name="T35" fmla="*/ 111 h 176"/>
                  <a:gd name="T36" fmla="*/ 0 w 174"/>
                  <a:gd name="T37" fmla="*/ 88 h 176"/>
                  <a:gd name="T38" fmla="*/ 3 w 174"/>
                  <a:gd name="T39" fmla="*/ 65 h 176"/>
                  <a:gd name="T40" fmla="*/ 11 w 174"/>
                  <a:gd name="T41" fmla="*/ 44 h 176"/>
                  <a:gd name="T42" fmla="*/ 24 w 174"/>
                  <a:gd name="T43" fmla="*/ 26 h 176"/>
                  <a:gd name="T44" fmla="*/ 43 w 174"/>
                  <a:gd name="T45" fmla="*/ 12 h 176"/>
                  <a:gd name="T46" fmla="*/ 63 w 174"/>
                  <a:gd name="T47" fmla="*/ 4 h 176"/>
                  <a:gd name="T48" fmla="*/ 87 w 174"/>
                  <a:gd name="T49" fmla="*/ 0 h 17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74" h="176">
                    <a:moveTo>
                      <a:pt x="87" y="0"/>
                    </a:moveTo>
                    <a:lnTo>
                      <a:pt x="109" y="4"/>
                    </a:lnTo>
                    <a:lnTo>
                      <a:pt x="131" y="12"/>
                    </a:lnTo>
                    <a:lnTo>
                      <a:pt x="148" y="26"/>
                    </a:lnTo>
                    <a:lnTo>
                      <a:pt x="162" y="44"/>
                    </a:lnTo>
                    <a:lnTo>
                      <a:pt x="171" y="65"/>
                    </a:lnTo>
                    <a:lnTo>
                      <a:pt x="174" y="88"/>
                    </a:lnTo>
                    <a:lnTo>
                      <a:pt x="171" y="111"/>
                    </a:lnTo>
                    <a:lnTo>
                      <a:pt x="162" y="133"/>
                    </a:lnTo>
                    <a:lnTo>
                      <a:pt x="148" y="150"/>
                    </a:lnTo>
                    <a:lnTo>
                      <a:pt x="131" y="164"/>
                    </a:lnTo>
                    <a:lnTo>
                      <a:pt x="109" y="173"/>
                    </a:lnTo>
                    <a:lnTo>
                      <a:pt x="87" y="176"/>
                    </a:lnTo>
                    <a:lnTo>
                      <a:pt x="63" y="173"/>
                    </a:lnTo>
                    <a:lnTo>
                      <a:pt x="43" y="164"/>
                    </a:lnTo>
                    <a:lnTo>
                      <a:pt x="24" y="150"/>
                    </a:lnTo>
                    <a:lnTo>
                      <a:pt x="11" y="133"/>
                    </a:lnTo>
                    <a:lnTo>
                      <a:pt x="3" y="111"/>
                    </a:lnTo>
                    <a:lnTo>
                      <a:pt x="0" y="88"/>
                    </a:lnTo>
                    <a:lnTo>
                      <a:pt x="3" y="65"/>
                    </a:lnTo>
                    <a:lnTo>
                      <a:pt x="11" y="44"/>
                    </a:lnTo>
                    <a:lnTo>
                      <a:pt x="24" y="26"/>
                    </a:lnTo>
                    <a:lnTo>
                      <a:pt x="43" y="12"/>
                    </a:lnTo>
                    <a:lnTo>
                      <a:pt x="63" y="4"/>
                    </a:lnTo>
                    <a:lnTo>
                      <a:pt x="87" y="0"/>
                    </a:lnTo>
                    <a:close/>
                  </a:path>
                </a:pathLst>
              </a:custGeom>
              <a:solidFill>
                <a:srgbClr val="29426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18" name="Freeform 368"/>
              <p:cNvSpPr>
                <a:spLocks noEditPoints="1"/>
              </p:cNvSpPr>
              <p:nvPr/>
            </p:nvSpPr>
            <p:spPr bwMode="auto">
              <a:xfrm>
                <a:off x="3886" y="1716"/>
                <a:ext cx="185" cy="185"/>
              </a:xfrm>
              <a:custGeom>
                <a:avLst/>
                <a:gdLst>
                  <a:gd name="T0" fmla="*/ 92 w 185"/>
                  <a:gd name="T1" fmla="*/ 11 h 185"/>
                  <a:gd name="T2" fmla="*/ 70 w 185"/>
                  <a:gd name="T3" fmla="*/ 13 h 185"/>
                  <a:gd name="T4" fmla="*/ 50 w 185"/>
                  <a:gd name="T5" fmla="*/ 21 h 185"/>
                  <a:gd name="T6" fmla="*/ 33 w 185"/>
                  <a:gd name="T7" fmla="*/ 34 h 185"/>
                  <a:gd name="T8" fmla="*/ 21 w 185"/>
                  <a:gd name="T9" fmla="*/ 52 h 185"/>
                  <a:gd name="T10" fmla="*/ 12 w 185"/>
                  <a:gd name="T11" fmla="*/ 71 h 185"/>
                  <a:gd name="T12" fmla="*/ 9 w 185"/>
                  <a:gd name="T13" fmla="*/ 93 h 185"/>
                  <a:gd name="T14" fmla="*/ 12 w 185"/>
                  <a:gd name="T15" fmla="*/ 113 h 185"/>
                  <a:gd name="T16" fmla="*/ 21 w 185"/>
                  <a:gd name="T17" fmla="*/ 132 h 185"/>
                  <a:gd name="T18" fmla="*/ 33 w 185"/>
                  <a:gd name="T19" fmla="*/ 151 h 185"/>
                  <a:gd name="T20" fmla="*/ 50 w 185"/>
                  <a:gd name="T21" fmla="*/ 164 h 185"/>
                  <a:gd name="T22" fmla="*/ 70 w 185"/>
                  <a:gd name="T23" fmla="*/ 171 h 185"/>
                  <a:gd name="T24" fmla="*/ 92 w 185"/>
                  <a:gd name="T25" fmla="*/ 174 h 185"/>
                  <a:gd name="T26" fmla="*/ 113 w 185"/>
                  <a:gd name="T27" fmla="*/ 171 h 185"/>
                  <a:gd name="T28" fmla="*/ 133 w 185"/>
                  <a:gd name="T29" fmla="*/ 164 h 185"/>
                  <a:gd name="T30" fmla="*/ 151 w 185"/>
                  <a:gd name="T31" fmla="*/ 151 h 185"/>
                  <a:gd name="T32" fmla="*/ 163 w 185"/>
                  <a:gd name="T33" fmla="*/ 132 h 185"/>
                  <a:gd name="T34" fmla="*/ 171 w 185"/>
                  <a:gd name="T35" fmla="*/ 113 h 185"/>
                  <a:gd name="T36" fmla="*/ 175 w 185"/>
                  <a:gd name="T37" fmla="*/ 93 h 185"/>
                  <a:gd name="T38" fmla="*/ 171 w 185"/>
                  <a:gd name="T39" fmla="*/ 71 h 185"/>
                  <a:gd name="T40" fmla="*/ 163 w 185"/>
                  <a:gd name="T41" fmla="*/ 52 h 185"/>
                  <a:gd name="T42" fmla="*/ 151 w 185"/>
                  <a:gd name="T43" fmla="*/ 34 h 185"/>
                  <a:gd name="T44" fmla="*/ 133 w 185"/>
                  <a:gd name="T45" fmla="*/ 21 h 185"/>
                  <a:gd name="T46" fmla="*/ 113 w 185"/>
                  <a:gd name="T47" fmla="*/ 13 h 185"/>
                  <a:gd name="T48" fmla="*/ 92 w 185"/>
                  <a:gd name="T49" fmla="*/ 11 h 185"/>
                  <a:gd name="T50" fmla="*/ 92 w 185"/>
                  <a:gd name="T51" fmla="*/ 0 h 185"/>
                  <a:gd name="T52" fmla="*/ 115 w 185"/>
                  <a:gd name="T53" fmla="*/ 3 h 185"/>
                  <a:gd name="T54" fmla="*/ 138 w 185"/>
                  <a:gd name="T55" fmla="*/ 12 h 185"/>
                  <a:gd name="T56" fmla="*/ 157 w 185"/>
                  <a:gd name="T57" fmla="*/ 26 h 185"/>
                  <a:gd name="T58" fmla="*/ 168 w 185"/>
                  <a:gd name="T59" fmla="*/ 41 h 185"/>
                  <a:gd name="T60" fmla="*/ 178 w 185"/>
                  <a:gd name="T61" fmla="*/ 57 h 185"/>
                  <a:gd name="T62" fmla="*/ 183 w 185"/>
                  <a:gd name="T63" fmla="*/ 74 h 185"/>
                  <a:gd name="T64" fmla="*/ 185 w 185"/>
                  <a:gd name="T65" fmla="*/ 93 h 185"/>
                  <a:gd name="T66" fmla="*/ 182 w 185"/>
                  <a:gd name="T67" fmla="*/ 116 h 185"/>
                  <a:gd name="T68" fmla="*/ 172 w 185"/>
                  <a:gd name="T69" fmla="*/ 139 h 185"/>
                  <a:gd name="T70" fmla="*/ 157 w 185"/>
                  <a:gd name="T71" fmla="*/ 158 h 185"/>
                  <a:gd name="T72" fmla="*/ 138 w 185"/>
                  <a:gd name="T73" fmla="*/ 173 h 185"/>
                  <a:gd name="T74" fmla="*/ 115 w 185"/>
                  <a:gd name="T75" fmla="*/ 182 h 185"/>
                  <a:gd name="T76" fmla="*/ 92 w 185"/>
                  <a:gd name="T77" fmla="*/ 185 h 185"/>
                  <a:gd name="T78" fmla="*/ 68 w 185"/>
                  <a:gd name="T79" fmla="*/ 182 h 185"/>
                  <a:gd name="T80" fmla="*/ 46 w 185"/>
                  <a:gd name="T81" fmla="*/ 173 h 185"/>
                  <a:gd name="T82" fmla="*/ 26 w 185"/>
                  <a:gd name="T83" fmla="*/ 158 h 185"/>
                  <a:gd name="T84" fmla="*/ 15 w 185"/>
                  <a:gd name="T85" fmla="*/ 144 h 185"/>
                  <a:gd name="T86" fmla="*/ 7 w 185"/>
                  <a:gd name="T87" fmla="*/ 128 h 185"/>
                  <a:gd name="T88" fmla="*/ 1 w 185"/>
                  <a:gd name="T89" fmla="*/ 111 h 185"/>
                  <a:gd name="T90" fmla="*/ 0 w 185"/>
                  <a:gd name="T91" fmla="*/ 93 h 185"/>
                  <a:gd name="T92" fmla="*/ 1 w 185"/>
                  <a:gd name="T93" fmla="*/ 74 h 185"/>
                  <a:gd name="T94" fmla="*/ 7 w 185"/>
                  <a:gd name="T95" fmla="*/ 57 h 185"/>
                  <a:gd name="T96" fmla="*/ 15 w 185"/>
                  <a:gd name="T97" fmla="*/ 41 h 185"/>
                  <a:gd name="T98" fmla="*/ 26 w 185"/>
                  <a:gd name="T99" fmla="*/ 26 h 185"/>
                  <a:gd name="T100" fmla="*/ 46 w 185"/>
                  <a:gd name="T101" fmla="*/ 12 h 185"/>
                  <a:gd name="T102" fmla="*/ 68 w 185"/>
                  <a:gd name="T103" fmla="*/ 3 h 185"/>
                  <a:gd name="T104" fmla="*/ 92 w 185"/>
                  <a:gd name="T105" fmla="*/ 0 h 18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5" h="185">
                    <a:moveTo>
                      <a:pt x="92" y="11"/>
                    </a:moveTo>
                    <a:lnTo>
                      <a:pt x="70" y="13"/>
                    </a:lnTo>
                    <a:lnTo>
                      <a:pt x="50" y="21"/>
                    </a:lnTo>
                    <a:lnTo>
                      <a:pt x="33" y="34"/>
                    </a:lnTo>
                    <a:lnTo>
                      <a:pt x="21" y="52"/>
                    </a:lnTo>
                    <a:lnTo>
                      <a:pt x="12" y="71"/>
                    </a:lnTo>
                    <a:lnTo>
                      <a:pt x="9" y="93"/>
                    </a:lnTo>
                    <a:lnTo>
                      <a:pt x="12" y="113"/>
                    </a:lnTo>
                    <a:lnTo>
                      <a:pt x="21" y="132"/>
                    </a:lnTo>
                    <a:lnTo>
                      <a:pt x="33" y="151"/>
                    </a:lnTo>
                    <a:lnTo>
                      <a:pt x="50" y="164"/>
                    </a:lnTo>
                    <a:lnTo>
                      <a:pt x="70" y="171"/>
                    </a:lnTo>
                    <a:lnTo>
                      <a:pt x="92" y="174"/>
                    </a:lnTo>
                    <a:lnTo>
                      <a:pt x="113" y="171"/>
                    </a:lnTo>
                    <a:lnTo>
                      <a:pt x="133" y="164"/>
                    </a:lnTo>
                    <a:lnTo>
                      <a:pt x="151" y="151"/>
                    </a:lnTo>
                    <a:lnTo>
                      <a:pt x="163" y="132"/>
                    </a:lnTo>
                    <a:lnTo>
                      <a:pt x="171" y="113"/>
                    </a:lnTo>
                    <a:lnTo>
                      <a:pt x="175" y="93"/>
                    </a:lnTo>
                    <a:lnTo>
                      <a:pt x="171" y="71"/>
                    </a:lnTo>
                    <a:lnTo>
                      <a:pt x="163" y="52"/>
                    </a:lnTo>
                    <a:lnTo>
                      <a:pt x="151" y="34"/>
                    </a:lnTo>
                    <a:lnTo>
                      <a:pt x="133" y="21"/>
                    </a:lnTo>
                    <a:lnTo>
                      <a:pt x="113" y="13"/>
                    </a:lnTo>
                    <a:lnTo>
                      <a:pt x="92" y="11"/>
                    </a:lnTo>
                    <a:close/>
                    <a:moveTo>
                      <a:pt x="92" y="0"/>
                    </a:moveTo>
                    <a:lnTo>
                      <a:pt x="115" y="3"/>
                    </a:lnTo>
                    <a:lnTo>
                      <a:pt x="138" y="12"/>
                    </a:lnTo>
                    <a:lnTo>
                      <a:pt x="157" y="26"/>
                    </a:lnTo>
                    <a:lnTo>
                      <a:pt x="168" y="41"/>
                    </a:lnTo>
                    <a:lnTo>
                      <a:pt x="178" y="57"/>
                    </a:lnTo>
                    <a:lnTo>
                      <a:pt x="183" y="74"/>
                    </a:lnTo>
                    <a:lnTo>
                      <a:pt x="185" y="93"/>
                    </a:lnTo>
                    <a:lnTo>
                      <a:pt x="182" y="116"/>
                    </a:lnTo>
                    <a:lnTo>
                      <a:pt x="172" y="139"/>
                    </a:lnTo>
                    <a:lnTo>
                      <a:pt x="157" y="158"/>
                    </a:lnTo>
                    <a:lnTo>
                      <a:pt x="138" y="173"/>
                    </a:lnTo>
                    <a:lnTo>
                      <a:pt x="115" y="182"/>
                    </a:lnTo>
                    <a:lnTo>
                      <a:pt x="92" y="185"/>
                    </a:lnTo>
                    <a:lnTo>
                      <a:pt x="68" y="182"/>
                    </a:lnTo>
                    <a:lnTo>
                      <a:pt x="46" y="173"/>
                    </a:lnTo>
                    <a:lnTo>
                      <a:pt x="26" y="158"/>
                    </a:lnTo>
                    <a:lnTo>
                      <a:pt x="15" y="144"/>
                    </a:lnTo>
                    <a:lnTo>
                      <a:pt x="7" y="128"/>
                    </a:lnTo>
                    <a:lnTo>
                      <a:pt x="1" y="111"/>
                    </a:lnTo>
                    <a:lnTo>
                      <a:pt x="0" y="93"/>
                    </a:lnTo>
                    <a:lnTo>
                      <a:pt x="1" y="74"/>
                    </a:lnTo>
                    <a:lnTo>
                      <a:pt x="7" y="57"/>
                    </a:lnTo>
                    <a:lnTo>
                      <a:pt x="15" y="41"/>
                    </a:lnTo>
                    <a:lnTo>
                      <a:pt x="26" y="26"/>
                    </a:lnTo>
                    <a:lnTo>
                      <a:pt x="46" y="12"/>
                    </a:lnTo>
                    <a:lnTo>
                      <a:pt x="68" y="3"/>
                    </a:lnTo>
                    <a:lnTo>
                      <a:pt x="92"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19" name="Freeform 369"/>
              <p:cNvSpPr>
                <a:spLocks/>
              </p:cNvSpPr>
              <p:nvPr/>
            </p:nvSpPr>
            <p:spPr bwMode="auto">
              <a:xfrm>
                <a:off x="3916" y="1844"/>
                <a:ext cx="123" cy="16"/>
              </a:xfrm>
              <a:custGeom>
                <a:avLst/>
                <a:gdLst>
                  <a:gd name="T0" fmla="*/ 117 w 123"/>
                  <a:gd name="T1" fmla="*/ 1 h 16"/>
                  <a:gd name="T2" fmla="*/ 116 w 123"/>
                  <a:gd name="T3" fmla="*/ 5 h 16"/>
                  <a:gd name="T4" fmla="*/ 119 w 123"/>
                  <a:gd name="T5" fmla="*/ 11 h 16"/>
                  <a:gd name="T6" fmla="*/ 123 w 123"/>
                  <a:gd name="T7" fmla="*/ 14 h 16"/>
                  <a:gd name="T8" fmla="*/ 117 w 123"/>
                  <a:gd name="T9" fmla="*/ 14 h 16"/>
                  <a:gd name="T10" fmla="*/ 114 w 123"/>
                  <a:gd name="T11" fmla="*/ 10 h 16"/>
                  <a:gd name="T12" fmla="*/ 107 w 123"/>
                  <a:gd name="T13" fmla="*/ 13 h 16"/>
                  <a:gd name="T14" fmla="*/ 96 w 123"/>
                  <a:gd name="T15" fmla="*/ 15 h 16"/>
                  <a:gd name="T16" fmla="*/ 91 w 123"/>
                  <a:gd name="T17" fmla="*/ 11 h 16"/>
                  <a:gd name="T18" fmla="*/ 89 w 123"/>
                  <a:gd name="T19" fmla="*/ 8 h 16"/>
                  <a:gd name="T20" fmla="*/ 81 w 123"/>
                  <a:gd name="T21" fmla="*/ 14 h 16"/>
                  <a:gd name="T22" fmla="*/ 71 w 123"/>
                  <a:gd name="T23" fmla="*/ 15 h 16"/>
                  <a:gd name="T24" fmla="*/ 66 w 123"/>
                  <a:gd name="T25" fmla="*/ 10 h 16"/>
                  <a:gd name="T26" fmla="*/ 61 w 123"/>
                  <a:gd name="T27" fmla="*/ 12 h 16"/>
                  <a:gd name="T28" fmla="*/ 50 w 123"/>
                  <a:gd name="T29" fmla="*/ 16 h 16"/>
                  <a:gd name="T30" fmla="*/ 45 w 123"/>
                  <a:gd name="T31" fmla="*/ 14 h 16"/>
                  <a:gd name="T32" fmla="*/ 40 w 123"/>
                  <a:gd name="T33" fmla="*/ 10 h 16"/>
                  <a:gd name="T34" fmla="*/ 35 w 123"/>
                  <a:gd name="T35" fmla="*/ 13 h 16"/>
                  <a:gd name="T36" fmla="*/ 24 w 123"/>
                  <a:gd name="T37" fmla="*/ 16 h 16"/>
                  <a:gd name="T38" fmla="*/ 19 w 123"/>
                  <a:gd name="T39" fmla="*/ 14 h 16"/>
                  <a:gd name="T40" fmla="*/ 16 w 123"/>
                  <a:gd name="T41" fmla="*/ 8 h 16"/>
                  <a:gd name="T42" fmla="*/ 5 w 123"/>
                  <a:gd name="T43" fmla="*/ 14 h 16"/>
                  <a:gd name="T44" fmla="*/ 0 w 123"/>
                  <a:gd name="T45" fmla="*/ 14 h 16"/>
                  <a:gd name="T46" fmla="*/ 6 w 123"/>
                  <a:gd name="T47" fmla="*/ 11 h 16"/>
                  <a:gd name="T48" fmla="*/ 19 w 123"/>
                  <a:gd name="T49" fmla="*/ 1 h 16"/>
                  <a:gd name="T50" fmla="*/ 20 w 123"/>
                  <a:gd name="T51" fmla="*/ 2 h 16"/>
                  <a:gd name="T52" fmla="*/ 19 w 123"/>
                  <a:gd name="T53" fmla="*/ 7 h 16"/>
                  <a:gd name="T54" fmla="*/ 22 w 123"/>
                  <a:gd name="T55" fmla="*/ 11 h 16"/>
                  <a:gd name="T56" fmla="*/ 26 w 123"/>
                  <a:gd name="T57" fmla="*/ 13 h 16"/>
                  <a:gd name="T58" fmla="*/ 35 w 123"/>
                  <a:gd name="T59" fmla="*/ 8 h 16"/>
                  <a:gd name="T60" fmla="*/ 39 w 123"/>
                  <a:gd name="T61" fmla="*/ 2 h 16"/>
                  <a:gd name="T62" fmla="*/ 42 w 123"/>
                  <a:gd name="T63" fmla="*/ 3 h 16"/>
                  <a:gd name="T64" fmla="*/ 43 w 123"/>
                  <a:gd name="T65" fmla="*/ 9 h 16"/>
                  <a:gd name="T66" fmla="*/ 48 w 123"/>
                  <a:gd name="T67" fmla="*/ 13 h 16"/>
                  <a:gd name="T68" fmla="*/ 57 w 123"/>
                  <a:gd name="T69" fmla="*/ 11 h 16"/>
                  <a:gd name="T70" fmla="*/ 64 w 123"/>
                  <a:gd name="T71" fmla="*/ 3 h 16"/>
                  <a:gd name="T72" fmla="*/ 67 w 123"/>
                  <a:gd name="T73" fmla="*/ 1 h 16"/>
                  <a:gd name="T74" fmla="*/ 68 w 123"/>
                  <a:gd name="T75" fmla="*/ 3 h 16"/>
                  <a:gd name="T76" fmla="*/ 68 w 123"/>
                  <a:gd name="T77" fmla="*/ 7 h 16"/>
                  <a:gd name="T78" fmla="*/ 73 w 123"/>
                  <a:gd name="T79" fmla="*/ 12 h 16"/>
                  <a:gd name="T80" fmla="*/ 80 w 123"/>
                  <a:gd name="T81" fmla="*/ 11 h 16"/>
                  <a:gd name="T82" fmla="*/ 88 w 123"/>
                  <a:gd name="T83" fmla="*/ 5 h 16"/>
                  <a:gd name="T84" fmla="*/ 91 w 123"/>
                  <a:gd name="T85" fmla="*/ 1 h 16"/>
                  <a:gd name="T86" fmla="*/ 93 w 123"/>
                  <a:gd name="T87" fmla="*/ 2 h 16"/>
                  <a:gd name="T88" fmla="*/ 93 w 123"/>
                  <a:gd name="T89" fmla="*/ 5 h 16"/>
                  <a:gd name="T90" fmla="*/ 93 w 123"/>
                  <a:gd name="T91" fmla="*/ 10 h 16"/>
                  <a:gd name="T92" fmla="*/ 98 w 123"/>
                  <a:gd name="T93" fmla="*/ 11 h 16"/>
                  <a:gd name="T94" fmla="*/ 108 w 123"/>
                  <a:gd name="T95" fmla="*/ 8 h 16"/>
                  <a:gd name="T96" fmla="*/ 113 w 123"/>
                  <a:gd name="T97" fmla="*/ 2 h 16"/>
                  <a:gd name="T98" fmla="*/ 116 w 123"/>
                  <a:gd name="T99" fmla="*/ 0 h 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23" h="16">
                    <a:moveTo>
                      <a:pt x="116" y="0"/>
                    </a:moveTo>
                    <a:lnTo>
                      <a:pt x="117" y="0"/>
                    </a:lnTo>
                    <a:lnTo>
                      <a:pt x="117" y="1"/>
                    </a:lnTo>
                    <a:lnTo>
                      <a:pt x="117" y="3"/>
                    </a:lnTo>
                    <a:lnTo>
                      <a:pt x="116" y="5"/>
                    </a:lnTo>
                    <a:lnTo>
                      <a:pt x="117" y="8"/>
                    </a:lnTo>
                    <a:lnTo>
                      <a:pt x="117" y="10"/>
                    </a:lnTo>
                    <a:lnTo>
                      <a:pt x="119" y="11"/>
                    </a:lnTo>
                    <a:lnTo>
                      <a:pt x="121" y="11"/>
                    </a:lnTo>
                    <a:lnTo>
                      <a:pt x="123" y="11"/>
                    </a:lnTo>
                    <a:lnTo>
                      <a:pt x="123" y="14"/>
                    </a:lnTo>
                    <a:lnTo>
                      <a:pt x="121" y="15"/>
                    </a:lnTo>
                    <a:lnTo>
                      <a:pt x="119" y="15"/>
                    </a:lnTo>
                    <a:lnTo>
                      <a:pt x="117" y="14"/>
                    </a:lnTo>
                    <a:lnTo>
                      <a:pt x="116" y="13"/>
                    </a:lnTo>
                    <a:lnTo>
                      <a:pt x="114" y="11"/>
                    </a:lnTo>
                    <a:lnTo>
                      <a:pt x="114" y="10"/>
                    </a:lnTo>
                    <a:lnTo>
                      <a:pt x="114" y="8"/>
                    </a:lnTo>
                    <a:lnTo>
                      <a:pt x="111" y="11"/>
                    </a:lnTo>
                    <a:lnTo>
                      <a:pt x="107" y="13"/>
                    </a:lnTo>
                    <a:lnTo>
                      <a:pt x="103" y="15"/>
                    </a:lnTo>
                    <a:lnTo>
                      <a:pt x="98" y="16"/>
                    </a:lnTo>
                    <a:lnTo>
                      <a:pt x="96" y="15"/>
                    </a:lnTo>
                    <a:lnTo>
                      <a:pt x="94" y="14"/>
                    </a:lnTo>
                    <a:lnTo>
                      <a:pt x="92" y="13"/>
                    </a:lnTo>
                    <a:lnTo>
                      <a:pt x="91" y="11"/>
                    </a:lnTo>
                    <a:lnTo>
                      <a:pt x="90" y="10"/>
                    </a:lnTo>
                    <a:lnTo>
                      <a:pt x="89" y="8"/>
                    </a:lnTo>
                    <a:lnTo>
                      <a:pt x="87" y="10"/>
                    </a:lnTo>
                    <a:lnTo>
                      <a:pt x="84" y="12"/>
                    </a:lnTo>
                    <a:lnTo>
                      <a:pt x="81" y="14"/>
                    </a:lnTo>
                    <a:lnTo>
                      <a:pt x="78" y="15"/>
                    </a:lnTo>
                    <a:lnTo>
                      <a:pt x="75" y="16"/>
                    </a:lnTo>
                    <a:lnTo>
                      <a:pt x="71" y="15"/>
                    </a:lnTo>
                    <a:lnTo>
                      <a:pt x="69" y="14"/>
                    </a:lnTo>
                    <a:lnTo>
                      <a:pt x="67" y="12"/>
                    </a:lnTo>
                    <a:lnTo>
                      <a:pt x="66" y="10"/>
                    </a:lnTo>
                    <a:lnTo>
                      <a:pt x="65" y="8"/>
                    </a:lnTo>
                    <a:lnTo>
                      <a:pt x="63" y="10"/>
                    </a:lnTo>
                    <a:lnTo>
                      <a:pt x="61" y="12"/>
                    </a:lnTo>
                    <a:lnTo>
                      <a:pt x="57" y="14"/>
                    </a:lnTo>
                    <a:lnTo>
                      <a:pt x="54" y="15"/>
                    </a:lnTo>
                    <a:lnTo>
                      <a:pt x="50" y="16"/>
                    </a:lnTo>
                    <a:lnTo>
                      <a:pt x="48" y="16"/>
                    </a:lnTo>
                    <a:lnTo>
                      <a:pt x="46" y="15"/>
                    </a:lnTo>
                    <a:lnTo>
                      <a:pt x="45" y="14"/>
                    </a:lnTo>
                    <a:lnTo>
                      <a:pt x="42" y="13"/>
                    </a:lnTo>
                    <a:lnTo>
                      <a:pt x="41" y="11"/>
                    </a:lnTo>
                    <a:lnTo>
                      <a:pt x="40" y="10"/>
                    </a:lnTo>
                    <a:lnTo>
                      <a:pt x="39" y="8"/>
                    </a:lnTo>
                    <a:lnTo>
                      <a:pt x="38" y="10"/>
                    </a:lnTo>
                    <a:lnTo>
                      <a:pt x="35" y="13"/>
                    </a:lnTo>
                    <a:lnTo>
                      <a:pt x="32" y="14"/>
                    </a:lnTo>
                    <a:lnTo>
                      <a:pt x="26" y="16"/>
                    </a:lnTo>
                    <a:lnTo>
                      <a:pt x="24" y="16"/>
                    </a:lnTo>
                    <a:lnTo>
                      <a:pt x="22" y="16"/>
                    </a:lnTo>
                    <a:lnTo>
                      <a:pt x="20" y="15"/>
                    </a:lnTo>
                    <a:lnTo>
                      <a:pt x="19" y="14"/>
                    </a:lnTo>
                    <a:lnTo>
                      <a:pt x="18" y="12"/>
                    </a:lnTo>
                    <a:lnTo>
                      <a:pt x="17" y="10"/>
                    </a:lnTo>
                    <a:lnTo>
                      <a:pt x="16" y="8"/>
                    </a:lnTo>
                    <a:lnTo>
                      <a:pt x="12" y="11"/>
                    </a:lnTo>
                    <a:lnTo>
                      <a:pt x="8" y="13"/>
                    </a:lnTo>
                    <a:lnTo>
                      <a:pt x="5" y="14"/>
                    </a:lnTo>
                    <a:lnTo>
                      <a:pt x="3" y="14"/>
                    </a:lnTo>
                    <a:lnTo>
                      <a:pt x="0" y="14"/>
                    </a:lnTo>
                    <a:lnTo>
                      <a:pt x="0" y="11"/>
                    </a:lnTo>
                    <a:lnTo>
                      <a:pt x="2" y="11"/>
                    </a:lnTo>
                    <a:lnTo>
                      <a:pt x="6" y="11"/>
                    </a:lnTo>
                    <a:lnTo>
                      <a:pt x="11" y="8"/>
                    </a:lnTo>
                    <a:lnTo>
                      <a:pt x="18" y="1"/>
                    </a:lnTo>
                    <a:lnTo>
                      <a:pt x="19" y="1"/>
                    </a:lnTo>
                    <a:lnTo>
                      <a:pt x="20" y="2"/>
                    </a:lnTo>
                    <a:lnTo>
                      <a:pt x="19" y="3"/>
                    </a:lnTo>
                    <a:lnTo>
                      <a:pt x="19" y="4"/>
                    </a:lnTo>
                    <a:lnTo>
                      <a:pt x="19" y="7"/>
                    </a:lnTo>
                    <a:lnTo>
                      <a:pt x="20" y="8"/>
                    </a:lnTo>
                    <a:lnTo>
                      <a:pt x="21" y="10"/>
                    </a:lnTo>
                    <a:lnTo>
                      <a:pt x="22" y="11"/>
                    </a:lnTo>
                    <a:lnTo>
                      <a:pt x="23" y="12"/>
                    </a:lnTo>
                    <a:lnTo>
                      <a:pt x="24" y="13"/>
                    </a:lnTo>
                    <a:lnTo>
                      <a:pt x="26" y="13"/>
                    </a:lnTo>
                    <a:lnTo>
                      <a:pt x="30" y="12"/>
                    </a:lnTo>
                    <a:lnTo>
                      <a:pt x="33" y="10"/>
                    </a:lnTo>
                    <a:lnTo>
                      <a:pt x="35" y="8"/>
                    </a:lnTo>
                    <a:lnTo>
                      <a:pt x="37" y="5"/>
                    </a:lnTo>
                    <a:lnTo>
                      <a:pt x="38" y="3"/>
                    </a:lnTo>
                    <a:lnTo>
                      <a:pt x="39" y="2"/>
                    </a:lnTo>
                    <a:lnTo>
                      <a:pt x="39" y="1"/>
                    </a:lnTo>
                    <a:lnTo>
                      <a:pt x="42" y="1"/>
                    </a:lnTo>
                    <a:lnTo>
                      <a:pt x="42" y="3"/>
                    </a:lnTo>
                    <a:lnTo>
                      <a:pt x="42" y="4"/>
                    </a:lnTo>
                    <a:lnTo>
                      <a:pt x="42" y="5"/>
                    </a:lnTo>
                    <a:lnTo>
                      <a:pt x="43" y="9"/>
                    </a:lnTo>
                    <a:lnTo>
                      <a:pt x="45" y="11"/>
                    </a:lnTo>
                    <a:lnTo>
                      <a:pt x="46" y="12"/>
                    </a:lnTo>
                    <a:lnTo>
                      <a:pt x="48" y="13"/>
                    </a:lnTo>
                    <a:lnTo>
                      <a:pt x="50" y="13"/>
                    </a:lnTo>
                    <a:lnTo>
                      <a:pt x="54" y="12"/>
                    </a:lnTo>
                    <a:lnTo>
                      <a:pt x="57" y="11"/>
                    </a:lnTo>
                    <a:lnTo>
                      <a:pt x="61" y="9"/>
                    </a:lnTo>
                    <a:lnTo>
                      <a:pt x="62" y="5"/>
                    </a:lnTo>
                    <a:lnTo>
                      <a:pt x="64" y="3"/>
                    </a:lnTo>
                    <a:lnTo>
                      <a:pt x="65" y="2"/>
                    </a:lnTo>
                    <a:lnTo>
                      <a:pt x="65" y="1"/>
                    </a:lnTo>
                    <a:lnTo>
                      <a:pt x="67" y="1"/>
                    </a:lnTo>
                    <a:lnTo>
                      <a:pt x="68" y="1"/>
                    </a:lnTo>
                    <a:lnTo>
                      <a:pt x="68" y="2"/>
                    </a:lnTo>
                    <a:lnTo>
                      <a:pt x="68" y="3"/>
                    </a:lnTo>
                    <a:lnTo>
                      <a:pt x="68" y="5"/>
                    </a:lnTo>
                    <a:lnTo>
                      <a:pt x="68" y="7"/>
                    </a:lnTo>
                    <a:lnTo>
                      <a:pt x="69" y="9"/>
                    </a:lnTo>
                    <a:lnTo>
                      <a:pt x="70" y="11"/>
                    </a:lnTo>
                    <a:lnTo>
                      <a:pt x="73" y="12"/>
                    </a:lnTo>
                    <a:lnTo>
                      <a:pt x="75" y="13"/>
                    </a:lnTo>
                    <a:lnTo>
                      <a:pt x="78" y="12"/>
                    </a:lnTo>
                    <a:lnTo>
                      <a:pt x="80" y="11"/>
                    </a:lnTo>
                    <a:lnTo>
                      <a:pt x="83" y="9"/>
                    </a:lnTo>
                    <a:lnTo>
                      <a:pt x="85" y="8"/>
                    </a:lnTo>
                    <a:lnTo>
                      <a:pt x="88" y="5"/>
                    </a:lnTo>
                    <a:lnTo>
                      <a:pt x="89" y="3"/>
                    </a:lnTo>
                    <a:lnTo>
                      <a:pt x="90" y="2"/>
                    </a:lnTo>
                    <a:lnTo>
                      <a:pt x="91" y="1"/>
                    </a:lnTo>
                    <a:lnTo>
                      <a:pt x="92" y="1"/>
                    </a:lnTo>
                    <a:lnTo>
                      <a:pt x="93" y="2"/>
                    </a:lnTo>
                    <a:lnTo>
                      <a:pt x="93" y="3"/>
                    </a:lnTo>
                    <a:lnTo>
                      <a:pt x="93" y="5"/>
                    </a:lnTo>
                    <a:lnTo>
                      <a:pt x="93" y="7"/>
                    </a:lnTo>
                    <a:lnTo>
                      <a:pt x="93" y="9"/>
                    </a:lnTo>
                    <a:lnTo>
                      <a:pt x="93" y="10"/>
                    </a:lnTo>
                    <a:lnTo>
                      <a:pt x="95" y="11"/>
                    </a:lnTo>
                    <a:lnTo>
                      <a:pt x="96" y="11"/>
                    </a:lnTo>
                    <a:lnTo>
                      <a:pt x="98" y="11"/>
                    </a:lnTo>
                    <a:lnTo>
                      <a:pt x="103" y="11"/>
                    </a:lnTo>
                    <a:lnTo>
                      <a:pt x="106" y="10"/>
                    </a:lnTo>
                    <a:lnTo>
                      <a:pt x="108" y="8"/>
                    </a:lnTo>
                    <a:lnTo>
                      <a:pt x="111" y="5"/>
                    </a:lnTo>
                    <a:lnTo>
                      <a:pt x="112" y="3"/>
                    </a:lnTo>
                    <a:lnTo>
                      <a:pt x="113" y="2"/>
                    </a:lnTo>
                    <a:lnTo>
                      <a:pt x="114" y="1"/>
                    </a:lnTo>
                    <a:lnTo>
                      <a:pt x="114" y="0"/>
                    </a:lnTo>
                    <a:lnTo>
                      <a:pt x="116"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20" name="Freeform 370"/>
              <p:cNvSpPr>
                <a:spLocks/>
              </p:cNvSpPr>
              <p:nvPr/>
            </p:nvSpPr>
            <p:spPr bwMode="auto">
              <a:xfrm>
                <a:off x="3978" y="1758"/>
                <a:ext cx="13" cy="13"/>
              </a:xfrm>
              <a:custGeom>
                <a:avLst/>
                <a:gdLst>
                  <a:gd name="T0" fmla="*/ 13 w 13"/>
                  <a:gd name="T1" fmla="*/ 0 h 13"/>
                  <a:gd name="T2" fmla="*/ 9 w 13"/>
                  <a:gd name="T3" fmla="*/ 13 h 13"/>
                  <a:gd name="T4" fmla="*/ 6 w 13"/>
                  <a:gd name="T5" fmla="*/ 12 h 13"/>
                  <a:gd name="T6" fmla="*/ 3 w 13"/>
                  <a:gd name="T7" fmla="*/ 12 h 13"/>
                  <a:gd name="T8" fmla="*/ 0 w 13"/>
                  <a:gd name="T9" fmla="*/ 12 h 13"/>
                  <a:gd name="T10" fmla="*/ 0 w 13"/>
                  <a:gd name="T11" fmla="*/ 10 h 13"/>
                  <a:gd name="T12" fmla="*/ 1 w 13"/>
                  <a:gd name="T13" fmla="*/ 6 h 13"/>
                  <a:gd name="T14" fmla="*/ 3 w 13"/>
                  <a:gd name="T15" fmla="*/ 3 h 13"/>
                  <a:gd name="T16" fmla="*/ 6 w 13"/>
                  <a:gd name="T17" fmla="*/ 2 h 13"/>
                  <a:gd name="T18" fmla="*/ 9 w 13"/>
                  <a:gd name="T19" fmla="*/ 1 h 13"/>
                  <a:gd name="T20" fmla="*/ 12 w 13"/>
                  <a:gd name="T21" fmla="*/ 0 h 13"/>
                  <a:gd name="T22" fmla="*/ 13 w 13"/>
                  <a:gd name="T23" fmla="*/ 0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13">
                    <a:moveTo>
                      <a:pt x="13" y="0"/>
                    </a:moveTo>
                    <a:lnTo>
                      <a:pt x="9" y="13"/>
                    </a:lnTo>
                    <a:lnTo>
                      <a:pt x="6" y="12"/>
                    </a:lnTo>
                    <a:lnTo>
                      <a:pt x="3" y="12"/>
                    </a:lnTo>
                    <a:lnTo>
                      <a:pt x="0" y="12"/>
                    </a:lnTo>
                    <a:lnTo>
                      <a:pt x="0" y="10"/>
                    </a:lnTo>
                    <a:lnTo>
                      <a:pt x="1" y="6"/>
                    </a:lnTo>
                    <a:lnTo>
                      <a:pt x="3" y="3"/>
                    </a:lnTo>
                    <a:lnTo>
                      <a:pt x="6" y="2"/>
                    </a:lnTo>
                    <a:lnTo>
                      <a:pt x="9" y="1"/>
                    </a:lnTo>
                    <a:lnTo>
                      <a:pt x="12" y="0"/>
                    </a:lnTo>
                    <a:lnTo>
                      <a:pt x="13"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21" name="Freeform 371"/>
              <p:cNvSpPr>
                <a:spLocks/>
              </p:cNvSpPr>
              <p:nvPr/>
            </p:nvSpPr>
            <p:spPr bwMode="auto">
              <a:xfrm>
                <a:off x="3992" y="1768"/>
                <a:ext cx="17" cy="10"/>
              </a:xfrm>
              <a:custGeom>
                <a:avLst/>
                <a:gdLst>
                  <a:gd name="T0" fmla="*/ 13 w 17"/>
                  <a:gd name="T1" fmla="*/ 0 h 10"/>
                  <a:gd name="T2" fmla="*/ 15 w 17"/>
                  <a:gd name="T3" fmla="*/ 0 h 10"/>
                  <a:gd name="T4" fmla="*/ 16 w 17"/>
                  <a:gd name="T5" fmla="*/ 1 h 10"/>
                  <a:gd name="T6" fmla="*/ 17 w 17"/>
                  <a:gd name="T7" fmla="*/ 1 h 10"/>
                  <a:gd name="T8" fmla="*/ 17 w 17"/>
                  <a:gd name="T9" fmla="*/ 2 h 10"/>
                  <a:gd name="T10" fmla="*/ 8 w 17"/>
                  <a:gd name="T11" fmla="*/ 10 h 10"/>
                  <a:gd name="T12" fmla="*/ 6 w 17"/>
                  <a:gd name="T13" fmla="*/ 9 h 10"/>
                  <a:gd name="T14" fmla="*/ 4 w 17"/>
                  <a:gd name="T15" fmla="*/ 7 h 10"/>
                  <a:gd name="T16" fmla="*/ 2 w 17"/>
                  <a:gd name="T17" fmla="*/ 6 h 10"/>
                  <a:gd name="T18" fmla="*/ 0 w 17"/>
                  <a:gd name="T19" fmla="*/ 4 h 10"/>
                  <a:gd name="T20" fmla="*/ 2 w 17"/>
                  <a:gd name="T21" fmla="*/ 3 h 10"/>
                  <a:gd name="T22" fmla="*/ 4 w 17"/>
                  <a:gd name="T23" fmla="*/ 2 h 10"/>
                  <a:gd name="T24" fmla="*/ 6 w 17"/>
                  <a:gd name="T25" fmla="*/ 0 h 10"/>
                  <a:gd name="T26" fmla="*/ 9 w 17"/>
                  <a:gd name="T27" fmla="*/ 0 h 10"/>
                  <a:gd name="T28" fmla="*/ 13 w 17"/>
                  <a:gd name="T29" fmla="*/ 0 h 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7" h="10">
                    <a:moveTo>
                      <a:pt x="13" y="0"/>
                    </a:moveTo>
                    <a:lnTo>
                      <a:pt x="15" y="0"/>
                    </a:lnTo>
                    <a:lnTo>
                      <a:pt x="16" y="1"/>
                    </a:lnTo>
                    <a:lnTo>
                      <a:pt x="17" y="1"/>
                    </a:lnTo>
                    <a:lnTo>
                      <a:pt x="17" y="2"/>
                    </a:lnTo>
                    <a:lnTo>
                      <a:pt x="8" y="10"/>
                    </a:lnTo>
                    <a:lnTo>
                      <a:pt x="6" y="9"/>
                    </a:lnTo>
                    <a:lnTo>
                      <a:pt x="4" y="7"/>
                    </a:lnTo>
                    <a:lnTo>
                      <a:pt x="2" y="6"/>
                    </a:lnTo>
                    <a:lnTo>
                      <a:pt x="0" y="4"/>
                    </a:lnTo>
                    <a:lnTo>
                      <a:pt x="2" y="3"/>
                    </a:lnTo>
                    <a:lnTo>
                      <a:pt x="4" y="2"/>
                    </a:lnTo>
                    <a:lnTo>
                      <a:pt x="6" y="0"/>
                    </a:lnTo>
                    <a:lnTo>
                      <a:pt x="9" y="0"/>
                    </a:lnTo>
                    <a:lnTo>
                      <a:pt x="13"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22" name="Freeform 372"/>
              <p:cNvSpPr>
                <a:spLocks/>
              </p:cNvSpPr>
              <p:nvPr/>
            </p:nvSpPr>
            <p:spPr bwMode="auto">
              <a:xfrm>
                <a:off x="3961" y="1760"/>
                <a:ext cx="9" cy="14"/>
              </a:xfrm>
              <a:custGeom>
                <a:avLst/>
                <a:gdLst>
                  <a:gd name="T0" fmla="*/ 5 w 9"/>
                  <a:gd name="T1" fmla="*/ 0 h 14"/>
                  <a:gd name="T2" fmla="*/ 9 w 9"/>
                  <a:gd name="T3" fmla="*/ 11 h 14"/>
                  <a:gd name="T4" fmla="*/ 6 w 9"/>
                  <a:gd name="T5" fmla="*/ 12 h 14"/>
                  <a:gd name="T6" fmla="*/ 3 w 9"/>
                  <a:gd name="T7" fmla="*/ 13 h 14"/>
                  <a:gd name="T8" fmla="*/ 1 w 9"/>
                  <a:gd name="T9" fmla="*/ 14 h 14"/>
                  <a:gd name="T10" fmla="*/ 0 w 9"/>
                  <a:gd name="T11" fmla="*/ 12 h 14"/>
                  <a:gd name="T12" fmla="*/ 0 w 9"/>
                  <a:gd name="T13" fmla="*/ 10 h 14"/>
                  <a:gd name="T14" fmla="*/ 0 w 9"/>
                  <a:gd name="T15" fmla="*/ 7 h 14"/>
                  <a:gd name="T16" fmla="*/ 1 w 9"/>
                  <a:gd name="T17" fmla="*/ 3 h 14"/>
                  <a:gd name="T18" fmla="*/ 2 w 9"/>
                  <a:gd name="T19" fmla="*/ 2 h 14"/>
                  <a:gd name="T20" fmla="*/ 4 w 9"/>
                  <a:gd name="T21" fmla="*/ 0 h 14"/>
                  <a:gd name="T22" fmla="*/ 5 w 9"/>
                  <a:gd name="T23" fmla="*/ 0 h 14"/>
                  <a:gd name="T24" fmla="*/ 5 w 9"/>
                  <a:gd name="T25" fmla="*/ 0 h 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4">
                    <a:moveTo>
                      <a:pt x="5" y="0"/>
                    </a:moveTo>
                    <a:lnTo>
                      <a:pt x="9" y="11"/>
                    </a:lnTo>
                    <a:lnTo>
                      <a:pt x="6" y="12"/>
                    </a:lnTo>
                    <a:lnTo>
                      <a:pt x="3" y="13"/>
                    </a:lnTo>
                    <a:lnTo>
                      <a:pt x="1" y="14"/>
                    </a:lnTo>
                    <a:lnTo>
                      <a:pt x="0" y="12"/>
                    </a:lnTo>
                    <a:lnTo>
                      <a:pt x="0" y="10"/>
                    </a:lnTo>
                    <a:lnTo>
                      <a:pt x="0" y="7"/>
                    </a:lnTo>
                    <a:lnTo>
                      <a:pt x="1" y="3"/>
                    </a:lnTo>
                    <a:lnTo>
                      <a:pt x="2" y="2"/>
                    </a:lnTo>
                    <a:lnTo>
                      <a:pt x="4" y="0"/>
                    </a:lnTo>
                    <a:lnTo>
                      <a:pt x="5"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23" name="Freeform 373"/>
              <p:cNvSpPr>
                <a:spLocks/>
              </p:cNvSpPr>
              <p:nvPr/>
            </p:nvSpPr>
            <p:spPr bwMode="auto">
              <a:xfrm>
                <a:off x="4005" y="1783"/>
                <a:ext cx="16" cy="10"/>
              </a:xfrm>
              <a:custGeom>
                <a:avLst/>
                <a:gdLst>
                  <a:gd name="T0" fmla="*/ 6 w 16"/>
                  <a:gd name="T1" fmla="*/ 0 h 10"/>
                  <a:gd name="T2" fmla="*/ 9 w 16"/>
                  <a:gd name="T3" fmla="*/ 1 h 10"/>
                  <a:gd name="T4" fmla="*/ 11 w 16"/>
                  <a:gd name="T5" fmla="*/ 2 h 10"/>
                  <a:gd name="T6" fmla="*/ 14 w 16"/>
                  <a:gd name="T7" fmla="*/ 4 h 10"/>
                  <a:gd name="T8" fmla="*/ 15 w 16"/>
                  <a:gd name="T9" fmla="*/ 5 h 10"/>
                  <a:gd name="T10" fmla="*/ 16 w 16"/>
                  <a:gd name="T11" fmla="*/ 6 h 10"/>
                  <a:gd name="T12" fmla="*/ 16 w 16"/>
                  <a:gd name="T13" fmla="*/ 7 h 10"/>
                  <a:gd name="T14" fmla="*/ 3 w 16"/>
                  <a:gd name="T15" fmla="*/ 10 h 10"/>
                  <a:gd name="T16" fmla="*/ 3 w 16"/>
                  <a:gd name="T17" fmla="*/ 7 h 10"/>
                  <a:gd name="T18" fmla="*/ 2 w 16"/>
                  <a:gd name="T19" fmla="*/ 4 h 10"/>
                  <a:gd name="T20" fmla="*/ 0 w 16"/>
                  <a:gd name="T21" fmla="*/ 1 h 10"/>
                  <a:gd name="T22" fmla="*/ 2 w 16"/>
                  <a:gd name="T23" fmla="*/ 1 h 10"/>
                  <a:gd name="T24" fmla="*/ 4 w 16"/>
                  <a:gd name="T25" fmla="*/ 0 h 10"/>
                  <a:gd name="T26" fmla="*/ 6 w 16"/>
                  <a:gd name="T27" fmla="*/ 0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6" h="10">
                    <a:moveTo>
                      <a:pt x="6" y="0"/>
                    </a:moveTo>
                    <a:lnTo>
                      <a:pt x="9" y="1"/>
                    </a:lnTo>
                    <a:lnTo>
                      <a:pt x="11" y="2"/>
                    </a:lnTo>
                    <a:lnTo>
                      <a:pt x="14" y="4"/>
                    </a:lnTo>
                    <a:lnTo>
                      <a:pt x="15" y="5"/>
                    </a:lnTo>
                    <a:lnTo>
                      <a:pt x="16" y="6"/>
                    </a:lnTo>
                    <a:lnTo>
                      <a:pt x="16" y="7"/>
                    </a:lnTo>
                    <a:lnTo>
                      <a:pt x="3" y="10"/>
                    </a:lnTo>
                    <a:lnTo>
                      <a:pt x="3" y="7"/>
                    </a:lnTo>
                    <a:lnTo>
                      <a:pt x="2" y="4"/>
                    </a:lnTo>
                    <a:lnTo>
                      <a:pt x="0" y="1"/>
                    </a:lnTo>
                    <a:lnTo>
                      <a:pt x="2" y="1"/>
                    </a:lnTo>
                    <a:lnTo>
                      <a:pt x="4" y="0"/>
                    </a:lnTo>
                    <a:lnTo>
                      <a:pt x="6"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24" name="Freeform 374"/>
              <p:cNvSpPr>
                <a:spLocks/>
              </p:cNvSpPr>
              <p:nvPr/>
            </p:nvSpPr>
            <p:spPr bwMode="auto">
              <a:xfrm>
                <a:off x="3946" y="1771"/>
                <a:ext cx="9" cy="16"/>
              </a:xfrm>
              <a:custGeom>
                <a:avLst/>
                <a:gdLst>
                  <a:gd name="T0" fmla="*/ 2 w 9"/>
                  <a:gd name="T1" fmla="*/ 0 h 16"/>
                  <a:gd name="T2" fmla="*/ 9 w 9"/>
                  <a:gd name="T3" fmla="*/ 7 h 16"/>
                  <a:gd name="T4" fmla="*/ 8 w 9"/>
                  <a:gd name="T5" fmla="*/ 10 h 16"/>
                  <a:gd name="T6" fmla="*/ 6 w 9"/>
                  <a:gd name="T7" fmla="*/ 13 h 16"/>
                  <a:gd name="T8" fmla="*/ 5 w 9"/>
                  <a:gd name="T9" fmla="*/ 16 h 16"/>
                  <a:gd name="T10" fmla="*/ 4 w 9"/>
                  <a:gd name="T11" fmla="*/ 15 h 16"/>
                  <a:gd name="T12" fmla="*/ 2 w 9"/>
                  <a:gd name="T13" fmla="*/ 13 h 16"/>
                  <a:gd name="T14" fmla="*/ 1 w 9"/>
                  <a:gd name="T15" fmla="*/ 12 h 16"/>
                  <a:gd name="T16" fmla="*/ 1 w 9"/>
                  <a:gd name="T17" fmla="*/ 10 h 16"/>
                  <a:gd name="T18" fmla="*/ 0 w 9"/>
                  <a:gd name="T19" fmla="*/ 6 h 16"/>
                  <a:gd name="T20" fmla="*/ 0 w 9"/>
                  <a:gd name="T21" fmla="*/ 3 h 16"/>
                  <a:gd name="T22" fmla="*/ 1 w 9"/>
                  <a:gd name="T23" fmla="*/ 1 h 16"/>
                  <a:gd name="T24" fmla="*/ 2 w 9"/>
                  <a:gd name="T25" fmla="*/ 0 h 16"/>
                  <a:gd name="T26" fmla="*/ 2 w 9"/>
                  <a:gd name="T27" fmla="*/ 0 h 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9" h="16">
                    <a:moveTo>
                      <a:pt x="2" y="0"/>
                    </a:moveTo>
                    <a:lnTo>
                      <a:pt x="9" y="7"/>
                    </a:lnTo>
                    <a:lnTo>
                      <a:pt x="8" y="10"/>
                    </a:lnTo>
                    <a:lnTo>
                      <a:pt x="6" y="13"/>
                    </a:lnTo>
                    <a:lnTo>
                      <a:pt x="5" y="16"/>
                    </a:lnTo>
                    <a:lnTo>
                      <a:pt x="4" y="15"/>
                    </a:lnTo>
                    <a:lnTo>
                      <a:pt x="2" y="13"/>
                    </a:lnTo>
                    <a:lnTo>
                      <a:pt x="1" y="12"/>
                    </a:lnTo>
                    <a:lnTo>
                      <a:pt x="1" y="10"/>
                    </a:lnTo>
                    <a:lnTo>
                      <a:pt x="0" y="6"/>
                    </a:lnTo>
                    <a:lnTo>
                      <a:pt x="0" y="3"/>
                    </a:lnTo>
                    <a:lnTo>
                      <a:pt x="1" y="1"/>
                    </a:lnTo>
                    <a:lnTo>
                      <a:pt x="2"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25" name="Freeform 375"/>
              <p:cNvSpPr>
                <a:spLocks noEditPoints="1"/>
              </p:cNvSpPr>
              <p:nvPr/>
            </p:nvSpPr>
            <p:spPr bwMode="auto">
              <a:xfrm>
                <a:off x="3951" y="1772"/>
                <a:ext cx="56" cy="56"/>
              </a:xfrm>
              <a:custGeom>
                <a:avLst/>
                <a:gdLst>
                  <a:gd name="T0" fmla="*/ 27 w 56"/>
                  <a:gd name="T1" fmla="*/ 16 h 56"/>
                  <a:gd name="T2" fmla="*/ 24 w 56"/>
                  <a:gd name="T3" fmla="*/ 17 h 56"/>
                  <a:gd name="T4" fmla="*/ 20 w 56"/>
                  <a:gd name="T5" fmla="*/ 19 h 56"/>
                  <a:gd name="T6" fmla="*/ 17 w 56"/>
                  <a:gd name="T7" fmla="*/ 21 h 56"/>
                  <a:gd name="T8" fmla="*/ 16 w 56"/>
                  <a:gd name="T9" fmla="*/ 26 h 56"/>
                  <a:gd name="T10" fmla="*/ 15 w 56"/>
                  <a:gd name="T11" fmla="*/ 29 h 56"/>
                  <a:gd name="T12" fmla="*/ 16 w 56"/>
                  <a:gd name="T13" fmla="*/ 33 h 56"/>
                  <a:gd name="T14" fmla="*/ 17 w 56"/>
                  <a:gd name="T15" fmla="*/ 37 h 56"/>
                  <a:gd name="T16" fmla="*/ 20 w 56"/>
                  <a:gd name="T17" fmla="*/ 40 h 56"/>
                  <a:gd name="T18" fmla="*/ 24 w 56"/>
                  <a:gd name="T19" fmla="*/ 41 h 56"/>
                  <a:gd name="T20" fmla="*/ 27 w 56"/>
                  <a:gd name="T21" fmla="*/ 42 h 56"/>
                  <a:gd name="T22" fmla="*/ 30 w 56"/>
                  <a:gd name="T23" fmla="*/ 42 h 56"/>
                  <a:gd name="T24" fmla="*/ 33 w 56"/>
                  <a:gd name="T25" fmla="*/ 40 h 56"/>
                  <a:gd name="T26" fmla="*/ 36 w 56"/>
                  <a:gd name="T27" fmla="*/ 38 h 56"/>
                  <a:gd name="T28" fmla="*/ 38 w 56"/>
                  <a:gd name="T29" fmla="*/ 35 h 56"/>
                  <a:gd name="T30" fmla="*/ 40 w 56"/>
                  <a:gd name="T31" fmla="*/ 32 h 56"/>
                  <a:gd name="T32" fmla="*/ 40 w 56"/>
                  <a:gd name="T33" fmla="*/ 29 h 56"/>
                  <a:gd name="T34" fmla="*/ 40 w 56"/>
                  <a:gd name="T35" fmla="*/ 26 h 56"/>
                  <a:gd name="T36" fmla="*/ 38 w 56"/>
                  <a:gd name="T37" fmla="*/ 23 h 56"/>
                  <a:gd name="T38" fmla="*/ 36 w 56"/>
                  <a:gd name="T39" fmla="*/ 20 h 56"/>
                  <a:gd name="T40" fmla="*/ 33 w 56"/>
                  <a:gd name="T41" fmla="*/ 18 h 56"/>
                  <a:gd name="T42" fmla="*/ 30 w 56"/>
                  <a:gd name="T43" fmla="*/ 17 h 56"/>
                  <a:gd name="T44" fmla="*/ 27 w 56"/>
                  <a:gd name="T45" fmla="*/ 16 h 56"/>
                  <a:gd name="T46" fmla="*/ 27 w 56"/>
                  <a:gd name="T47" fmla="*/ 0 h 56"/>
                  <a:gd name="T48" fmla="*/ 38 w 56"/>
                  <a:gd name="T49" fmla="*/ 3 h 56"/>
                  <a:gd name="T50" fmla="*/ 47 w 56"/>
                  <a:gd name="T51" fmla="*/ 9 h 56"/>
                  <a:gd name="T52" fmla="*/ 53 w 56"/>
                  <a:gd name="T53" fmla="*/ 17 h 56"/>
                  <a:gd name="T54" fmla="*/ 56 w 56"/>
                  <a:gd name="T55" fmla="*/ 28 h 56"/>
                  <a:gd name="T56" fmla="*/ 53 w 56"/>
                  <a:gd name="T57" fmla="*/ 39 h 56"/>
                  <a:gd name="T58" fmla="*/ 47 w 56"/>
                  <a:gd name="T59" fmla="*/ 48 h 56"/>
                  <a:gd name="T60" fmla="*/ 38 w 56"/>
                  <a:gd name="T61" fmla="*/ 54 h 56"/>
                  <a:gd name="T62" fmla="*/ 27 w 56"/>
                  <a:gd name="T63" fmla="*/ 56 h 56"/>
                  <a:gd name="T64" fmla="*/ 16 w 56"/>
                  <a:gd name="T65" fmla="*/ 54 h 56"/>
                  <a:gd name="T66" fmla="*/ 7 w 56"/>
                  <a:gd name="T67" fmla="*/ 48 h 56"/>
                  <a:gd name="T68" fmla="*/ 2 w 56"/>
                  <a:gd name="T69" fmla="*/ 39 h 56"/>
                  <a:gd name="T70" fmla="*/ 0 w 56"/>
                  <a:gd name="T71" fmla="*/ 28 h 56"/>
                  <a:gd name="T72" fmla="*/ 2 w 56"/>
                  <a:gd name="T73" fmla="*/ 17 h 56"/>
                  <a:gd name="T74" fmla="*/ 7 w 56"/>
                  <a:gd name="T75" fmla="*/ 9 h 56"/>
                  <a:gd name="T76" fmla="*/ 16 w 56"/>
                  <a:gd name="T77" fmla="*/ 3 h 56"/>
                  <a:gd name="T78" fmla="*/ 27 w 56"/>
                  <a:gd name="T79" fmla="*/ 0 h 5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56" h="56">
                    <a:moveTo>
                      <a:pt x="27" y="16"/>
                    </a:moveTo>
                    <a:lnTo>
                      <a:pt x="24" y="17"/>
                    </a:lnTo>
                    <a:lnTo>
                      <a:pt x="20" y="19"/>
                    </a:lnTo>
                    <a:lnTo>
                      <a:pt x="17" y="21"/>
                    </a:lnTo>
                    <a:lnTo>
                      <a:pt x="16" y="26"/>
                    </a:lnTo>
                    <a:lnTo>
                      <a:pt x="15" y="29"/>
                    </a:lnTo>
                    <a:lnTo>
                      <a:pt x="16" y="33"/>
                    </a:lnTo>
                    <a:lnTo>
                      <a:pt x="17" y="37"/>
                    </a:lnTo>
                    <a:lnTo>
                      <a:pt x="20" y="40"/>
                    </a:lnTo>
                    <a:lnTo>
                      <a:pt x="24" y="41"/>
                    </a:lnTo>
                    <a:lnTo>
                      <a:pt x="27" y="42"/>
                    </a:lnTo>
                    <a:lnTo>
                      <a:pt x="30" y="42"/>
                    </a:lnTo>
                    <a:lnTo>
                      <a:pt x="33" y="40"/>
                    </a:lnTo>
                    <a:lnTo>
                      <a:pt x="36" y="38"/>
                    </a:lnTo>
                    <a:lnTo>
                      <a:pt x="38" y="35"/>
                    </a:lnTo>
                    <a:lnTo>
                      <a:pt x="40" y="32"/>
                    </a:lnTo>
                    <a:lnTo>
                      <a:pt x="40" y="29"/>
                    </a:lnTo>
                    <a:lnTo>
                      <a:pt x="40" y="26"/>
                    </a:lnTo>
                    <a:lnTo>
                      <a:pt x="38" y="23"/>
                    </a:lnTo>
                    <a:lnTo>
                      <a:pt x="36" y="20"/>
                    </a:lnTo>
                    <a:lnTo>
                      <a:pt x="33" y="18"/>
                    </a:lnTo>
                    <a:lnTo>
                      <a:pt x="30" y="17"/>
                    </a:lnTo>
                    <a:lnTo>
                      <a:pt x="27" y="16"/>
                    </a:lnTo>
                    <a:close/>
                    <a:moveTo>
                      <a:pt x="27" y="0"/>
                    </a:moveTo>
                    <a:lnTo>
                      <a:pt x="38" y="3"/>
                    </a:lnTo>
                    <a:lnTo>
                      <a:pt x="47" y="9"/>
                    </a:lnTo>
                    <a:lnTo>
                      <a:pt x="53" y="17"/>
                    </a:lnTo>
                    <a:lnTo>
                      <a:pt x="56" y="28"/>
                    </a:lnTo>
                    <a:lnTo>
                      <a:pt x="53" y="39"/>
                    </a:lnTo>
                    <a:lnTo>
                      <a:pt x="47" y="48"/>
                    </a:lnTo>
                    <a:lnTo>
                      <a:pt x="38" y="54"/>
                    </a:lnTo>
                    <a:lnTo>
                      <a:pt x="27" y="56"/>
                    </a:lnTo>
                    <a:lnTo>
                      <a:pt x="16" y="54"/>
                    </a:lnTo>
                    <a:lnTo>
                      <a:pt x="7" y="48"/>
                    </a:lnTo>
                    <a:lnTo>
                      <a:pt x="2" y="39"/>
                    </a:lnTo>
                    <a:lnTo>
                      <a:pt x="0" y="28"/>
                    </a:lnTo>
                    <a:lnTo>
                      <a:pt x="2" y="17"/>
                    </a:lnTo>
                    <a:lnTo>
                      <a:pt x="7" y="9"/>
                    </a:lnTo>
                    <a:lnTo>
                      <a:pt x="16" y="3"/>
                    </a:lnTo>
                    <a:lnTo>
                      <a:pt x="27"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26" name="Freeform 376"/>
              <p:cNvSpPr>
                <a:spLocks/>
              </p:cNvSpPr>
              <p:nvPr/>
            </p:nvSpPr>
            <p:spPr bwMode="auto">
              <a:xfrm>
                <a:off x="4008" y="1800"/>
                <a:ext cx="13" cy="11"/>
              </a:xfrm>
              <a:custGeom>
                <a:avLst/>
                <a:gdLst>
                  <a:gd name="T0" fmla="*/ 1 w 13"/>
                  <a:gd name="T1" fmla="*/ 0 h 11"/>
                  <a:gd name="T2" fmla="*/ 3 w 13"/>
                  <a:gd name="T3" fmla="*/ 0 h 11"/>
                  <a:gd name="T4" fmla="*/ 5 w 13"/>
                  <a:gd name="T5" fmla="*/ 1 h 11"/>
                  <a:gd name="T6" fmla="*/ 7 w 13"/>
                  <a:gd name="T7" fmla="*/ 1 h 11"/>
                  <a:gd name="T8" fmla="*/ 10 w 13"/>
                  <a:gd name="T9" fmla="*/ 2 h 11"/>
                  <a:gd name="T10" fmla="*/ 12 w 13"/>
                  <a:gd name="T11" fmla="*/ 4 h 11"/>
                  <a:gd name="T12" fmla="*/ 13 w 13"/>
                  <a:gd name="T13" fmla="*/ 6 h 11"/>
                  <a:gd name="T14" fmla="*/ 13 w 13"/>
                  <a:gd name="T15" fmla="*/ 9 h 11"/>
                  <a:gd name="T16" fmla="*/ 13 w 13"/>
                  <a:gd name="T17" fmla="*/ 10 h 11"/>
                  <a:gd name="T18" fmla="*/ 13 w 13"/>
                  <a:gd name="T19" fmla="*/ 11 h 11"/>
                  <a:gd name="T20" fmla="*/ 0 w 13"/>
                  <a:gd name="T21" fmla="*/ 9 h 11"/>
                  <a:gd name="T22" fmla="*/ 0 w 13"/>
                  <a:gd name="T23" fmla="*/ 6 h 11"/>
                  <a:gd name="T24" fmla="*/ 1 w 13"/>
                  <a:gd name="T25" fmla="*/ 3 h 11"/>
                  <a:gd name="T26" fmla="*/ 1 w 13"/>
                  <a:gd name="T27" fmla="*/ 0 h 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3" h="11">
                    <a:moveTo>
                      <a:pt x="1" y="0"/>
                    </a:moveTo>
                    <a:lnTo>
                      <a:pt x="3" y="0"/>
                    </a:lnTo>
                    <a:lnTo>
                      <a:pt x="5" y="1"/>
                    </a:lnTo>
                    <a:lnTo>
                      <a:pt x="7" y="1"/>
                    </a:lnTo>
                    <a:lnTo>
                      <a:pt x="10" y="2"/>
                    </a:lnTo>
                    <a:lnTo>
                      <a:pt x="12" y="4"/>
                    </a:lnTo>
                    <a:lnTo>
                      <a:pt x="13" y="6"/>
                    </a:lnTo>
                    <a:lnTo>
                      <a:pt x="13" y="9"/>
                    </a:lnTo>
                    <a:lnTo>
                      <a:pt x="13" y="10"/>
                    </a:lnTo>
                    <a:lnTo>
                      <a:pt x="13" y="11"/>
                    </a:lnTo>
                    <a:lnTo>
                      <a:pt x="0" y="9"/>
                    </a:lnTo>
                    <a:lnTo>
                      <a:pt x="0" y="6"/>
                    </a:lnTo>
                    <a:lnTo>
                      <a:pt x="1" y="3"/>
                    </a:lnTo>
                    <a:lnTo>
                      <a:pt x="1"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27" name="Freeform 377"/>
              <p:cNvSpPr>
                <a:spLocks/>
              </p:cNvSpPr>
              <p:nvPr/>
            </p:nvSpPr>
            <p:spPr bwMode="auto">
              <a:xfrm>
                <a:off x="3985" y="1825"/>
                <a:ext cx="11" cy="17"/>
              </a:xfrm>
              <a:custGeom>
                <a:avLst/>
                <a:gdLst>
                  <a:gd name="T0" fmla="*/ 10 w 11"/>
                  <a:gd name="T1" fmla="*/ 0 h 17"/>
                  <a:gd name="T2" fmla="*/ 10 w 11"/>
                  <a:gd name="T3" fmla="*/ 2 h 17"/>
                  <a:gd name="T4" fmla="*/ 11 w 11"/>
                  <a:gd name="T5" fmla="*/ 5 h 17"/>
                  <a:gd name="T6" fmla="*/ 11 w 11"/>
                  <a:gd name="T7" fmla="*/ 7 h 17"/>
                  <a:gd name="T8" fmla="*/ 10 w 11"/>
                  <a:gd name="T9" fmla="*/ 9 h 17"/>
                  <a:gd name="T10" fmla="*/ 9 w 11"/>
                  <a:gd name="T11" fmla="*/ 13 h 17"/>
                  <a:gd name="T12" fmla="*/ 7 w 11"/>
                  <a:gd name="T13" fmla="*/ 15 h 17"/>
                  <a:gd name="T14" fmla="*/ 6 w 11"/>
                  <a:gd name="T15" fmla="*/ 16 h 17"/>
                  <a:gd name="T16" fmla="*/ 5 w 11"/>
                  <a:gd name="T17" fmla="*/ 17 h 17"/>
                  <a:gd name="T18" fmla="*/ 4 w 11"/>
                  <a:gd name="T19" fmla="*/ 17 h 17"/>
                  <a:gd name="T20" fmla="*/ 0 w 11"/>
                  <a:gd name="T21" fmla="*/ 5 h 17"/>
                  <a:gd name="T22" fmla="*/ 4 w 11"/>
                  <a:gd name="T23" fmla="*/ 4 h 17"/>
                  <a:gd name="T24" fmla="*/ 6 w 11"/>
                  <a:gd name="T25" fmla="*/ 3 h 17"/>
                  <a:gd name="T26" fmla="*/ 8 w 11"/>
                  <a:gd name="T27" fmla="*/ 2 h 17"/>
                  <a:gd name="T28" fmla="*/ 10 w 11"/>
                  <a:gd name="T29" fmla="*/ 0 h 1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17">
                    <a:moveTo>
                      <a:pt x="10" y="0"/>
                    </a:moveTo>
                    <a:lnTo>
                      <a:pt x="10" y="2"/>
                    </a:lnTo>
                    <a:lnTo>
                      <a:pt x="11" y="5"/>
                    </a:lnTo>
                    <a:lnTo>
                      <a:pt x="11" y="7"/>
                    </a:lnTo>
                    <a:lnTo>
                      <a:pt x="10" y="9"/>
                    </a:lnTo>
                    <a:lnTo>
                      <a:pt x="9" y="13"/>
                    </a:lnTo>
                    <a:lnTo>
                      <a:pt x="7" y="15"/>
                    </a:lnTo>
                    <a:lnTo>
                      <a:pt x="6" y="16"/>
                    </a:lnTo>
                    <a:lnTo>
                      <a:pt x="5" y="17"/>
                    </a:lnTo>
                    <a:lnTo>
                      <a:pt x="4" y="17"/>
                    </a:lnTo>
                    <a:lnTo>
                      <a:pt x="0" y="5"/>
                    </a:lnTo>
                    <a:lnTo>
                      <a:pt x="4" y="4"/>
                    </a:lnTo>
                    <a:lnTo>
                      <a:pt x="6" y="3"/>
                    </a:lnTo>
                    <a:lnTo>
                      <a:pt x="8" y="2"/>
                    </a:lnTo>
                    <a:lnTo>
                      <a:pt x="10"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28" name="Freeform 378"/>
              <p:cNvSpPr>
                <a:spLocks/>
              </p:cNvSpPr>
              <p:nvPr/>
            </p:nvSpPr>
            <p:spPr bwMode="auto">
              <a:xfrm>
                <a:off x="3936" y="1791"/>
                <a:ext cx="13" cy="11"/>
              </a:xfrm>
              <a:custGeom>
                <a:avLst/>
                <a:gdLst>
                  <a:gd name="T0" fmla="*/ 0 w 13"/>
                  <a:gd name="T1" fmla="*/ 0 h 11"/>
                  <a:gd name="T2" fmla="*/ 13 w 13"/>
                  <a:gd name="T3" fmla="*/ 2 h 11"/>
                  <a:gd name="T4" fmla="*/ 13 w 13"/>
                  <a:gd name="T5" fmla="*/ 4 h 11"/>
                  <a:gd name="T6" fmla="*/ 12 w 13"/>
                  <a:gd name="T7" fmla="*/ 6 h 11"/>
                  <a:gd name="T8" fmla="*/ 12 w 13"/>
                  <a:gd name="T9" fmla="*/ 7 h 11"/>
                  <a:gd name="T10" fmla="*/ 12 w 13"/>
                  <a:gd name="T11" fmla="*/ 9 h 11"/>
                  <a:gd name="T12" fmla="*/ 12 w 13"/>
                  <a:gd name="T13" fmla="*/ 11 h 11"/>
                  <a:gd name="T14" fmla="*/ 10 w 13"/>
                  <a:gd name="T15" fmla="*/ 11 h 11"/>
                  <a:gd name="T16" fmla="*/ 7 w 13"/>
                  <a:gd name="T17" fmla="*/ 11 h 11"/>
                  <a:gd name="T18" fmla="*/ 5 w 13"/>
                  <a:gd name="T19" fmla="*/ 10 h 11"/>
                  <a:gd name="T20" fmla="*/ 4 w 13"/>
                  <a:gd name="T21" fmla="*/ 9 h 11"/>
                  <a:gd name="T22" fmla="*/ 2 w 13"/>
                  <a:gd name="T23" fmla="*/ 6 h 11"/>
                  <a:gd name="T24" fmla="*/ 1 w 13"/>
                  <a:gd name="T25" fmla="*/ 4 h 11"/>
                  <a:gd name="T26" fmla="*/ 0 w 13"/>
                  <a:gd name="T27" fmla="*/ 2 h 11"/>
                  <a:gd name="T28" fmla="*/ 0 w 13"/>
                  <a:gd name="T29" fmla="*/ 1 h 11"/>
                  <a:gd name="T30" fmla="*/ 0 w 13"/>
                  <a:gd name="T31" fmla="*/ 0 h 1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3" h="11">
                    <a:moveTo>
                      <a:pt x="0" y="0"/>
                    </a:moveTo>
                    <a:lnTo>
                      <a:pt x="13" y="2"/>
                    </a:lnTo>
                    <a:lnTo>
                      <a:pt x="13" y="4"/>
                    </a:lnTo>
                    <a:lnTo>
                      <a:pt x="12" y="6"/>
                    </a:lnTo>
                    <a:lnTo>
                      <a:pt x="12" y="7"/>
                    </a:lnTo>
                    <a:lnTo>
                      <a:pt x="12" y="9"/>
                    </a:lnTo>
                    <a:lnTo>
                      <a:pt x="12" y="11"/>
                    </a:lnTo>
                    <a:lnTo>
                      <a:pt x="10" y="11"/>
                    </a:lnTo>
                    <a:lnTo>
                      <a:pt x="7" y="11"/>
                    </a:lnTo>
                    <a:lnTo>
                      <a:pt x="5" y="10"/>
                    </a:lnTo>
                    <a:lnTo>
                      <a:pt x="4" y="9"/>
                    </a:lnTo>
                    <a:lnTo>
                      <a:pt x="2" y="6"/>
                    </a:lnTo>
                    <a:lnTo>
                      <a:pt x="1" y="4"/>
                    </a:lnTo>
                    <a:lnTo>
                      <a:pt x="0" y="2"/>
                    </a:lnTo>
                    <a:lnTo>
                      <a:pt x="0" y="1"/>
                    </a:lnTo>
                    <a:lnTo>
                      <a:pt x="0"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29" name="Freeform 379"/>
              <p:cNvSpPr>
                <a:spLocks/>
              </p:cNvSpPr>
              <p:nvPr/>
            </p:nvSpPr>
            <p:spPr bwMode="auto">
              <a:xfrm>
                <a:off x="4000" y="1814"/>
                <a:ext cx="11" cy="16"/>
              </a:xfrm>
              <a:custGeom>
                <a:avLst/>
                <a:gdLst>
                  <a:gd name="T0" fmla="*/ 5 w 11"/>
                  <a:gd name="T1" fmla="*/ 0 h 16"/>
                  <a:gd name="T2" fmla="*/ 7 w 11"/>
                  <a:gd name="T3" fmla="*/ 2 h 16"/>
                  <a:gd name="T4" fmla="*/ 9 w 11"/>
                  <a:gd name="T5" fmla="*/ 4 h 16"/>
                  <a:gd name="T6" fmla="*/ 11 w 11"/>
                  <a:gd name="T7" fmla="*/ 7 h 16"/>
                  <a:gd name="T8" fmla="*/ 11 w 11"/>
                  <a:gd name="T9" fmla="*/ 11 h 16"/>
                  <a:gd name="T10" fmla="*/ 11 w 11"/>
                  <a:gd name="T11" fmla="*/ 13 h 16"/>
                  <a:gd name="T12" fmla="*/ 10 w 11"/>
                  <a:gd name="T13" fmla="*/ 14 h 16"/>
                  <a:gd name="T14" fmla="*/ 10 w 11"/>
                  <a:gd name="T15" fmla="*/ 15 h 16"/>
                  <a:gd name="T16" fmla="*/ 9 w 11"/>
                  <a:gd name="T17" fmla="*/ 16 h 16"/>
                  <a:gd name="T18" fmla="*/ 0 w 11"/>
                  <a:gd name="T19" fmla="*/ 7 h 16"/>
                  <a:gd name="T20" fmla="*/ 3 w 11"/>
                  <a:gd name="T21" fmla="*/ 4 h 16"/>
                  <a:gd name="T22" fmla="*/ 5 w 11"/>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1" h="16">
                    <a:moveTo>
                      <a:pt x="5" y="0"/>
                    </a:moveTo>
                    <a:lnTo>
                      <a:pt x="7" y="2"/>
                    </a:lnTo>
                    <a:lnTo>
                      <a:pt x="9" y="4"/>
                    </a:lnTo>
                    <a:lnTo>
                      <a:pt x="11" y="7"/>
                    </a:lnTo>
                    <a:lnTo>
                      <a:pt x="11" y="11"/>
                    </a:lnTo>
                    <a:lnTo>
                      <a:pt x="11" y="13"/>
                    </a:lnTo>
                    <a:lnTo>
                      <a:pt x="10" y="14"/>
                    </a:lnTo>
                    <a:lnTo>
                      <a:pt x="10" y="15"/>
                    </a:lnTo>
                    <a:lnTo>
                      <a:pt x="9" y="16"/>
                    </a:lnTo>
                    <a:lnTo>
                      <a:pt x="0" y="7"/>
                    </a:lnTo>
                    <a:lnTo>
                      <a:pt x="3" y="4"/>
                    </a:lnTo>
                    <a:lnTo>
                      <a:pt x="5"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30" name="Freeform 380"/>
              <p:cNvSpPr>
                <a:spLocks/>
              </p:cNvSpPr>
              <p:nvPr/>
            </p:nvSpPr>
            <p:spPr bwMode="auto">
              <a:xfrm>
                <a:off x="3968" y="1830"/>
                <a:ext cx="11" cy="11"/>
              </a:xfrm>
              <a:custGeom>
                <a:avLst/>
                <a:gdLst>
                  <a:gd name="T0" fmla="*/ 2 w 11"/>
                  <a:gd name="T1" fmla="*/ 0 h 11"/>
                  <a:gd name="T2" fmla="*/ 4 w 11"/>
                  <a:gd name="T3" fmla="*/ 0 h 11"/>
                  <a:gd name="T4" fmla="*/ 7 w 11"/>
                  <a:gd name="T5" fmla="*/ 1 h 11"/>
                  <a:gd name="T6" fmla="*/ 10 w 11"/>
                  <a:gd name="T7" fmla="*/ 1 h 11"/>
                  <a:gd name="T8" fmla="*/ 11 w 11"/>
                  <a:gd name="T9" fmla="*/ 0 h 11"/>
                  <a:gd name="T10" fmla="*/ 11 w 11"/>
                  <a:gd name="T11" fmla="*/ 3 h 11"/>
                  <a:gd name="T12" fmla="*/ 10 w 11"/>
                  <a:gd name="T13" fmla="*/ 5 h 11"/>
                  <a:gd name="T14" fmla="*/ 9 w 11"/>
                  <a:gd name="T15" fmla="*/ 8 h 11"/>
                  <a:gd name="T16" fmla="*/ 7 w 11"/>
                  <a:gd name="T17" fmla="*/ 10 h 11"/>
                  <a:gd name="T18" fmla="*/ 4 w 11"/>
                  <a:gd name="T19" fmla="*/ 11 h 11"/>
                  <a:gd name="T20" fmla="*/ 2 w 11"/>
                  <a:gd name="T21" fmla="*/ 11 h 11"/>
                  <a:gd name="T22" fmla="*/ 1 w 11"/>
                  <a:gd name="T23" fmla="*/ 11 h 11"/>
                  <a:gd name="T24" fmla="*/ 0 w 11"/>
                  <a:gd name="T25" fmla="*/ 11 h 11"/>
                  <a:gd name="T26" fmla="*/ 2 w 11"/>
                  <a:gd name="T27" fmla="*/ 0 h 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1" h="11">
                    <a:moveTo>
                      <a:pt x="2" y="0"/>
                    </a:moveTo>
                    <a:lnTo>
                      <a:pt x="4" y="0"/>
                    </a:lnTo>
                    <a:lnTo>
                      <a:pt x="7" y="1"/>
                    </a:lnTo>
                    <a:lnTo>
                      <a:pt x="10" y="1"/>
                    </a:lnTo>
                    <a:lnTo>
                      <a:pt x="11" y="0"/>
                    </a:lnTo>
                    <a:lnTo>
                      <a:pt x="11" y="3"/>
                    </a:lnTo>
                    <a:lnTo>
                      <a:pt x="10" y="5"/>
                    </a:lnTo>
                    <a:lnTo>
                      <a:pt x="9" y="8"/>
                    </a:lnTo>
                    <a:lnTo>
                      <a:pt x="7" y="10"/>
                    </a:lnTo>
                    <a:lnTo>
                      <a:pt x="4" y="11"/>
                    </a:lnTo>
                    <a:lnTo>
                      <a:pt x="2" y="11"/>
                    </a:lnTo>
                    <a:lnTo>
                      <a:pt x="1" y="11"/>
                    </a:lnTo>
                    <a:lnTo>
                      <a:pt x="0" y="11"/>
                    </a:lnTo>
                    <a:lnTo>
                      <a:pt x="2"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31" name="Freeform 381"/>
              <p:cNvSpPr>
                <a:spLocks/>
              </p:cNvSpPr>
              <p:nvPr/>
            </p:nvSpPr>
            <p:spPr bwMode="auto">
              <a:xfrm>
                <a:off x="3948" y="1821"/>
                <a:ext cx="17" cy="12"/>
              </a:xfrm>
              <a:custGeom>
                <a:avLst/>
                <a:gdLst>
                  <a:gd name="T0" fmla="*/ 9 w 17"/>
                  <a:gd name="T1" fmla="*/ 0 h 12"/>
                  <a:gd name="T2" fmla="*/ 10 w 17"/>
                  <a:gd name="T3" fmla="*/ 3 h 12"/>
                  <a:gd name="T4" fmla="*/ 13 w 17"/>
                  <a:gd name="T5" fmla="*/ 4 h 12"/>
                  <a:gd name="T6" fmla="*/ 15 w 17"/>
                  <a:gd name="T7" fmla="*/ 6 h 12"/>
                  <a:gd name="T8" fmla="*/ 17 w 17"/>
                  <a:gd name="T9" fmla="*/ 7 h 12"/>
                  <a:gd name="T10" fmla="*/ 16 w 17"/>
                  <a:gd name="T11" fmla="*/ 9 h 12"/>
                  <a:gd name="T12" fmla="*/ 14 w 17"/>
                  <a:gd name="T13" fmla="*/ 10 h 12"/>
                  <a:gd name="T14" fmla="*/ 11 w 17"/>
                  <a:gd name="T15" fmla="*/ 11 h 12"/>
                  <a:gd name="T16" fmla="*/ 9 w 17"/>
                  <a:gd name="T17" fmla="*/ 12 h 12"/>
                  <a:gd name="T18" fmla="*/ 6 w 17"/>
                  <a:gd name="T19" fmla="*/ 12 h 12"/>
                  <a:gd name="T20" fmla="*/ 3 w 17"/>
                  <a:gd name="T21" fmla="*/ 12 h 12"/>
                  <a:gd name="T22" fmla="*/ 1 w 17"/>
                  <a:gd name="T23" fmla="*/ 11 h 12"/>
                  <a:gd name="T24" fmla="*/ 0 w 17"/>
                  <a:gd name="T25" fmla="*/ 10 h 12"/>
                  <a:gd name="T26" fmla="*/ 0 w 17"/>
                  <a:gd name="T27" fmla="*/ 10 h 12"/>
                  <a:gd name="T28" fmla="*/ 9 w 17"/>
                  <a:gd name="T29" fmla="*/ 0 h 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7" h="12">
                    <a:moveTo>
                      <a:pt x="9" y="0"/>
                    </a:moveTo>
                    <a:lnTo>
                      <a:pt x="10" y="3"/>
                    </a:lnTo>
                    <a:lnTo>
                      <a:pt x="13" y="4"/>
                    </a:lnTo>
                    <a:lnTo>
                      <a:pt x="15" y="6"/>
                    </a:lnTo>
                    <a:lnTo>
                      <a:pt x="17" y="7"/>
                    </a:lnTo>
                    <a:lnTo>
                      <a:pt x="16" y="9"/>
                    </a:lnTo>
                    <a:lnTo>
                      <a:pt x="14" y="10"/>
                    </a:lnTo>
                    <a:lnTo>
                      <a:pt x="11" y="11"/>
                    </a:lnTo>
                    <a:lnTo>
                      <a:pt x="9" y="12"/>
                    </a:lnTo>
                    <a:lnTo>
                      <a:pt x="6" y="12"/>
                    </a:lnTo>
                    <a:lnTo>
                      <a:pt x="3" y="12"/>
                    </a:lnTo>
                    <a:lnTo>
                      <a:pt x="1" y="11"/>
                    </a:lnTo>
                    <a:lnTo>
                      <a:pt x="0" y="10"/>
                    </a:lnTo>
                    <a:lnTo>
                      <a:pt x="9"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32" name="Freeform 382"/>
              <p:cNvSpPr>
                <a:spLocks/>
              </p:cNvSpPr>
              <p:nvPr/>
            </p:nvSpPr>
            <p:spPr bwMode="auto">
              <a:xfrm>
                <a:off x="3936" y="1807"/>
                <a:ext cx="17" cy="11"/>
              </a:xfrm>
              <a:custGeom>
                <a:avLst/>
                <a:gdLst>
                  <a:gd name="T0" fmla="*/ 13 w 17"/>
                  <a:gd name="T1" fmla="*/ 0 h 11"/>
                  <a:gd name="T2" fmla="*/ 14 w 17"/>
                  <a:gd name="T3" fmla="*/ 4 h 11"/>
                  <a:gd name="T4" fmla="*/ 15 w 17"/>
                  <a:gd name="T5" fmla="*/ 7 h 11"/>
                  <a:gd name="T6" fmla="*/ 17 w 17"/>
                  <a:gd name="T7" fmla="*/ 10 h 11"/>
                  <a:gd name="T8" fmla="*/ 15 w 17"/>
                  <a:gd name="T9" fmla="*/ 11 h 11"/>
                  <a:gd name="T10" fmla="*/ 13 w 17"/>
                  <a:gd name="T11" fmla="*/ 11 h 11"/>
                  <a:gd name="T12" fmla="*/ 10 w 17"/>
                  <a:gd name="T13" fmla="*/ 11 h 11"/>
                  <a:gd name="T14" fmla="*/ 6 w 17"/>
                  <a:gd name="T15" fmla="*/ 11 h 11"/>
                  <a:gd name="T16" fmla="*/ 4 w 17"/>
                  <a:gd name="T17" fmla="*/ 10 h 11"/>
                  <a:gd name="T18" fmla="*/ 3 w 17"/>
                  <a:gd name="T19" fmla="*/ 9 h 11"/>
                  <a:gd name="T20" fmla="*/ 1 w 17"/>
                  <a:gd name="T21" fmla="*/ 7 h 11"/>
                  <a:gd name="T22" fmla="*/ 1 w 17"/>
                  <a:gd name="T23" fmla="*/ 6 h 11"/>
                  <a:gd name="T24" fmla="*/ 0 w 17"/>
                  <a:gd name="T25" fmla="*/ 5 h 11"/>
                  <a:gd name="T26" fmla="*/ 13 w 17"/>
                  <a:gd name="T27" fmla="*/ 0 h 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 h="11">
                    <a:moveTo>
                      <a:pt x="13" y="0"/>
                    </a:moveTo>
                    <a:lnTo>
                      <a:pt x="14" y="4"/>
                    </a:lnTo>
                    <a:lnTo>
                      <a:pt x="15" y="7"/>
                    </a:lnTo>
                    <a:lnTo>
                      <a:pt x="17" y="10"/>
                    </a:lnTo>
                    <a:lnTo>
                      <a:pt x="15" y="11"/>
                    </a:lnTo>
                    <a:lnTo>
                      <a:pt x="13" y="11"/>
                    </a:lnTo>
                    <a:lnTo>
                      <a:pt x="10" y="11"/>
                    </a:lnTo>
                    <a:lnTo>
                      <a:pt x="6" y="11"/>
                    </a:lnTo>
                    <a:lnTo>
                      <a:pt x="4" y="10"/>
                    </a:lnTo>
                    <a:lnTo>
                      <a:pt x="3" y="9"/>
                    </a:lnTo>
                    <a:lnTo>
                      <a:pt x="1" y="7"/>
                    </a:lnTo>
                    <a:lnTo>
                      <a:pt x="1" y="6"/>
                    </a:lnTo>
                    <a:lnTo>
                      <a:pt x="0" y="5"/>
                    </a:lnTo>
                    <a:lnTo>
                      <a:pt x="13"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33" name="Rectangle 383"/>
              <p:cNvSpPr>
                <a:spLocks noChangeArrowheads="1"/>
              </p:cNvSpPr>
              <p:nvPr/>
            </p:nvSpPr>
            <p:spPr bwMode="auto">
              <a:xfrm>
                <a:off x="3384" y="2726"/>
                <a:ext cx="11" cy="3"/>
              </a:xfrm>
              <a:prstGeom prst="rect">
                <a:avLst/>
              </a:prstGeom>
              <a:solidFill>
                <a:srgbClr val="35977F"/>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eaLnBrk="1" hangingPunct="1"/>
                <a:endParaRPr lang="es-ES" altLang="es-CL" dirty="0">
                  <a:solidFill>
                    <a:srgbClr val="333333"/>
                  </a:solidFill>
                  <a:latin typeface="Arial" pitchFamily="34" charset="0"/>
                </a:endParaRPr>
              </a:p>
            </p:txBody>
          </p:sp>
          <p:sp>
            <p:nvSpPr>
              <p:cNvPr id="2234" name="Freeform 384"/>
              <p:cNvSpPr>
                <a:spLocks noEditPoints="1"/>
              </p:cNvSpPr>
              <p:nvPr/>
            </p:nvSpPr>
            <p:spPr bwMode="auto">
              <a:xfrm>
                <a:off x="3392" y="1409"/>
                <a:ext cx="535" cy="1304"/>
              </a:xfrm>
              <a:custGeom>
                <a:avLst/>
                <a:gdLst>
                  <a:gd name="T0" fmla="*/ 2 w 535"/>
                  <a:gd name="T1" fmla="*/ 1295 h 1304"/>
                  <a:gd name="T2" fmla="*/ 11 w 535"/>
                  <a:gd name="T3" fmla="*/ 1271 h 1304"/>
                  <a:gd name="T4" fmla="*/ 20 w 535"/>
                  <a:gd name="T5" fmla="*/ 1247 h 1304"/>
                  <a:gd name="T6" fmla="*/ 30 w 535"/>
                  <a:gd name="T7" fmla="*/ 1223 h 1304"/>
                  <a:gd name="T8" fmla="*/ 39 w 535"/>
                  <a:gd name="T9" fmla="*/ 1200 h 1304"/>
                  <a:gd name="T10" fmla="*/ 49 w 535"/>
                  <a:gd name="T11" fmla="*/ 1176 h 1304"/>
                  <a:gd name="T12" fmla="*/ 59 w 535"/>
                  <a:gd name="T13" fmla="*/ 1153 h 1304"/>
                  <a:gd name="T14" fmla="*/ 68 w 535"/>
                  <a:gd name="T15" fmla="*/ 1130 h 1304"/>
                  <a:gd name="T16" fmla="*/ 78 w 535"/>
                  <a:gd name="T17" fmla="*/ 1106 h 1304"/>
                  <a:gd name="T18" fmla="*/ 88 w 535"/>
                  <a:gd name="T19" fmla="*/ 1082 h 1304"/>
                  <a:gd name="T20" fmla="*/ 96 w 535"/>
                  <a:gd name="T21" fmla="*/ 1059 h 1304"/>
                  <a:gd name="T22" fmla="*/ 106 w 535"/>
                  <a:gd name="T23" fmla="*/ 1035 h 1304"/>
                  <a:gd name="T24" fmla="*/ 116 w 535"/>
                  <a:gd name="T25" fmla="*/ 1012 h 1304"/>
                  <a:gd name="T26" fmla="*/ 125 w 535"/>
                  <a:gd name="T27" fmla="*/ 989 h 1304"/>
                  <a:gd name="T28" fmla="*/ 135 w 535"/>
                  <a:gd name="T29" fmla="*/ 965 h 1304"/>
                  <a:gd name="T30" fmla="*/ 145 w 535"/>
                  <a:gd name="T31" fmla="*/ 941 h 1304"/>
                  <a:gd name="T32" fmla="*/ 155 w 535"/>
                  <a:gd name="T33" fmla="*/ 918 h 1304"/>
                  <a:gd name="T34" fmla="*/ 163 w 535"/>
                  <a:gd name="T35" fmla="*/ 894 h 1304"/>
                  <a:gd name="T36" fmla="*/ 173 w 535"/>
                  <a:gd name="T37" fmla="*/ 870 h 1304"/>
                  <a:gd name="T38" fmla="*/ 182 w 535"/>
                  <a:gd name="T39" fmla="*/ 848 h 1304"/>
                  <a:gd name="T40" fmla="*/ 192 w 535"/>
                  <a:gd name="T41" fmla="*/ 824 h 1304"/>
                  <a:gd name="T42" fmla="*/ 202 w 535"/>
                  <a:gd name="T43" fmla="*/ 800 h 1304"/>
                  <a:gd name="T44" fmla="*/ 212 w 535"/>
                  <a:gd name="T45" fmla="*/ 776 h 1304"/>
                  <a:gd name="T46" fmla="*/ 221 w 535"/>
                  <a:gd name="T47" fmla="*/ 753 h 1304"/>
                  <a:gd name="T48" fmla="*/ 231 w 535"/>
                  <a:gd name="T49" fmla="*/ 729 h 1304"/>
                  <a:gd name="T50" fmla="*/ 239 w 535"/>
                  <a:gd name="T51" fmla="*/ 706 h 1304"/>
                  <a:gd name="T52" fmla="*/ 249 w 535"/>
                  <a:gd name="T53" fmla="*/ 683 h 1304"/>
                  <a:gd name="T54" fmla="*/ 259 w 535"/>
                  <a:gd name="T55" fmla="*/ 659 h 1304"/>
                  <a:gd name="T56" fmla="*/ 269 w 535"/>
                  <a:gd name="T57" fmla="*/ 635 h 1304"/>
                  <a:gd name="T58" fmla="*/ 278 w 535"/>
                  <a:gd name="T59" fmla="*/ 612 h 1304"/>
                  <a:gd name="T60" fmla="*/ 288 w 535"/>
                  <a:gd name="T61" fmla="*/ 588 h 1304"/>
                  <a:gd name="T62" fmla="*/ 298 w 535"/>
                  <a:gd name="T63" fmla="*/ 565 h 1304"/>
                  <a:gd name="T64" fmla="*/ 306 w 535"/>
                  <a:gd name="T65" fmla="*/ 542 h 1304"/>
                  <a:gd name="T66" fmla="*/ 316 w 535"/>
                  <a:gd name="T67" fmla="*/ 518 h 1304"/>
                  <a:gd name="T68" fmla="*/ 326 w 535"/>
                  <a:gd name="T69" fmla="*/ 494 h 1304"/>
                  <a:gd name="T70" fmla="*/ 335 w 535"/>
                  <a:gd name="T71" fmla="*/ 471 h 1304"/>
                  <a:gd name="T72" fmla="*/ 345 w 535"/>
                  <a:gd name="T73" fmla="*/ 447 h 1304"/>
                  <a:gd name="T74" fmla="*/ 355 w 535"/>
                  <a:gd name="T75" fmla="*/ 424 h 1304"/>
                  <a:gd name="T76" fmla="*/ 364 w 535"/>
                  <a:gd name="T77" fmla="*/ 401 h 1304"/>
                  <a:gd name="T78" fmla="*/ 374 w 535"/>
                  <a:gd name="T79" fmla="*/ 377 h 1304"/>
                  <a:gd name="T80" fmla="*/ 383 w 535"/>
                  <a:gd name="T81" fmla="*/ 353 h 1304"/>
                  <a:gd name="T82" fmla="*/ 392 w 535"/>
                  <a:gd name="T83" fmla="*/ 330 h 1304"/>
                  <a:gd name="T84" fmla="*/ 402 w 535"/>
                  <a:gd name="T85" fmla="*/ 306 h 1304"/>
                  <a:gd name="T86" fmla="*/ 412 w 535"/>
                  <a:gd name="T87" fmla="*/ 282 h 1304"/>
                  <a:gd name="T88" fmla="*/ 421 w 535"/>
                  <a:gd name="T89" fmla="*/ 260 h 1304"/>
                  <a:gd name="T90" fmla="*/ 431 w 535"/>
                  <a:gd name="T91" fmla="*/ 236 h 1304"/>
                  <a:gd name="T92" fmla="*/ 441 w 535"/>
                  <a:gd name="T93" fmla="*/ 212 h 1304"/>
                  <a:gd name="T94" fmla="*/ 449 w 535"/>
                  <a:gd name="T95" fmla="*/ 188 h 1304"/>
                  <a:gd name="T96" fmla="*/ 459 w 535"/>
                  <a:gd name="T97" fmla="*/ 165 h 1304"/>
                  <a:gd name="T98" fmla="*/ 469 w 535"/>
                  <a:gd name="T99" fmla="*/ 141 h 1304"/>
                  <a:gd name="T100" fmla="*/ 478 w 535"/>
                  <a:gd name="T101" fmla="*/ 118 h 1304"/>
                  <a:gd name="T102" fmla="*/ 488 w 535"/>
                  <a:gd name="T103" fmla="*/ 95 h 1304"/>
                  <a:gd name="T104" fmla="*/ 498 w 535"/>
                  <a:gd name="T105" fmla="*/ 71 h 1304"/>
                  <a:gd name="T106" fmla="*/ 507 w 535"/>
                  <a:gd name="T107" fmla="*/ 47 h 1304"/>
                  <a:gd name="T108" fmla="*/ 516 w 535"/>
                  <a:gd name="T109" fmla="*/ 24 h 1304"/>
                  <a:gd name="T110" fmla="*/ 526 w 535"/>
                  <a:gd name="T111" fmla="*/ 0 h 13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35" h="1304">
                    <a:moveTo>
                      <a:pt x="2" y="1295"/>
                    </a:moveTo>
                    <a:lnTo>
                      <a:pt x="11" y="1299"/>
                    </a:lnTo>
                    <a:lnTo>
                      <a:pt x="9" y="1304"/>
                    </a:lnTo>
                    <a:lnTo>
                      <a:pt x="0" y="1300"/>
                    </a:lnTo>
                    <a:lnTo>
                      <a:pt x="2" y="1295"/>
                    </a:lnTo>
                    <a:close/>
                    <a:moveTo>
                      <a:pt x="11" y="1271"/>
                    </a:moveTo>
                    <a:lnTo>
                      <a:pt x="21" y="1275"/>
                    </a:lnTo>
                    <a:lnTo>
                      <a:pt x="18" y="1281"/>
                    </a:lnTo>
                    <a:lnTo>
                      <a:pt x="8" y="1276"/>
                    </a:lnTo>
                    <a:lnTo>
                      <a:pt x="11" y="1271"/>
                    </a:lnTo>
                    <a:close/>
                    <a:moveTo>
                      <a:pt x="20" y="1247"/>
                    </a:moveTo>
                    <a:lnTo>
                      <a:pt x="30" y="1251"/>
                    </a:lnTo>
                    <a:lnTo>
                      <a:pt x="28" y="1257"/>
                    </a:lnTo>
                    <a:lnTo>
                      <a:pt x="18" y="1253"/>
                    </a:lnTo>
                    <a:lnTo>
                      <a:pt x="20" y="1247"/>
                    </a:lnTo>
                    <a:close/>
                    <a:moveTo>
                      <a:pt x="30" y="1223"/>
                    </a:moveTo>
                    <a:lnTo>
                      <a:pt x="39" y="1228"/>
                    </a:lnTo>
                    <a:lnTo>
                      <a:pt x="37" y="1234"/>
                    </a:lnTo>
                    <a:lnTo>
                      <a:pt x="28" y="1230"/>
                    </a:lnTo>
                    <a:lnTo>
                      <a:pt x="30" y="1223"/>
                    </a:lnTo>
                    <a:close/>
                    <a:moveTo>
                      <a:pt x="39" y="1200"/>
                    </a:moveTo>
                    <a:lnTo>
                      <a:pt x="49" y="1204"/>
                    </a:lnTo>
                    <a:lnTo>
                      <a:pt x="47" y="1211"/>
                    </a:lnTo>
                    <a:lnTo>
                      <a:pt x="37" y="1206"/>
                    </a:lnTo>
                    <a:lnTo>
                      <a:pt x="39" y="1200"/>
                    </a:lnTo>
                    <a:close/>
                    <a:moveTo>
                      <a:pt x="49" y="1176"/>
                    </a:moveTo>
                    <a:lnTo>
                      <a:pt x="59" y="1180"/>
                    </a:lnTo>
                    <a:lnTo>
                      <a:pt x="57" y="1187"/>
                    </a:lnTo>
                    <a:lnTo>
                      <a:pt x="47" y="1183"/>
                    </a:lnTo>
                    <a:lnTo>
                      <a:pt x="49" y="1176"/>
                    </a:lnTo>
                    <a:close/>
                    <a:moveTo>
                      <a:pt x="59" y="1153"/>
                    </a:moveTo>
                    <a:lnTo>
                      <a:pt x="68" y="1158"/>
                    </a:lnTo>
                    <a:lnTo>
                      <a:pt x="66" y="1163"/>
                    </a:lnTo>
                    <a:lnTo>
                      <a:pt x="57" y="1159"/>
                    </a:lnTo>
                    <a:lnTo>
                      <a:pt x="59" y="1153"/>
                    </a:lnTo>
                    <a:close/>
                    <a:moveTo>
                      <a:pt x="68" y="1130"/>
                    </a:moveTo>
                    <a:lnTo>
                      <a:pt x="78" y="1134"/>
                    </a:lnTo>
                    <a:lnTo>
                      <a:pt x="76" y="1139"/>
                    </a:lnTo>
                    <a:lnTo>
                      <a:pt x="66" y="1135"/>
                    </a:lnTo>
                    <a:lnTo>
                      <a:pt x="68" y="1130"/>
                    </a:lnTo>
                    <a:close/>
                    <a:moveTo>
                      <a:pt x="78" y="1106"/>
                    </a:moveTo>
                    <a:lnTo>
                      <a:pt x="88" y="1110"/>
                    </a:lnTo>
                    <a:lnTo>
                      <a:pt x="85" y="1116"/>
                    </a:lnTo>
                    <a:lnTo>
                      <a:pt x="75" y="1111"/>
                    </a:lnTo>
                    <a:lnTo>
                      <a:pt x="78" y="1106"/>
                    </a:lnTo>
                    <a:close/>
                    <a:moveTo>
                      <a:pt x="88" y="1082"/>
                    </a:moveTo>
                    <a:lnTo>
                      <a:pt x="98" y="1087"/>
                    </a:lnTo>
                    <a:lnTo>
                      <a:pt x="94" y="1092"/>
                    </a:lnTo>
                    <a:lnTo>
                      <a:pt x="85" y="1088"/>
                    </a:lnTo>
                    <a:lnTo>
                      <a:pt x="88" y="1082"/>
                    </a:lnTo>
                    <a:close/>
                    <a:moveTo>
                      <a:pt x="96" y="1059"/>
                    </a:moveTo>
                    <a:lnTo>
                      <a:pt x="106" y="1063"/>
                    </a:lnTo>
                    <a:lnTo>
                      <a:pt x="104" y="1069"/>
                    </a:lnTo>
                    <a:lnTo>
                      <a:pt x="94" y="1065"/>
                    </a:lnTo>
                    <a:lnTo>
                      <a:pt x="96" y="1059"/>
                    </a:lnTo>
                    <a:close/>
                    <a:moveTo>
                      <a:pt x="106" y="1035"/>
                    </a:moveTo>
                    <a:lnTo>
                      <a:pt x="116" y="1039"/>
                    </a:lnTo>
                    <a:lnTo>
                      <a:pt x="114" y="1046"/>
                    </a:lnTo>
                    <a:lnTo>
                      <a:pt x="104" y="1041"/>
                    </a:lnTo>
                    <a:lnTo>
                      <a:pt x="106" y="1035"/>
                    </a:lnTo>
                    <a:close/>
                    <a:moveTo>
                      <a:pt x="116" y="1012"/>
                    </a:moveTo>
                    <a:lnTo>
                      <a:pt x="125" y="1017"/>
                    </a:lnTo>
                    <a:lnTo>
                      <a:pt x="123" y="1022"/>
                    </a:lnTo>
                    <a:lnTo>
                      <a:pt x="114" y="1018"/>
                    </a:lnTo>
                    <a:lnTo>
                      <a:pt x="116" y="1012"/>
                    </a:lnTo>
                    <a:close/>
                    <a:moveTo>
                      <a:pt x="125" y="989"/>
                    </a:moveTo>
                    <a:lnTo>
                      <a:pt x="135" y="993"/>
                    </a:lnTo>
                    <a:lnTo>
                      <a:pt x="133" y="998"/>
                    </a:lnTo>
                    <a:lnTo>
                      <a:pt x="123" y="994"/>
                    </a:lnTo>
                    <a:lnTo>
                      <a:pt x="125" y="989"/>
                    </a:lnTo>
                    <a:close/>
                    <a:moveTo>
                      <a:pt x="135" y="965"/>
                    </a:moveTo>
                    <a:lnTo>
                      <a:pt x="145" y="969"/>
                    </a:lnTo>
                    <a:lnTo>
                      <a:pt x="143" y="975"/>
                    </a:lnTo>
                    <a:lnTo>
                      <a:pt x="133" y="970"/>
                    </a:lnTo>
                    <a:lnTo>
                      <a:pt x="135" y="965"/>
                    </a:lnTo>
                    <a:close/>
                    <a:moveTo>
                      <a:pt x="145" y="941"/>
                    </a:moveTo>
                    <a:lnTo>
                      <a:pt x="155" y="946"/>
                    </a:lnTo>
                    <a:lnTo>
                      <a:pt x="152" y="951"/>
                    </a:lnTo>
                    <a:lnTo>
                      <a:pt x="143" y="947"/>
                    </a:lnTo>
                    <a:lnTo>
                      <a:pt x="145" y="941"/>
                    </a:lnTo>
                    <a:close/>
                    <a:moveTo>
                      <a:pt x="155" y="918"/>
                    </a:moveTo>
                    <a:lnTo>
                      <a:pt x="164" y="922"/>
                    </a:lnTo>
                    <a:lnTo>
                      <a:pt x="161" y="928"/>
                    </a:lnTo>
                    <a:lnTo>
                      <a:pt x="151" y="924"/>
                    </a:lnTo>
                    <a:lnTo>
                      <a:pt x="155" y="918"/>
                    </a:lnTo>
                    <a:close/>
                    <a:moveTo>
                      <a:pt x="163" y="894"/>
                    </a:moveTo>
                    <a:lnTo>
                      <a:pt x="173" y="898"/>
                    </a:lnTo>
                    <a:lnTo>
                      <a:pt x="171" y="905"/>
                    </a:lnTo>
                    <a:lnTo>
                      <a:pt x="161" y="900"/>
                    </a:lnTo>
                    <a:lnTo>
                      <a:pt x="163" y="894"/>
                    </a:lnTo>
                    <a:close/>
                    <a:moveTo>
                      <a:pt x="173" y="870"/>
                    </a:moveTo>
                    <a:lnTo>
                      <a:pt x="182" y="874"/>
                    </a:lnTo>
                    <a:lnTo>
                      <a:pt x="180" y="881"/>
                    </a:lnTo>
                    <a:lnTo>
                      <a:pt x="171" y="877"/>
                    </a:lnTo>
                    <a:lnTo>
                      <a:pt x="173" y="870"/>
                    </a:lnTo>
                    <a:close/>
                    <a:moveTo>
                      <a:pt x="182" y="848"/>
                    </a:moveTo>
                    <a:lnTo>
                      <a:pt x="192" y="852"/>
                    </a:lnTo>
                    <a:lnTo>
                      <a:pt x="190" y="857"/>
                    </a:lnTo>
                    <a:lnTo>
                      <a:pt x="180" y="853"/>
                    </a:lnTo>
                    <a:lnTo>
                      <a:pt x="182" y="848"/>
                    </a:lnTo>
                    <a:close/>
                    <a:moveTo>
                      <a:pt x="192" y="824"/>
                    </a:moveTo>
                    <a:lnTo>
                      <a:pt x="202" y="828"/>
                    </a:lnTo>
                    <a:lnTo>
                      <a:pt x="200" y="834"/>
                    </a:lnTo>
                    <a:lnTo>
                      <a:pt x="190" y="829"/>
                    </a:lnTo>
                    <a:lnTo>
                      <a:pt x="192" y="824"/>
                    </a:lnTo>
                    <a:close/>
                    <a:moveTo>
                      <a:pt x="202" y="800"/>
                    </a:moveTo>
                    <a:lnTo>
                      <a:pt x="212" y="804"/>
                    </a:lnTo>
                    <a:lnTo>
                      <a:pt x="209" y="810"/>
                    </a:lnTo>
                    <a:lnTo>
                      <a:pt x="200" y="806"/>
                    </a:lnTo>
                    <a:lnTo>
                      <a:pt x="202" y="800"/>
                    </a:lnTo>
                    <a:close/>
                    <a:moveTo>
                      <a:pt x="212" y="776"/>
                    </a:moveTo>
                    <a:lnTo>
                      <a:pt x="221" y="781"/>
                    </a:lnTo>
                    <a:lnTo>
                      <a:pt x="219" y="787"/>
                    </a:lnTo>
                    <a:lnTo>
                      <a:pt x="209" y="783"/>
                    </a:lnTo>
                    <a:lnTo>
                      <a:pt x="212" y="776"/>
                    </a:lnTo>
                    <a:close/>
                    <a:moveTo>
                      <a:pt x="221" y="753"/>
                    </a:moveTo>
                    <a:lnTo>
                      <a:pt x="231" y="757"/>
                    </a:lnTo>
                    <a:lnTo>
                      <a:pt x="228" y="764"/>
                    </a:lnTo>
                    <a:lnTo>
                      <a:pt x="218" y="759"/>
                    </a:lnTo>
                    <a:lnTo>
                      <a:pt x="221" y="753"/>
                    </a:lnTo>
                    <a:close/>
                    <a:moveTo>
                      <a:pt x="231" y="729"/>
                    </a:moveTo>
                    <a:lnTo>
                      <a:pt x="241" y="733"/>
                    </a:lnTo>
                    <a:lnTo>
                      <a:pt x="237" y="740"/>
                    </a:lnTo>
                    <a:lnTo>
                      <a:pt x="228" y="736"/>
                    </a:lnTo>
                    <a:lnTo>
                      <a:pt x="231" y="729"/>
                    </a:lnTo>
                    <a:close/>
                    <a:moveTo>
                      <a:pt x="239" y="706"/>
                    </a:moveTo>
                    <a:lnTo>
                      <a:pt x="249" y="711"/>
                    </a:lnTo>
                    <a:lnTo>
                      <a:pt x="247" y="716"/>
                    </a:lnTo>
                    <a:lnTo>
                      <a:pt x="237" y="712"/>
                    </a:lnTo>
                    <a:lnTo>
                      <a:pt x="239" y="706"/>
                    </a:lnTo>
                    <a:close/>
                    <a:moveTo>
                      <a:pt x="249" y="683"/>
                    </a:moveTo>
                    <a:lnTo>
                      <a:pt x="259" y="687"/>
                    </a:lnTo>
                    <a:lnTo>
                      <a:pt x="257" y="692"/>
                    </a:lnTo>
                    <a:lnTo>
                      <a:pt x="247" y="688"/>
                    </a:lnTo>
                    <a:lnTo>
                      <a:pt x="249" y="683"/>
                    </a:lnTo>
                    <a:close/>
                    <a:moveTo>
                      <a:pt x="259" y="659"/>
                    </a:moveTo>
                    <a:lnTo>
                      <a:pt x="269" y="663"/>
                    </a:lnTo>
                    <a:lnTo>
                      <a:pt x="266" y="669"/>
                    </a:lnTo>
                    <a:lnTo>
                      <a:pt x="257" y="664"/>
                    </a:lnTo>
                    <a:lnTo>
                      <a:pt x="259" y="659"/>
                    </a:lnTo>
                    <a:close/>
                    <a:moveTo>
                      <a:pt x="269" y="635"/>
                    </a:moveTo>
                    <a:lnTo>
                      <a:pt x="278" y="640"/>
                    </a:lnTo>
                    <a:lnTo>
                      <a:pt x="276" y="646"/>
                    </a:lnTo>
                    <a:lnTo>
                      <a:pt x="266" y="642"/>
                    </a:lnTo>
                    <a:lnTo>
                      <a:pt x="269" y="635"/>
                    </a:lnTo>
                    <a:close/>
                    <a:moveTo>
                      <a:pt x="278" y="612"/>
                    </a:moveTo>
                    <a:lnTo>
                      <a:pt x="288" y="616"/>
                    </a:lnTo>
                    <a:lnTo>
                      <a:pt x="286" y="622"/>
                    </a:lnTo>
                    <a:lnTo>
                      <a:pt x="276" y="618"/>
                    </a:lnTo>
                    <a:lnTo>
                      <a:pt x="278" y="612"/>
                    </a:lnTo>
                    <a:close/>
                    <a:moveTo>
                      <a:pt x="288" y="588"/>
                    </a:moveTo>
                    <a:lnTo>
                      <a:pt x="298" y="592"/>
                    </a:lnTo>
                    <a:lnTo>
                      <a:pt x="294" y="599"/>
                    </a:lnTo>
                    <a:lnTo>
                      <a:pt x="285" y="594"/>
                    </a:lnTo>
                    <a:lnTo>
                      <a:pt x="288" y="588"/>
                    </a:lnTo>
                    <a:close/>
                    <a:moveTo>
                      <a:pt x="298" y="565"/>
                    </a:moveTo>
                    <a:lnTo>
                      <a:pt x="307" y="570"/>
                    </a:lnTo>
                    <a:lnTo>
                      <a:pt x="304" y="575"/>
                    </a:lnTo>
                    <a:lnTo>
                      <a:pt x="294" y="571"/>
                    </a:lnTo>
                    <a:lnTo>
                      <a:pt x="298" y="565"/>
                    </a:lnTo>
                    <a:close/>
                    <a:moveTo>
                      <a:pt x="306" y="542"/>
                    </a:moveTo>
                    <a:lnTo>
                      <a:pt x="316" y="546"/>
                    </a:lnTo>
                    <a:lnTo>
                      <a:pt x="314" y="551"/>
                    </a:lnTo>
                    <a:lnTo>
                      <a:pt x="304" y="547"/>
                    </a:lnTo>
                    <a:lnTo>
                      <a:pt x="306" y="542"/>
                    </a:lnTo>
                    <a:close/>
                    <a:moveTo>
                      <a:pt x="316" y="518"/>
                    </a:moveTo>
                    <a:lnTo>
                      <a:pt x="326" y="522"/>
                    </a:lnTo>
                    <a:lnTo>
                      <a:pt x="323" y="528"/>
                    </a:lnTo>
                    <a:lnTo>
                      <a:pt x="314" y="523"/>
                    </a:lnTo>
                    <a:lnTo>
                      <a:pt x="316" y="518"/>
                    </a:lnTo>
                    <a:close/>
                    <a:moveTo>
                      <a:pt x="326" y="494"/>
                    </a:moveTo>
                    <a:lnTo>
                      <a:pt x="335" y="499"/>
                    </a:lnTo>
                    <a:lnTo>
                      <a:pt x="333" y="504"/>
                    </a:lnTo>
                    <a:lnTo>
                      <a:pt x="323" y="500"/>
                    </a:lnTo>
                    <a:lnTo>
                      <a:pt x="326" y="494"/>
                    </a:lnTo>
                    <a:close/>
                    <a:moveTo>
                      <a:pt x="335" y="471"/>
                    </a:moveTo>
                    <a:lnTo>
                      <a:pt x="345" y="475"/>
                    </a:lnTo>
                    <a:lnTo>
                      <a:pt x="343" y="481"/>
                    </a:lnTo>
                    <a:lnTo>
                      <a:pt x="333" y="477"/>
                    </a:lnTo>
                    <a:lnTo>
                      <a:pt x="335" y="471"/>
                    </a:lnTo>
                    <a:close/>
                    <a:moveTo>
                      <a:pt x="345" y="447"/>
                    </a:moveTo>
                    <a:lnTo>
                      <a:pt x="355" y="451"/>
                    </a:lnTo>
                    <a:lnTo>
                      <a:pt x="352" y="458"/>
                    </a:lnTo>
                    <a:lnTo>
                      <a:pt x="343" y="453"/>
                    </a:lnTo>
                    <a:lnTo>
                      <a:pt x="345" y="447"/>
                    </a:lnTo>
                    <a:close/>
                    <a:moveTo>
                      <a:pt x="355" y="424"/>
                    </a:moveTo>
                    <a:lnTo>
                      <a:pt x="364" y="429"/>
                    </a:lnTo>
                    <a:lnTo>
                      <a:pt x="362" y="434"/>
                    </a:lnTo>
                    <a:lnTo>
                      <a:pt x="352" y="430"/>
                    </a:lnTo>
                    <a:lnTo>
                      <a:pt x="355" y="424"/>
                    </a:lnTo>
                    <a:close/>
                    <a:moveTo>
                      <a:pt x="364" y="401"/>
                    </a:moveTo>
                    <a:lnTo>
                      <a:pt x="374" y="405"/>
                    </a:lnTo>
                    <a:lnTo>
                      <a:pt x="371" y="410"/>
                    </a:lnTo>
                    <a:lnTo>
                      <a:pt x="361" y="406"/>
                    </a:lnTo>
                    <a:lnTo>
                      <a:pt x="364" y="401"/>
                    </a:lnTo>
                    <a:close/>
                    <a:moveTo>
                      <a:pt x="374" y="377"/>
                    </a:moveTo>
                    <a:lnTo>
                      <a:pt x="384" y="381"/>
                    </a:lnTo>
                    <a:lnTo>
                      <a:pt x="380" y="387"/>
                    </a:lnTo>
                    <a:lnTo>
                      <a:pt x="371" y="382"/>
                    </a:lnTo>
                    <a:lnTo>
                      <a:pt x="374" y="377"/>
                    </a:lnTo>
                    <a:close/>
                    <a:moveTo>
                      <a:pt x="383" y="353"/>
                    </a:moveTo>
                    <a:lnTo>
                      <a:pt x="392" y="358"/>
                    </a:lnTo>
                    <a:lnTo>
                      <a:pt x="390" y="363"/>
                    </a:lnTo>
                    <a:lnTo>
                      <a:pt x="380" y="359"/>
                    </a:lnTo>
                    <a:lnTo>
                      <a:pt x="383" y="353"/>
                    </a:lnTo>
                    <a:close/>
                    <a:moveTo>
                      <a:pt x="392" y="330"/>
                    </a:moveTo>
                    <a:lnTo>
                      <a:pt x="402" y="334"/>
                    </a:lnTo>
                    <a:lnTo>
                      <a:pt x="400" y="340"/>
                    </a:lnTo>
                    <a:lnTo>
                      <a:pt x="390" y="336"/>
                    </a:lnTo>
                    <a:lnTo>
                      <a:pt x="392" y="330"/>
                    </a:lnTo>
                    <a:close/>
                    <a:moveTo>
                      <a:pt x="402" y="306"/>
                    </a:moveTo>
                    <a:lnTo>
                      <a:pt x="412" y="310"/>
                    </a:lnTo>
                    <a:lnTo>
                      <a:pt x="409" y="317"/>
                    </a:lnTo>
                    <a:lnTo>
                      <a:pt x="400" y="312"/>
                    </a:lnTo>
                    <a:lnTo>
                      <a:pt x="402" y="306"/>
                    </a:lnTo>
                    <a:close/>
                    <a:moveTo>
                      <a:pt x="412" y="282"/>
                    </a:moveTo>
                    <a:lnTo>
                      <a:pt x="421" y="286"/>
                    </a:lnTo>
                    <a:lnTo>
                      <a:pt x="419" y="293"/>
                    </a:lnTo>
                    <a:lnTo>
                      <a:pt x="409" y="289"/>
                    </a:lnTo>
                    <a:lnTo>
                      <a:pt x="412" y="282"/>
                    </a:lnTo>
                    <a:close/>
                    <a:moveTo>
                      <a:pt x="421" y="260"/>
                    </a:moveTo>
                    <a:lnTo>
                      <a:pt x="431" y="264"/>
                    </a:lnTo>
                    <a:lnTo>
                      <a:pt x="429" y="269"/>
                    </a:lnTo>
                    <a:lnTo>
                      <a:pt x="419" y="265"/>
                    </a:lnTo>
                    <a:lnTo>
                      <a:pt x="421" y="260"/>
                    </a:lnTo>
                    <a:close/>
                    <a:moveTo>
                      <a:pt x="431" y="236"/>
                    </a:moveTo>
                    <a:lnTo>
                      <a:pt x="441" y="240"/>
                    </a:lnTo>
                    <a:lnTo>
                      <a:pt x="437" y="246"/>
                    </a:lnTo>
                    <a:lnTo>
                      <a:pt x="428" y="241"/>
                    </a:lnTo>
                    <a:lnTo>
                      <a:pt x="431" y="236"/>
                    </a:lnTo>
                    <a:close/>
                    <a:moveTo>
                      <a:pt x="441" y="212"/>
                    </a:moveTo>
                    <a:lnTo>
                      <a:pt x="450" y="216"/>
                    </a:lnTo>
                    <a:lnTo>
                      <a:pt x="447" y="222"/>
                    </a:lnTo>
                    <a:lnTo>
                      <a:pt x="437" y="218"/>
                    </a:lnTo>
                    <a:lnTo>
                      <a:pt x="441" y="212"/>
                    </a:lnTo>
                    <a:close/>
                    <a:moveTo>
                      <a:pt x="449" y="188"/>
                    </a:moveTo>
                    <a:lnTo>
                      <a:pt x="459" y="193"/>
                    </a:lnTo>
                    <a:lnTo>
                      <a:pt x="457" y="199"/>
                    </a:lnTo>
                    <a:lnTo>
                      <a:pt x="447" y="195"/>
                    </a:lnTo>
                    <a:lnTo>
                      <a:pt x="449" y="188"/>
                    </a:lnTo>
                    <a:close/>
                    <a:moveTo>
                      <a:pt x="459" y="165"/>
                    </a:moveTo>
                    <a:lnTo>
                      <a:pt x="469" y="169"/>
                    </a:lnTo>
                    <a:lnTo>
                      <a:pt x="466" y="176"/>
                    </a:lnTo>
                    <a:lnTo>
                      <a:pt x="457" y="171"/>
                    </a:lnTo>
                    <a:lnTo>
                      <a:pt x="459" y="165"/>
                    </a:lnTo>
                    <a:close/>
                    <a:moveTo>
                      <a:pt x="469" y="141"/>
                    </a:moveTo>
                    <a:lnTo>
                      <a:pt x="478" y="145"/>
                    </a:lnTo>
                    <a:lnTo>
                      <a:pt x="476" y="152"/>
                    </a:lnTo>
                    <a:lnTo>
                      <a:pt x="466" y="148"/>
                    </a:lnTo>
                    <a:lnTo>
                      <a:pt x="469" y="141"/>
                    </a:lnTo>
                    <a:close/>
                    <a:moveTo>
                      <a:pt x="478" y="118"/>
                    </a:moveTo>
                    <a:lnTo>
                      <a:pt x="488" y="123"/>
                    </a:lnTo>
                    <a:lnTo>
                      <a:pt x="486" y="128"/>
                    </a:lnTo>
                    <a:lnTo>
                      <a:pt x="476" y="124"/>
                    </a:lnTo>
                    <a:lnTo>
                      <a:pt x="478" y="118"/>
                    </a:lnTo>
                    <a:close/>
                    <a:moveTo>
                      <a:pt x="488" y="95"/>
                    </a:moveTo>
                    <a:lnTo>
                      <a:pt x="498" y="99"/>
                    </a:lnTo>
                    <a:lnTo>
                      <a:pt x="495" y="104"/>
                    </a:lnTo>
                    <a:lnTo>
                      <a:pt x="486" y="100"/>
                    </a:lnTo>
                    <a:lnTo>
                      <a:pt x="488" y="95"/>
                    </a:lnTo>
                    <a:close/>
                    <a:moveTo>
                      <a:pt x="498" y="71"/>
                    </a:moveTo>
                    <a:lnTo>
                      <a:pt x="507" y="75"/>
                    </a:lnTo>
                    <a:lnTo>
                      <a:pt x="505" y="81"/>
                    </a:lnTo>
                    <a:lnTo>
                      <a:pt x="495" y="76"/>
                    </a:lnTo>
                    <a:lnTo>
                      <a:pt x="498" y="71"/>
                    </a:lnTo>
                    <a:close/>
                    <a:moveTo>
                      <a:pt x="507" y="47"/>
                    </a:moveTo>
                    <a:lnTo>
                      <a:pt x="517" y="52"/>
                    </a:lnTo>
                    <a:lnTo>
                      <a:pt x="514" y="58"/>
                    </a:lnTo>
                    <a:lnTo>
                      <a:pt x="504" y="54"/>
                    </a:lnTo>
                    <a:lnTo>
                      <a:pt x="507" y="47"/>
                    </a:lnTo>
                    <a:close/>
                    <a:moveTo>
                      <a:pt x="516" y="24"/>
                    </a:moveTo>
                    <a:lnTo>
                      <a:pt x="526" y="28"/>
                    </a:lnTo>
                    <a:lnTo>
                      <a:pt x="523" y="34"/>
                    </a:lnTo>
                    <a:lnTo>
                      <a:pt x="514" y="30"/>
                    </a:lnTo>
                    <a:lnTo>
                      <a:pt x="516" y="24"/>
                    </a:lnTo>
                    <a:close/>
                    <a:moveTo>
                      <a:pt x="526" y="0"/>
                    </a:moveTo>
                    <a:lnTo>
                      <a:pt x="535" y="4"/>
                    </a:lnTo>
                    <a:lnTo>
                      <a:pt x="533" y="11"/>
                    </a:lnTo>
                    <a:lnTo>
                      <a:pt x="523" y="6"/>
                    </a:lnTo>
                    <a:lnTo>
                      <a:pt x="526" y="0"/>
                    </a:lnTo>
                    <a:close/>
                  </a:path>
                </a:pathLst>
              </a:custGeom>
              <a:solidFill>
                <a:srgbClr val="35977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35" name="Rectangle 385"/>
              <p:cNvSpPr>
                <a:spLocks noChangeArrowheads="1"/>
              </p:cNvSpPr>
              <p:nvPr/>
            </p:nvSpPr>
            <p:spPr bwMode="auto">
              <a:xfrm>
                <a:off x="3923" y="1396"/>
                <a:ext cx="11" cy="2"/>
              </a:xfrm>
              <a:prstGeom prst="rect">
                <a:avLst/>
              </a:prstGeom>
              <a:solidFill>
                <a:srgbClr val="35977F"/>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eaLnBrk="1" hangingPunct="1"/>
                <a:endParaRPr lang="es-ES" altLang="es-CL" dirty="0">
                  <a:solidFill>
                    <a:srgbClr val="333333"/>
                  </a:solidFill>
                  <a:latin typeface="Arial" pitchFamily="34" charset="0"/>
                </a:endParaRPr>
              </a:p>
            </p:txBody>
          </p:sp>
          <p:sp>
            <p:nvSpPr>
              <p:cNvPr id="2236" name="Rectangle 386"/>
              <p:cNvSpPr>
                <a:spLocks noChangeArrowheads="1"/>
              </p:cNvSpPr>
              <p:nvPr/>
            </p:nvSpPr>
            <p:spPr bwMode="auto">
              <a:xfrm>
                <a:off x="3322" y="2715"/>
                <a:ext cx="10" cy="4"/>
              </a:xfrm>
              <a:prstGeom prst="rect">
                <a:avLst/>
              </a:prstGeom>
              <a:solidFill>
                <a:srgbClr val="A3A7AC"/>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eaLnBrk="1" hangingPunct="1"/>
                <a:endParaRPr lang="es-ES" altLang="es-CL" dirty="0">
                  <a:solidFill>
                    <a:srgbClr val="333333"/>
                  </a:solidFill>
                  <a:latin typeface="Arial" pitchFamily="34" charset="0"/>
                </a:endParaRPr>
              </a:p>
            </p:txBody>
          </p:sp>
          <p:sp>
            <p:nvSpPr>
              <p:cNvPr id="2237" name="Freeform 387"/>
              <p:cNvSpPr>
                <a:spLocks noEditPoints="1"/>
              </p:cNvSpPr>
              <p:nvPr/>
            </p:nvSpPr>
            <p:spPr bwMode="auto">
              <a:xfrm>
                <a:off x="3328" y="1553"/>
                <a:ext cx="271" cy="1147"/>
              </a:xfrm>
              <a:custGeom>
                <a:avLst/>
                <a:gdLst>
                  <a:gd name="T0" fmla="*/ 0 w 271"/>
                  <a:gd name="T1" fmla="*/ 1145 h 1147"/>
                  <a:gd name="T2" fmla="*/ 15 w 271"/>
                  <a:gd name="T3" fmla="*/ 1123 h 1147"/>
                  <a:gd name="T4" fmla="*/ 22 w 271"/>
                  <a:gd name="T5" fmla="*/ 1091 h 1147"/>
                  <a:gd name="T6" fmla="*/ 18 w 271"/>
                  <a:gd name="T7" fmla="*/ 1064 h 1147"/>
                  <a:gd name="T8" fmla="*/ 18 w 271"/>
                  <a:gd name="T9" fmla="*/ 1064 h 1147"/>
                  <a:gd name="T10" fmla="*/ 23 w 271"/>
                  <a:gd name="T11" fmla="*/ 1046 h 1147"/>
                  <a:gd name="T12" fmla="*/ 38 w 271"/>
                  <a:gd name="T13" fmla="*/ 1023 h 1147"/>
                  <a:gd name="T14" fmla="*/ 44 w 271"/>
                  <a:gd name="T15" fmla="*/ 992 h 1147"/>
                  <a:gd name="T16" fmla="*/ 41 w 271"/>
                  <a:gd name="T17" fmla="*/ 965 h 1147"/>
                  <a:gd name="T18" fmla="*/ 41 w 271"/>
                  <a:gd name="T19" fmla="*/ 965 h 1147"/>
                  <a:gd name="T20" fmla="*/ 45 w 271"/>
                  <a:gd name="T21" fmla="*/ 947 h 1147"/>
                  <a:gd name="T22" fmla="*/ 60 w 271"/>
                  <a:gd name="T23" fmla="*/ 924 h 1147"/>
                  <a:gd name="T24" fmla="*/ 68 w 271"/>
                  <a:gd name="T25" fmla="*/ 894 h 1147"/>
                  <a:gd name="T26" fmla="*/ 64 w 271"/>
                  <a:gd name="T27" fmla="*/ 867 h 1147"/>
                  <a:gd name="T28" fmla="*/ 64 w 271"/>
                  <a:gd name="T29" fmla="*/ 867 h 1147"/>
                  <a:gd name="T30" fmla="*/ 68 w 271"/>
                  <a:gd name="T31" fmla="*/ 848 h 1147"/>
                  <a:gd name="T32" fmla="*/ 83 w 271"/>
                  <a:gd name="T33" fmla="*/ 825 h 1147"/>
                  <a:gd name="T34" fmla="*/ 91 w 271"/>
                  <a:gd name="T35" fmla="*/ 795 h 1147"/>
                  <a:gd name="T36" fmla="*/ 86 w 271"/>
                  <a:gd name="T37" fmla="*/ 768 h 1147"/>
                  <a:gd name="T38" fmla="*/ 86 w 271"/>
                  <a:gd name="T39" fmla="*/ 768 h 1147"/>
                  <a:gd name="T40" fmla="*/ 91 w 271"/>
                  <a:gd name="T41" fmla="*/ 749 h 1147"/>
                  <a:gd name="T42" fmla="*/ 106 w 271"/>
                  <a:gd name="T43" fmla="*/ 726 h 1147"/>
                  <a:gd name="T44" fmla="*/ 113 w 271"/>
                  <a:gd name="T45" fmla="*/ 696 h 1147"/>
                  <a:gd name="T46" fmla="*/ 109 w 271"/>
                  <a:gd name="T47" fmla="*/ 669 h 1147"/>
                  <a:gd name="T48" fmla="*/ 109 w 271"/>
                  <a:gd name="T49" fmla="*/ 669 h 1147"/>
                  <a:gd name="T50" fmla="*/ 113 w 271"/>
                  <a:gd name="T51" fmla="*/ 651 h 1147"/>
                  <a:gd name="T52" fmla="*/ 128 w 271"/>
                  <a:gd name="T53" fmla="*/ 628 h 1147"/>
                  <a:gd name="T54" fmla="*/ 136 w 271"/>
                  <a:gd name="T55" fmla="*/ 597 h 1147"/>
                  <a:gd name="T56" fmla="*/ 131 w 271"/>
                  <a:gd name="T57" fmla="*/ 570 h 1147"/>
                  <a:gd name="T58" fmla="*/ 131 w 271"/>
                  <a:gd name="T59" fmla="*/ 570 h 1147"/>
                  <a:gd name="T60" fmla="*/ 136 w 271"/>
                  <a:gd name="T61" fmla="*/ 552 h 1147"/>
                  <a:gd name="T62" fmla="*/ 151 w 271"/>
                  <a:gd name="T63" fmla="*/ 529 h 1147"/>
                  <a:gd name="T64" fmla="*/ 158 w 271"/>
                  <a:gd name="T65" fmla="*/ 498 h 1147"/>
                  <a:gd name="T66" fmla="*/ 154 w 271"/>
                  <a:gd name="T67" fmla="*/ 471 h 1147"/>
                  <a:gd name="T68" fmla="*/ 154 w 271"/>
                  <a:gd name="T69" fmla="*/ 471 h 1147"/>
                  <a:gd name="T70" fmla="*/ 158 w 271"/>
                  <a:gd name="T71" fmla="*/ 453 h 1147"/>
                  <a:gd name="T72" fmla="*/ 173 w 271"/>
                  <a:gd name="T73" fmla="*/ 430 h 1147"/>
                  <a:gd name="T74" fmla="*/ 181 w 271"/>
                  <a:gd name="T75" fmla="*/ 399 h 1147"/>
                  <a:gd name="T76" fmla="*/ 177 w 271"/>
                  <a:gd name="T77" fmla="*/ 372 h 1147"/>
                  <a:gd name="T78" fmla="*/ 177 w 271"/>
                  <a:gd name="T79" fmla="*/ 372 h 1147"/>
                  <a:gd name="T80" fmla="*/ 181 w 271"/>
                  <a:gd name="T81" fmla="*/ 354 h 1147"/>
                  <a:gd name="T82" fmla="*/ 196 w 271"/>
                  <a:gd name="T83" fmla="*/ 331 h 1147"/>
                  <a:gd name="T84" fmla="*/ 203 w 271"/>
                  <a:gd name="T85" fmla="*/ 300 h 1147"/>
                  <a:gd name="T86" fmla="*/ 199 w 271"/>
                  <a:gd name="T87" fmla="*/ 273 h 1147"/>
                  <a:gd name="T88" fmla="*/ 199 w 271"/>
                  <a:gd name="T89" fmla="*/ 273 h 1147"/>
                  <a:gd name="T90" fmla="*/ 203 w 271"/>
                  <a:gd name="T91" fmla="*/ 254 h 1147"/>
                  <a:gd name="T92" fmla="*/ 219 w 271"/>
                  <a:gd name="T93" fmla="*/ 232 h 1147"/>
                  <a:gd name="T94" fmla="*/ 226 w 271"/>
                  <a:gd name="T95" fmla="*/ 201 h 1147"/>
                  <a:gd name="T96" fmla="*/ 222 w 271"/>
                  <a:gd name="T97" fmla="*/ 174 h 1147"/>
                  <a:gd name="T98" fmla="*/ 222 w 271"/>
                  <a:gd name="T99" fmla="*/ 174 h 1147"/>
                  <a:gd name="T100" fmla="*/ 226 w 271"/>
                  <a:gd name="T101" fmla="*/ 155 h 1147"/>
                  <a:gd name="T102" fmla="*/ 241 w 271"/>
                  <a:gd name="T103" fmla="*/ 133 h 1147"/>
                  <a:gd name="T104" fmla="*/ 249 w 271"/>
                  <a:gd name="T105" fmla="*/ 102 h 1147"/>
                  <a:gd name="T106" fmla="*/ 244 w 271"/>
                  <a:gd name="T107" fmla="*/ 75 h 1147"/>
                  <a:gd name="T108" fmla="*/ 244 w 271"/>
                  <a:gd name="T109" fmla="*/ 75 h 1147"/>
                  <a:gd name="T110" fmla="*/ 249 w 271"/>
                  <a:gd name="T111" fmla="*/ 56 h 1147"/>
                  <a:gd name="T112" fmla="*/ 265 w 271"/>
                  <a:gd name="T113" fmla="*/ 34 h 1147"/>
                  <a:gd name="T114" fmla="*/ 271 w 271"/>
                  <a:gd name="T115" fmla="*/ 2 h 11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71" h="1147">
                    <a:moveTo>
                      <a:pt x="1" y="1139"/>
                    </a:moveTo>
                    <a:lnTo>
                      <a:pt x="11" y="1141"/>
                    </a:lnTo>
                    <a:lnTo>
                      <a:pt x="10" y="1147"/>
                    </a:lnTo>
                    <a:lnTo>
                      <a:pt x="0" y="1145"/>
                    </a:lnTo>
                    <a:lnTo>
                      <a:pt x="1" y="1139"/>
                    </a:lnTo>
                    <a:close/>
                    <a:moveTo>
                      <a:pt x="7" y="1114"/>
                    </a:moveTo>
                    <a:lnTo>
                      <a:pt x="16" y="1116"/>
                    </a:lnTo>
                    <a:lnTo>
                      <a:pt x="15" y="1123"/>
                    </a:lnTo>
                    <a:lnTo>
                      <a:pt x="6" y="1120"/>
                    </a:lnTo>
                    <a:lnTo>
                      <a:pt x="7" y="1114"/>
                    </a:lnTo>
                    <a:close/>
                    <a:moveTo>
                      <a:pt x="12" y="1089"/>
                    </a:moveTo>
                    <a:lnTo>
                      <a:pt x="22" y="1091"/>
                    </a:lnTo>
                    <a:lnTo>
                      <a:pt x="21" y="1098"/>
                    </a:lnTo>
                    <a:lnTo>
                      <a:pt x="11" y="1096"/>
                    </a:lnTo>
                    <a:lnTo>
                      <a:pt x="12" y="1089"/>
                    </a:lnTo>
                    <a:close/>
                    <a:moveTo>
                      <a:pt x="18" y="1064"/>
                    </a:moveTo>
                    <a:lnTo>
                      <a:pt x="28" y="1067"/>
                    </a:lnTo>
                    <a:lnTo>
                      <a:pt x="26" y="1073"/>
                    </a:lnTo>
                    <a:lnTo>
                      <a:pt x="16" y="1071"/>
                    </a:lnTo>
                    <a:lnTo>
                      <a:pt x="18" y="1064"/>
                    </a:lnTo>
                    <a:close/>
                    <a:moveTo>
                      <a:pt x="24" y="1040"/>
                    </a:moveTo>
                    <a:lnTo>
                      <a:pt x="34" y="1042"/>
                    </a:lnTo>
                    <a:lnTo>
                      <a:pt x="32" y="1048"/>
                    </a:lnTo>
                    <a:lnTo>
                      <a:pt x="23" y="1046"/>
                    </a:lnTo>
                    <a:lnTo>
                      <a:pt x="24" y="1040"/>
                    </a:lnTo>
                    <a:close/>
                    <a:moveTo>
                      <a:pt x="29" y="1015"/>
                    </a:moveTo>
                    <a:lnTo>
                      <a:pt x="39" y="1017"/>
                    </a:lnTo>
                    <a:lnTo>
                      <a:pt x="38" y="1023"/>
                    </a:lnTo>
                    <a:lnTo>
                      <a:pt x="28" y="1021"/>
                    </a:lnTo>
                    <a:lnTo>
                      <a:pt x="29" y="1015"/>
                    </a:lnTo>
                    <a:close/>
                    <a:moveTo>
                      <a:pt x="35" y="990"/>
                    </a:moveTo>
                    <a:lnTo>
                      <a:pt x="44" y="992"/>
                    </a:lnTo>
                    <a:lnTo>
                      <a:pt x="43" y="999"/>
                    </a:lnTo>
                    <a:lnTo>
                      <a:pt x="34" y="997"/>
                    </a:lnTo>
                    <a:lnTo>
                      <a:pt x="35" y="990"/>
                    </a:lnTo>
                    <a:close/>
                    <a:moveTo>
                      <a:pt x="41" y="965"/>
                    </a:moveTo>
                    <a:lnTo>
                      <a:pt x="51" y="967"/>
                    </a:lnTo>
                    <a:lnTo>
                      <a:pt x="49" y="974"/>
                    </a:lnTo>
                    <a:lnTo>
                      <a:pt x="39" y="972"/>
                    </a:lnTo>
                    <a:lnTo>
                      <a:pt x="41" y="965"/>
                    </a:lnTo>
                    <a:close/>
                    <a:moveTo>
                      <a:pt x="46" y="941"/>
                    </a:moveTo>
                    <a:lnTo>
                      <a:pt x="56" y="943"/>
                    </a:lnTo>
                    <a:lnTo>
                      <a:pt x="55" y="949"/>
                    </a:lnTo>
                    <a:lnTo>
                      <a:pt x="45" y="947"/>
                    </a:lnTo>
                    <a:lnTo>
                      <a:pt x="46" y="941"/>
                    </a:lnTo>
                    <a:close/>
                    <a:moveTo>
                      <a:pt x="52" y="917"/>
                    </a:moveTo>
                    <a:lnTo>
                      <a:pt x="61" y="919"/>
                    </a:lnTo>
                    <a:lnTo>
                      <a:pt x="60" y="924"/>
                    </a:lnTo>
                    <a:lnTo>
                      <a:pt x="51" y="922"/>
                    </a:lnTo>
                    <a:lnTo>
                      <a:pt x="52" y="917"/>
                    </a:lnTo>
                    <a:close/>
                    <a:moveTo>
                      <a:pt x="58" y="892"/>
                    </a:moveTo>
                    <a:lnTo>
                      <a:pt x="68" y="894"/>
                    </a:lnTo>
                    <a:lnTo>
                      <a:pt x="66" y="900"/>
                    </a:lnTo>
                    <a:lnTo>
                      <a:pt x="56" y="897"/>
                    </a:lnTo>
                    <a:lnTo>
                      <a:pt x="58" y="892"/>
                    </a:lnTo>
                    <a:close/>
                    <a:moveTo>
                      <a:pt x="64" y="867"/>
                    </a:moveTo>
                    <a:lnTo>
                      <a:pt x="73" y="869"/>
                    </a:lnTo>
                    <a:lnTo>
                      <a:pt x="71" y="875"/>
                    </a:lnTo>
                    <a:lnTo>
                      <a:pt x="61" y="873"/>
                    </a:lnTo>
                    <a:lnTo>
                      <a:pt x="64" y="867"/>
                    </a:lnTo>
                    <a:close/>
                    <a:moveTo>
                      <a:pt x="69" y="843"/>
                    </a:moveTo>
                    <a:lnTo>
                      <a:pt x="79" y="845"/>
                    </a:lnTo>
                    <a:lnTo>
                      <a:pt x="78" y="850"/>
                    </a:lnTo>
                    <a:lnTo>
                      <a:pt x="68" y="848"/>
                    </a:lnTo>
                    <a:lnTo>
                      <a:pt x="69" y="843"/>
                    </a:lnTo>
                    <a:close/>
                    <a:moveTo>
                      <a:pt x="74" y="818"/>
                    </a:moveTo>
                    <a:lnTo>
                      <a:pt x="84" y="820"/>
                    </a:lnTo>
                    <a:lnTo>
                      <a:pt x="83" y="825"/>
                    </a:lnTo>
                    <a:lnTo>
                      <a:pt x="73" y="823"/>
                    </a:lnTo>
                    <a:lnTo>
                      <a:pt x="74" y="818"/>
                    </a:lnTo>
                    <a:close/>
                    <a:moveTo>
                      <a:pt x="81" y="793"/>
                    </a:moveTo>
                    <a:lnTo>
                      <a:pt x="91" y="795"/>
                    </a:lnTo>
                    <a:lnTo>
                      <a:pt x="88" y="801"/>
                    </a:lnTo>
                    <a:lnTo>
                      <a:pt x="79" y="798"/>
                    </a:lnTo>
                    <a:lnTo>
                      <a:pt x="81" y="793"/>
                    </a:lnTo>
                    <a:close/>
                    <a:moveTo>
                      <a:pt x="86" y="768"/>
                    </a:moveTo>
                    <a:lnTo>
                      <a:pt x="96" y="770"/>
                    </a:lnTo>
                    <a:lnTo>
                      <a:pt x="95" y="776"/>
                    </a:lnTo>
                    <a:lnTo>
                      <a:pt x="85" y="774"/>
                    </a:lnTo>
                    <a:lnTo>
                      <a:pt x="86" y="768"/>
                    </a:lnTo>
                    <a:close/>
                    <a:moveTo>
                      <a:pt x="92" y="743"/>
                    </a:moveTo>
                    <a:lnTo>
                      <a:pt x="101" y="746"/>
                    </a:lnTo>
                    <a:lnTo>
                      <a:pt x="100" y="751"/>
                    </a:lnTo>
                    <a:lnTo>
                      <a:pt x="91" y="749"/>
                    </a:lnTo>
                    <a:lnTo>
                      <a:pt x="92" y="743"/>
                    </a:lnTo>
                    <a:close/>
                    <a:moveTo>
                      <a:pt x="97" y="719"/>
                    </a:moveTo>
                    <a:lnTo>
                      <a:pt x="107" y="721"/>
                    </a:lnTo>
                    <a:lnTo>
                      <a:pt x="106" y="726"/>
                    </a:lnTo>
                    <a:lnTo>
                      <a:pt x="96" y="724"/>
                    </a:lnTo>
                    <a:lnTo>
                      <a:pt x="97" y="719"/>
                    </a:lnTo>
                    <a:close/>
                    <a:moveTo>
                      <a:pt x="103" y="694"/>
                    </a:moveTo>
                    <a:lnTo>
                      <a:pt x="113" y="696"/>
                    </a:lnTo>
                    <a:lnTo>
                      <a:pt x="111" y="701"/>
                    </a:lnTo>
                    <a:lnTo>
                      <a:pt x="101" y="699"/>
                    </a:lnTo>
                    <a:lnTo>
                      <a:pt x="103" y="694"/>
                    </a:lnTo>
                    <a:close/>
                    <a:moveTo>
                      <a:pt x="109" y="669"/>
                    </a:moveTo>
                    <a:lnTo>
                      <a:pt x="118" y="671"/>
                    </a:lnTo>
                    <a:lnTo>
                      <a:pt x="117" y="678"/>
                    </a:lnTo>
                    <a:lnTo>
                      <a:pt x="108" y="676"/>
                    </a:lnTo>
                    <a:lnTo>
                      <a:pt x="109" y="669"/>
                    </a:lnTo>
                    <a:close/>
                    <a:moveTo>
                      <a:pt x="114" y="644"/>
                    </a:moveTo>
                    <a:lnTo>
                      <a:pt x="124" y="646"/>
                    </a:lnTo>
                    <a:lnTo>
                      <a:pt x="123" y="653"/>
                    </a:lnTo>
                    <a:lnTo>
                      <a:pt x="113" y="651"/>
                    </a:lnTo>
                    <a:lnTo>
                      <a:pt x="114" y="644"/>
                    </a:lnTo>
                    <a:close/>
                    <a:moveTo>
                      <a:pt x="120" y="620"/>
                    </a:moveTo>
                    <a:lnTo>
                      <a:pt x="129" y="622"/>
                    </a:lnTo>
                    <a:lnTo>
                      <a:pt x="128" y="628"/>
                    </a:lnTo>
                    <a:lnTo>
                      <a:pt x="118" y="626"/>
                    </a:lnTo>
                    <a:lnTo>
                      <a:pt x="120" y="620"/>
                    </a:lnTo>
                    <a:close/>
                    <a:moveTo>
                      <a:pt x="126" y="595"/>
                    </a:moveTo>
                    <a:lnTo>
                      <a:pt x="136" y="597"/>
                    </a:lnTo>
                    <a:lnTo>
                      <a:pt x="134" y="603"/>
                    </a:lnTo>
                    <a:lnTo>
                      <a:pt x="124" y="601"/>
                    </a:lnTo>
                    <a:lnTo>
                      <a:pt x="126" y="595"/>
                    </a:lnTo>
                    <a:close/>
                    <a:moveTo>
                      <a:pt x="131" y="570"/>
                    </a:moveTo>
                    <a:lnTo>
                      <a:pt x="141" y="572"/>
                    </a:lnTo>
                    <a:lnTo>
                      <a:pt x="140" y="579"/>
                    </a:lnTo>
                    <a:lnTo>
                      <a:pt x="130" y="576"/>
                    </a:lnTo>
                    <a:lnTo>
                      <a:pt x="131" y="570"/>
                    </a:lnTo>
                    <a:close/>
                    <a:moveTo>
                      <a:pt x="137" y="545"/>
                    </a:moveTo>
                    <a:lnTo>
                      <a:pt x="146" y="547"/>
                    </a:lnTo>
                    <a:lnTo>
                      <a:pt x="145" y="554"/>
                    </a:lnTo>
                    <a:lnTo>
                      <a:pt x="136" y="552"/>
                    </a:lnTo>
                    <a:lnTo>
                      <a:pt x="137" y="545"/>
                    </a:lnTo>
                    <a:close/>
                    <a:moveTo>
                      <a:pt x="143" y="520"/>
                    </a:moveTo>
                    <a:lnTo>
                      <a:pt x="153" y="523"/>
                    </a:lnTo>
                    <a:lnTo>
                      <a:pt x="151" y="529"/>
                    </a:lnTo>
                    <a:lnTo>
                      <a:pt x="141" y="527"/>
                    </a:lnTo>
                    <a:lnTo>
                      <a:pt x="143" y="520"/>
                    </a:lnTo>
                    <a:close/>
                    <a:moveTo>
                      <a:pt x="149" y="496"/>
                    </a:moveTo>
                    <a:lnTo>
                      <a:pt x="158" y="498"/>
                    </a:lnTo>
                    <a:lnTo>
                      <a:pt x="156" y="504"/>
                    </a:lnTo>
                    <a:lnTo>
                      <a:pt x="146" y="502"/>
                    </a:lnTo>
                    <a:lnTo>
                      <a:pt x="149" y="496"/>
                    </a:lnTo>
                    <a:close/>
                    <a:moveTo>
                      <a:pt x="154" y="471"/>
                    </a:moveTo>
                    <a:lnTo>
                      <a:pt x="164" y="473"/>
                    </a:lnTo>
                    <a:lnTo>
                      <a:pt x="163" y="480"/>
                    </a:lnTo>
                    <a:lnTo>
                      <a:pt x="153" y="477"/>
                    </a:lnTo>
                    <a:lnTo>
                      <a:pt x="154" y="471"/>
                    </a:lnTo>
                    <a:close/>
                    <a:moveTo>
                      <a:pt x="159" y="446"/>
                    </a:moveTo>
                    <a:lnTo>
                      <a:pt x="169" y="448"/>
                    </a:lnTo>
                    <a:lnTo>
                      <a:pt x="168" y="455"/>
                    </a:lnTo>
                    <a:lnTo>
                      <a:pt x="158" y="453"/>
                    </a:lnTo>
                    <a:lnTo>
                      <a:pt x="159" y="446"/>
                    </a:lnTo>
                    <a:close/>
                    <a:moveTo>
                      <a:pt x="166" y="421"/>
                    </a:moveTo>
                    <a:lnTo>
                      <a:pt x="175" y="424"/>
                    </a:lnTo>
                    <a:lnTo>
                      <a:pt x="173" y="430"/>
                    </a:lnTo>
                    <a:lnTo>
                      <a:pt x="164" y="428"/>
                    </a:lnTo>
                    <a:lnTo>
                      <a:pt x="166" y="421"/>
                    </a:lnTo>
                    <a:close/>
                    <a:moveTo>
                      <a:pt x="171" y="397"/>
                    </a:moveTo>
                    <a:lnTo>
                      <a:pt x="181" y="399"/>
                    </a:lnTo>
                    <a:lnTo>
                      <a:pt x="180" y="405"/>
                    </a:lnTo>
                    <a:lnTo>
                      <a:pt x="170" y="403"/>
                    </a:lnTo>
                    <a:lnTo>
                      <a:pt x="171" y="397"/>
                    </a:lnTo>
                    <a:close/>
                    <a:moveTo>
                      <a:pt x="177" y="372"/>
                    </a:moveTo>
                    <a:lnTo>
                      <a:pt x="186" y="374"/>
                    </a:lnTo>
                    <a:lnTo>
                      <a:pt x="185" y="380"/>
                    </a:lnTo>
                    <a:lnTo>
                      <a:pt x="175" y="378"/>
                    </a:lnTo>
                    <a:lnTo>
                      <a:pt x="177" y="372"/>
                    </a:lnTo>
                    <a:close/>
                    <a:moveTo>
                      <a:pt x="182" y="347"/>
                    </a:moveTo>
                    <a:lnTo>
                      <a:pt x="192" y="349"/>
                    </a:lnTo>
                    <a:lnTo>
                      <a:pt x="191" y="356"/>
                    </a:lnTo>
                    <a:lnTo>
                      <a:pt x="181" y="354"/>
                    </a:lnTo>
                    <a:lnTo>
                      <a:pt x="182" y="347"/>
                    </a:lnTo>
                    <a:close/>
                    <a:moveTo>
                      <a:pt x="188" y="322"/>
                    </a:moveTo>
                    <a:lnTo>
                      <a:pt x="198" y="324"/>
                    </a:lnTo>
                    <a:lnTo>
                      <a:pt x="196" y="331"/>
                    </a:lnTo>
                    <a:lnTo>
                      <a:pt x="186" y="329"/>
                    </a:lnTo>
                    <a:lnTo>
                      <a:pt x="188" y="322"/>
                    </a:lnTo>
                    <a:close/>
                    <a:moveTo>
                      <a:pt x="194" y="298"/>
                    </a:moveTo>
                    <a:lnTo>
                      <a:pt x="203" y="300"/>
                    </a:lnTo>
                    <a:lnTo>
                      <a:pt x="202" y="306"/>
                    </a:lnTo>
                    <a:lnTo>
                      <a:pt x="193" y="304"/>
                    </a:lnTo>
                    <a:lnTo>
                      <a:pt x="194" y="298"/>
                    </a:lnTo>
                    <a:close/>
                    <a:moveTo>
                      <a:pt x="199" y="273"/>
                    </a:moveTo>
                    <a:lnTo>
                      <a:pt x="209" y="275"/>
                    </a:lnTo>
                    <a:lnTo>
                      <a:pt x="208" y="281"/>
                    </a:lnTo>
                    <a:lnTo>
                      <a:pt x="198" y="279"/>
                    </a:lnTo>
                    <a:lnTo>
                      <a:pt x="199" y="273"/>
                    </a:lnTo>
                    <a:close/>
                    <a:moveTo>
                      <a:pt x="205" y="248"/>
                    </a:moveTo>
                    <a:lnTo>
                      <a:pt x="214" y="250"/>
                    </a:lnTo>
                    <a:lnTo>
                      <a:pt x="213" y="257"/>
                    </a:lnTo>
                    <a:lnTo>
                      <a:pt x="203" y="254"/>
                    </a:lnTo>
                    <a:lnTo>
                      <a:pt x="205" y="248"/>
                    </a:lnTo>
                    <a:close/>
                    <a:moveTo>
                      <a:pt x="211" y="223"/>
                    </a:moveTo>
                    <a:lnTo>
                      <a:pt x="221" y="225"/>
                    </a:lnTo>
                    <a:lnTo>
                      <a:pt x="219" y="232"/>
                    </a:lnTo>
                    <a:lnTo>
                      <a:pt x="209" y="230"/>
                    </a:lnTo>
                    <a:lnTo>
                      <a:pt x="211" y="223"/>
                    </a:lnTo>
                    <a:close/>
                    <a:moveTo>
                      <a:pt x="216" y="198"/>
                    </a:moveTo>
                    <a:lnTo>
                      <a:pt x="226" y="201"/>
                    </a:lnTo>
                    <a:lnTo>
                      <a:pt x="225" y="207"/>
                    </a:lnTo>
                    <a:lnTo>
                      <a:pt x="215" y="205"/>
                    </a:lnTo>
                    <a:lnTo>
                      <a:pt x="216" y="198"/>
                    </a:lnTo>
                    <a:close/>
                    <a:moveTo>
                      <a:pt x="222" y="174"/>
                    </a:moveTo>
                    <a:lnTo>
                      <a:pt x="231" y="176"/>
                    </a:lnTo>
                    <a:lnTo>
                      <a:pt x="230" y="182"/>
                    </a:lnTo>
                    <a:lnTo>
                      <a:pt x="221" y="180"/>
                    </a:lnTo>
                    <a:lnTo>
                      <a:pt x="222" y="174"/>
                    </a:lnTo>
                    <a:close/>
                    <a:moveTo>
                      <a:pt x="228" y="149"/>
                    </a:moveTo>
                    <a:lnTo>
                      <a:pt x="238" y="151"/>
                    </a:lnTo>
                    <a:lnTo>
                      <a:pt x="236" y="158"/>
                    </a:lnTo>
                    <a:lnTo>
                      <a:pt x="226" y="155"/>
                    </a:lnTo>
                    <a:lnTo>
                      <a:pt x="228" y="149"/>
                    </a:lnTo>
                    <a:close/>
                    <a:moveTo>
                      <a:pt x="234" y="124"/>
                    </a:moveTo>
                    <a:lnTo>
                      <a:pt x="243" y="126"/>
                    </a:lnTo>
                    <a:lnTo>
                      <a:pt x="241" y="133"/>
                    </a:lnTo>
                    <a:lnTo>
                      <a:pt x="231" y="131"/>
                    </a:lnTo>
                    <a:lnTo>
                      <a:pt x="234" y="124"/>
                    </a:lnTo>
                    <a:close/>
                    <a:moveTo>
                      <a:pt x="239" y="99"/>
                    </a:moveTo>
                    <a:lnTo>
                      <a:pt x="249" y="102"/>
                    </a:lnTo>
                    <a:lnTo>
                      <a:pt x="248" y="108"/>
                    </a:lnTo>
                    <a:lnTo>
                      <a:pt x="238" y="106"/>
                    </a:lnTo>
                    <a:lnTo>
                      <a:pt x="239" y="99"/>
                    </a:lnTo>
                    <a:close/>
                    <a:moveTo>
                      <a:pt x="244" y="75"/>
                    </a:moveTo>
                    <a:lnTo>
                      <a:pt x="254" y="77"/>
                    </a:lnTo>
                    <a:lnTo>
                      <a:pt x="253" y="83"/>
                    </a:lnTo>
                    <a:lnTo>
                      <a:pt x="243" y="81"/>
                    </a:lnTo>
                    <a:lnTo>
                      <a:pt x="244" y="75"/>
                    </a:lnTo>
                    <a:close/>
                    <a:moveTo>
                      <a:pt x="251" y="50"/>
                    </a:moveTo>
                    <a:lnTo>
                      <a:pt x="260" y="52"/>
                    </a:lnTo>
                    <a:lnTo>
                      <a:pt x="258" y="58"/>
                    </a:lnTo>
                    <a:lnTo>
                      <a:pt x="249" y="56"/>
                    </a:lnTo>
                    <a:lnTo>
                      <a:pt x="251" y="50"/>
                    </a:lnTo>
                    <a:close/>
                    <a:moveTo>
                      <a:pt x="256" y="25"/>
                    </a:moveTo>
                    <a:lnTo>
                      <a:pt x="266" y="27"/>
                    </a:lnTo>
                    <a:lnTo>
                      <a:pt x="265" y="34"/>
                    </a:lnTo>
                    <a:lnTo>
                      <a:pt x="255" y="32"/>
                    </a:lnTo>
                    <a:lnTo>
                      <a:pt x="256" y="25"/>
                    </a:lnTo>
                    <a:close/>
                    <a:moveTo>
                      <a:pt x="262" y="0"/>
                    </a:moveTo>
                    <a:lnTo>
                      <a:pt x="271" y="2"/>
                    </a:lnTo>
                    <a:lnTo>
                      <a:pt x="270" y="9"/>
                    </a:lnTo>
                    <a:lnTo>
                      <a:pt x="260" y="7"/>
                    </a:lnTo>
                    <a:lnTo>
                      <a:pt x="262" y="0"/>
                    </a:lnTo>
                    <a:close/>
                  </a:path>
                </a:pathLst>
              </a:custGeom>
              <a:solidFill>
                <a:srgbClr val="A3A7A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38" name="Rectangle 388"/>
              <p:cNvSpPr>
                <a:spLocks noChangeArrowheads="1"/>
              </p:cNvSpPr>
              <p:nvPr/>
            </p:nvSpPr>
            <p:spPr bwMode="auto">
              <a:xfrm>
                <a:off x="3595" y="1533"/>
                <a:ext cx="11" cy="3"/>
              </a:xfrm>
              <a:prstGeom prst="rect">
                <a:avLst/>
              </a:prstGeom>
              <a:solidFill>
                <a:srgbClr val="A3A7AC"/>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eaLnBrk="1" hangingPunct="1"/>
                <a:endParaRPr lang="es-ES" altLang="es-CL" dirty="0">
                  <a:solidFill>
                    <a:srgbClr val="333333"/>
                  </a:solidFill>
                  <a:latin typeface="Arial" pitchFamily="34" charset="0"/>
                </a:endParaRPr>
              </a:p>
            </p:txBody>
          </p:sp>
          <p:sp>
            <p:nvSpPr>
              <p:cNvPr id="2239" name="Freeform 389"/>
              <p:cNvSpPr>
                <a:spLocks/>
              </p:cNvSpPr>
              <p:nvPr/>
            </p:nvSpPr>
            <p:spPr bwMode="auto">
              <a:xfrm>
                <a:off x="3875" y="1215"/>
                <a:ext cx="174" cy="175"/>
              </a:xfrm>
              <a:custGeom>
                <a:avLst/>
                <a:gdLst>
                  <a:gd name="T0" fmla="*/ 87 w 174"/>
                  <a:gd name="T1" fmla="*/ 0 h 175"/>
                  <a:gd name="T2" fmla="*/ 110 w 174"/>
                  <a:gd name="T3" fmla="*/ 3 h 175"/>
                  <a:gd name="T4" fmla="*/ 131 w 174"/>
                  <a:gd name="T5" fmla="*/ 12 h 175"/>
                  <a:gd name="T6" fmla="*/ 148 w 174"/>
                  <a:gd name="T7" fmla="*/ 26 h 175"/>
                  <a:gd name="T8" fmla="*/ 162 w 174"/>
                  <a:gd name="T9" fmla="*/ 44 h 175"/>
                  <a:gd name="T10" fmla="*/ 171 w 174"/>
                  <a:gd name="T11" fmla="*/ 65 h 175"/>
                  <a:gd name="T12" fmla="*/ 174 w 174"/>
                  <a:gd name="T13" fmla="*/ 87 h 175"/>
                  <a:gd name="T14" fmla="*/ 171 w 174"/>
                  <a:gd name="T15" fmla="*/ 111 h 175"/>
                  <a:gd name="T16" fmla="*/ 162 w 174"/>
                  <a:gd name="T17" fmla="*/ 133 h 175"/>
                  <a:gd name="T18" fmla="*/ 148 w 174"/>
                  <a:gd name="T19" fmla="*/ 150 h 175"/>
                  <a:gd name="T20" fmla="*/ 131 w 174"/>
                  <a:gd name="T21" fmla="*/ 163 h 175"/>
                  <a:gd name="T22" fmla="*/ 110 w 174"/>
                  <a:gd name="T23" fmla="*/ 171 h 175"/>
                  <a:gd name="T24" fmla="*/ 87 w 174"/>
                  <a:gd name="T25" fmla="*/ 175 h 175"/>
                  <a:gd name="T26" fmla="*/ 64 w 174"/>
                  <a:gd name="T27" fmla="*/ 171 h 175"/>
                  <a:gd name="T28" fmla="*/ 44 w 174"/>
                  <a:gd name="T29" fmla="*/ 163 h 175"/>
                  <a:gd name="T30" fmla="*/ 25 w 174"/>
                  <a:gd name="T31" fmla="*/ 150 h 175"/>
                  <a:gd name="T32" fmla="*/ 11 w 174"/>
                  <a:gd name="T33" fmla="*/ 133 h 175"/>
                  <a:gd name="T34" fmla="*/ 3 w 174"/>
                  <a:gd name="T35" fmla="*/ 111 h 175"/>
                  <a:gd name="T36" fmla="*/ 0 w 174"/>
                  <a:gd name="T37" fmla="*/ 87 h 175"/>
                  <a:gd name="T38" fmla="*/ 3 w 174"/>
                  <a:gd name="T39" fmla="*/ 65 h 175"/>
                  <a:gd name="T40" fmla="*/ 11 w 174"/>
                  <a:gd name="T41" fmla="*/ 44 h 175"/>
                  <a:gd name="T42" fmla="*/ 25 w 174"/>
                  <a:gd name="T43" fmla="*/ 26 h 175"/>
                  <a:gd name="T44" fmla="*/ 44 w 174"/>
                  <a:gd name="T45" fmla="*/ 12 h 175"/>
                  <a:gd name="T46" fmla="*/ 64 w 174"/>
                  <a:gd name="T47" fmla="*/ 3 h 175"/>
                  <a:gd name="T48" fmla="*/ 87 w 174"/>
                  <a:gd name="T49" fmla="*/ 0 h 17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74" h="175">
                    <a:moveTo>
                      <a:pt x="87" y="0"/>
                    </a:moveTo>
                    <a:lnTo>
                      <a:pt x="110" y="3"/>
                    </a:lnTo>
                    <a:lnTo>
                      <a:pt x="131" y="12"/>
                    </a:lnTo>
                    <a:lnTo>
                      <a:pt x="148" y="26"/>
                    </a:lnTo>
                    <a:lnTo>
                      <a:pt x="162" y="44"/>
                    </a:lnTo>
                    <a:lnTo>
                      <a:pt x="171" y="65"/>
                    </a:lnTo>
                    <a:lnTo>
                      <a:pt x="174" y="87"/>
                    </a:lnTo>
                    <a:lnTo>
                      <a:pt x="171" y="111"/>
                    </a:lnTo>
                    <a:lnTo>
                      <a:pt x="162" y="133"/>
                    </a:lnTo>
                    <a:lnTo>
                      <a:pt x="148" y="150"/>
                    </a:lnTo>
                    <a:lnTo>
                      <a:pt x="131" y="163"/>
                    </a:lnTo>
                    <a:lnTo>
                      <a:pt x="110" y="171"/>
                    </a:lnTo>
                    <a:lnTo>
                      <a:pt x="87" y="175"/>
                    </a:lnTo>
                    <a:lnTo>
                      <a:pt x="64" y="171"/>
                    </a:lnTo>
                    <a:lnTo>
                      <a:pt x="44" y="163"/>
                    </a:lnTo>
                    <a:lnTo>
                      <a:pt x="25" y="150"/>
                    </a:lnTo>
                    <a:lnTo>
                      <a:pt x="11" y="133"/>
                    </a:lnTo>
                    <a:lnTo>
                      <a:pt x="3" y="111"/>
                    </a:lnTo>
                    <a:lnTo>
                      <a:pt x="0" y="87"/>
                    </a:lnTo>
                    <a:lnTo>
                      <a:pt x="3" y="65"/>
                    </a:lnTo>
                    <a:lnTo>
                      <a:pt x="11" y="44"/>
                    </a:lnTo>
                    <a:lnTo>
                      <a:pt x="25" y="26"/>
                    </a:lnTo>
                    <a:lnTo>
                      <a:pt x="44" y="12"/>
                    </a:lnTo>
                    <a:lnTo>
                      <a:pt x="64" y="3"/>
                    </a:lnTo>
                    <a:lnTo>
                      <a:pt x="87" y="0"/>
                    </a:lnTo>
                    <a:close/>
                  </a:path>
                </a:pathLst>
              </a:custGeom>
              <a:solidFill>
                <a:srgbClr val="29426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40" name="Freeform 390"/>
              <p:cNvSpPr>
                <a:spLocks noEditPoints="1"/>
              </p:cNvSpPr>
              <p:nvPr/>
            </p:nvSpPr>
            <p:spPr bwMode="auto">
              <a:xfrm>
                <a:off x="3870" y="1209"/>
                <a:ext cx="185" cy="186"/>
              </a:xfrm>
              <a:custGeom>
                <a:avLst/>
                <a:gdLst>
                  <a:gd name="T0" fmla="*/ 94 w 185"/>
                  <a:gd name="T1" fmla="*/ 11 h 186"/>
                  <a:gd name="T2" fmla="*/ 72 w 185"/>
                  <a:gd name="T3" fmla="*/ 14 h 186"/>
                  <a:gd name="T4" fmla="*/ 52 w 185"/>
                  <a:gd name="T5" fmla="*/ 21 h 186"/>
                  <a:gd name="T6" fmla="*/ 35 w 185"/>
                  <a:gd name="T7" fmla="*/ 35 h 186"/>
                  <a:gd name="T8" fmla="*/ 22 w 185"/>
                  <a:gd name="T9" fmla="*/ 52 h 186"/>
                  <a:gd name="T10" fmla="*/ 13 w 185"/>
                  <a:gd name="T11" fmla="*/ 72 h 186"/>
                  <a:gd name="T12" fmla="*/ 11 w 185"/>
                  <a:gd name="T13" fmla="*/ 93 h 186"/>
                  <a:gd name="T14" fmla="*/ 13 w 185"/>
                  <a:gd name="T15" fmla="*/ 114 h 186"/>
                  <a:gd name="T16" fmla="*/ 22 w 185"/>
                  <a:gd name="T17" fmla="*/ 133 h 186"/>
                  <a:gd name="T18" fmla="*/ 35 w 185"/>
                  <a:gd name="T19" fmla="*/ 150 h 186"/>
                  <a:gd name="T20" fmla="*/ 52 w 185"/>
                  <a:gd name="T21" fmla="*/ 163 h 186"/>
                  <a:gd name="T22" fmla="*/ 72 w 185"/>
                  <a:gd name="T23" fmla="*/ 172 h 186"/>
                  <a:gd name="T24" fmla="*/ 94 w 185"/>
                  <a:gd name="T25" fmla="*/ 174 h 186"/>
                  <a:gd name="T26" fmla="*/ 114 w 185"/>
                  <a:gd name="T27" fmla="*/ 172 h 186"/>
                  <a:gd name="T28" fmla="*/ 134 w 185"/>
                  <a:gd name="T29" fmla="*/ 163 h 186"/>
                  <a:gd name="T30" fmla="*/ 151 w 185"/>
                  <a:gd name="T31" fmla="*/ 150 h 186"/>
                  <a:gd name="T32" fmla="*/ 164 w 185"/>
                  <a:gd name="T33" fmla="*/ 133 h 186"/>
                  <a:gd name="T34" fmla="*/ 171 w 185"/>
                  <a:gd name="T35" fmla="*/ 114 h 186"/>
                  <a:gd name="T36" fmla="*/ 174 w 185"/>
                  <a:gd name="T37" fmla="*/ 93 h 186"/>
                  <a:gd name="T38" fmla="*/ 171 w 185"/>
                  <a:gd name="T39" fmla="*/ 72 h 186"/>
                  <a:gd name="T40" fmla="*/ 164 w 185"/>
                  <a:gd name="T41" fmla="*/ 52 h 186"/>
                  <a:gd name="T42" fmla="*/ 151 w 185"/>
                  <a:gd name="T43" fmla="*/ 35 h 186"/>
                  <a:gd name="T44" fmla="*/ 134 w 185"/>
                  <a:gd name="T45" fmla="*/ 21 h 186"/>
                  <a:gd name="T46" fmla="*/ 114 w 185"/>
                  <a:gd name="T47" fmla="*/ 14 h 186"/>
                  <a:gd name="T48" fmla="*/ 94 w 185"/>
                  <a:gd name="T49" fmla="*/ 11 h 186"/>
                  <a:gd name="T50" fmla="*/ 94 w 185"/>
                  <a:gd name="T51" fmla="*/ 0 h 186"/>
                  <a:gd name="T52" fmla="*/ 111 w 185"/>
                  <a:gd name="T53" fmla="*/ 2 h 186"/>
                  <a:gd name="T54" fmla="*/ 128 w 185"/>
                  <a:gd name="T55" fmla="*/ 7 h 186"/>
                  <a:gd name="T56" fmla="*/ 144 w 185"/>
                  <a:gd name="T57" fmla="*/ 16 h 186"/>
                  <a:gd name="T58" fmla="*/ 158 w 185"/>
                  <a:gd name="T59" fmla="*/ 27 h 186"/>
                  <a:gd name="T60" fmla="*/ 170 w 185"/>
                  <a:gd name="T61" fmla="*/ 42 h 186"/>
                  <a:gd name="T62" fmla="*/ 179 w 185"/>
                  <a:gd name="T63" fmla="*/ 57 h 186"/>
                  <a:gd name="T64" fmla="*/ 183 w 185"/>
                  <a:gd name="T65" fmla="*/ 75 h 186"/>
                  <a:gd name="T66" fmla="*/ 185 w 185"/>
                  <a:gd name="T67" fmla="*/ 93 h 186"/>
                  <a:gd name="T68" fmla="*/ 183 w 185"/>
                  <a:gd name="T69" fmla="*/ 112 h 186"/>
                  <a:gd name="T70" fmla="*/ 179 w 185"/>
                  <a:gd name="T71" fmla="*/ 129 h 186"/>
                  <a:gd name="T72" fmla="*/ 170 w 185"/>
                  <a:gd name="T73" fmla="*/ 144 h 186"/>
                  <a:gd name="T74" fmla="*/ 158 w 185"/>
                  <a:gd name="T75" fmla="*/ 159 h 186"/>
                  <a:gd name="T76" fmla="*/ 144 w 185"/>
                  <a:gd name="T77" fmla="*/ 170 h 186"/>
                  <a:gd name="T78" fmla="*/ 128 w 185"/>
                  <a:gd name="T79" fmla="*/ 178 h 186"/>
                  <a:gd name="T80" fmla="*/ 111 w 185"/>
                  <a:gd name="T81" fmla="*/ 184 h 186"/>
                  <a:gd name="T82" fmla="*/ 94 w 185"/>
                  <a:gd name="T83" fmla="*/ 186 h 186"/>
                  <a:gd name="T84" fmla="*/ 74 w 185"/>
                  <a:gd name="T85" fmla="*/ 184 h 186"/>
                  <a:gd name="T86" fmla="*/ 57 w 185"/>
                  <a:gd name="T87" fmla="*/ 178 h 186"/>
                  <a:gd name="T88" fmla="*/ 41 w 185"/>
                  <a:gd name="T89" fmla="*/ 170 h 186"/>
                  <a:gd name="T90" fmla="*/ 27 w 185"/>
                  <a:gd name="T91" fmla="*/ 159 h 186"/>
                  <a:gd name="T92" fmla="*/ 15 w 185"/>
                  <a:gd name="T93" fmla="*/ 144 h 186"/>
                  <a:gd name="T94" fmla="*/ 7 w 185"/>
                  <a:gd name="T95" fmla="*/ 129 h 186"/>
                  <a:gd name="T96" fmla="*/ 1 w 185"/>
                  <a:gd name="T97" fmla="*/ 112 h 186"/>
                  <a:gd name="T98" fmla="*/ 0 w 185"/>
                  <a:gd name="T99" fmla="*/ 93 h 186"/>
                  <a:gd name="T100" fmla="*/ 1 w 185"/>
                  <a:gd name="T101" fmla="*/ 75 h 186"/>
                  <a:gd name="T102" fmla="*/ 7 w 185"/>
                  <a:gd name="T103" fmla="*/ 57 h 186"/>
                  <a:gd name="T104" fmla="*/ 15 w 185"/>
                  <a:gd name="T105" fmla="*/ 42 h 186"/>
                  <a:gd name="T106" fmla="*/ 27 w 185"/>
                  <a:gd name="T107" fmla="*/ 27 h 186"/>
                  <a:gd name="T108" fmla="*/ 41 w 185"/>
                  <a:gd name="T109" fmla="*/ 16 h 186"/>
                  <a:gd name="T110" fmla="*/ 57 w 185"/>
                  <a:gd name="T111" fmla="*/ 7 h 186"/>
                  <a:gd name="T112" fmla="*/ 74 w 185"/>
                  <a:gd name="T113" fmla="*/ 2 h 186"/>
                  <a:gd name="T114" fmla="*/ 94 w 185"/>
                  <a:gd name="T115" fmla="*/ 0 h 18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85" h="186">
                    <a:moveTo>
                      <a:pt x="94" y="11"/>
                    </a:moveTo>
                    <a:lnTo>
                      <a:pt x="72" y="14"/>
                    </a:lnTo>
                    <a:lnTo>
                      <a:pt x="52" y="21"/>
                    </a:lnTo>
                    <a:lnTo>
                      <a:pt x="35" y="35"/>
                    </a:lnTo>
                    <a:lnTo>
                      <a:pt x="22" y="52"/>
                    </a:lnTo>
                    <a:lnTo>
                      <a:pt x="13" y="72"/>
                    </a:lnTo>
                    <a:lnTo>
                      <a:pt x="11" y="93"/>
                    </a:lnTo>
                    <a:lnTo>
                      <a:pt x="13" y="114"/>
                    </a:lnTo>
                    <a:lnTo>
                      <a:pt x="22" y="133"/>
                    </a:lnTo>
                    <a:lnTo>
                      <a:pt x="35" y="150"/>
                    </a:lnTo>
                    <a:lnTo>
                      <a:pt x="52" y="163"/>
                    </a:lnTo>
                    <a:lnTo>
                      <a:pt x="72" y="172"/>
                    </a:lnTo>
                    <a:lnTo>
                      <a:pt x="94" y="174"/>
                    </a:lnTo>
                    <a:lnTo>
                      <a:pt x="114" y="172"/>
                    </a:lnTo>
                    <a:lnTo>
                      <a:pt x="134" y="163"/>
                    </a:lnTo>
                    <a:lnTo>
                      <a:pt x="151" y="150"/>
                    </a:lnTo>
                    <a:lnTo>
                      <a:pt x="164" y="133"/>
                    </a:lnTo>
                    <a:lnTo>
                      <a:pt x="171" y="114"/>
                    </a:lnTo>
                    <a:lnTo>
                      <a:pt x="174" y="93"/>
                    </a:lnTo>
                    <a:lnTo>
                      <a:pt x="171" y="72"/>
                    </a:lnTo>
                    <a:lnTo>
                      <a:pt x="164" y="52"/>
                    </a:lnTo>
                    <a:lnTo>
                      <a:pt x="151" y="35"/>
                    </a:lnTo>
                    <a:lnTo>
                      <a:pt x="134" y="21"/>
                    </a:lnTo>
                    <a:lnTo>
                      <a:pt x="114" y="14"/>
                    </a:lnTo>
                    <a:lnTo>
                      <a:pt x="94" y="11"/>
                    </a:lnTo>
                    <a:close/>
                    <a:moveTo>
                      <a:pt x="94" y="0"/>
                    </a:moveTo>
                    <a:lnTo>
                      <a:pt x="111" y="2"/>
                    </a:lnTo>
                    <a:lnTo>
                      <a:pt x="128" y="7"/>
                    </a:lnTo>
                    <a:lnTo>
                      <a:pt x="144" y="16"/>
                    </a:lnTo>
                    <a:lnTo>
                      <a:pt x="158" y="27"/>
                    </a:lnTo>
                    <a:lnTo>
                      <a:pt x="170" y="42"/>
                    </a:lnTo>
                    <a:lnTo>
                      <a:pt x="179" y="57"/>
                    </a:lnTo>
                    <a:lnTo>
                      <a:pt x="183" y="75"/>
                    </a:lnTo>
                    <a:lnTo>
                      <a:pt x="185" y="93"/>
                    </a:lnTo>
                    <a:lnTo>
                      <a:pt x="183" y="112"/>
                    </a:lnTo>
                    <a:lnTo>
                      <a:pt x="179" y="129"/>
                    </a:lnTo>
                    <a:lnTo>
                      <a:pt x="170" y="144"/>
                    </a:lnTo>
                    <a:lnTo>
                      <a:pt x="158" y="159"/>
                    </a:lnTo>
                    <a:lnTo>
                      <a:pt x="144" y="170"/>
                    </a:lnTo>
                    <a:lnTo>
                      <a:pt x="128" y="178"/>
                    </a:lnTo>
                    <a:lnTo>
                      <a:pt x="111" y="184"/>
                    </a:lnTo>
                    <a:lnTo>
                      <a:pt x="94" y="186"/>
                    </a:lnTo>
                    <a:lnTo>
                      <a:pt x="74" y="184"/>
                    </a:lnTo>
                    <a:lnTo>
                      <a:pt x="57" y="178"/>
                    </a:lnTo>
                    <a:lnTo>
                      <a:pt x="41" y="170"/>
                    </a:lnTo>
                    <a:lnTo>
                      <a:pt x="27" y="159"/>
                    </a:lnTo>
                    <a:lnTo>
                      <a:pt x="15" y="144"/>
                    </a:lnTo>
                    <a:lnTo>
                      <a:pt x="7" y="129"/>
                    </a:lnTo>
                    <a:lnTo>
                      <a:pt x="1" y="112"/>
                    </a:lnTo>
                    <a:lnTo>
                      <a:pt x="0" y="93"/>
                    </a:lnTo>
                    <a:lnTo>
                      <a:pt x="1" y="75"/>
                    </a:lnTo>
                    <a:lnTo>
                      <a:pt x="7" y="57"/>
                    </a:lnTo>
                    <a:lnTo>
                      <a:pt x="15" y="42"/>
                    </a:lnTo>
                    <a:lnTo>
                      <a:pt x="27" y="27"/>
                    </a:lnTo>
                    <a:lnTo>
                      <a:pt x="41" y="16"/>
                    </a:lnTo>
                    <a:lnTo>
                      <a:pt x="57" y="7"/>
                    </a:lnTo>
                    <a:lnTo>
                      <a:pt x="74" y="2"/>
                    </a:lnTo>
                    <a:lnTo>
                      <a:pt x="94" y="0"/>
                    </a:lnTo>
                    <a:close/>
                  </a:path>
                </a:pathLst>
              </a:custGeom>
              <a:solidFill>
                <a:srgbClr val="35977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41" name="Freeform 391"/>
              <p:cNvSpPr>
                <a:spLocks/>
              </p:cNvSpPr>
              <p:nvPr/>
            </p:nvSpPr>
            <p:spPr bwMode="auto">
              <a:xfrm>
                <a:off x="3897" y="1281"/>
                <a:ext cx="50" cy="7"/>
              </a:xfrm>
              <a:custGeom>
                <a:avLst/>
                <a:gdLst>
                  <a:gd name="T0" fmla="*/ 9 w 50"/>
                  <a:gd name="T1" fmla="*/ 0 h 7"/>
                  <a:gd name="T2" fmla="*/ 9 w 50"/>
                  <a:gd name="T3" fmla="*/ 1 h 7"/>
                  <a:gd name="T4" fmla="*/ 11 w 50"/>
                  <a:gd name="T5" fmla="*/ 4 h 7"/>
                  <a:gd name="T6" fmla="*/ 14 w 50"/>
                  <a:gd name="T7" fmla="*/ 3 h 7"/>
                  <a:gd name="T8" fmla="*/ 15 w 50"/>
                  <a:gd name="T9" fmla="*/ 1 h 7"/>
                  <a:gd name="T10" fmla="*/ 16 w 50"/>
                  <a:gd name="T11" fmla="*/ 0 h 7"/>
                  <a:gd name="T12" fmla="*/ 17 w 50"/>
                  <a:gd name="T13" fmla="*/ 0 h 7"/>
                  <a:gd name="T14" fmla="*/ 18 w 50"/>
                  <a:gd name="T15" fmla="*/ 1 h 7"/>
                  <a:gd name="T16" fmla="*/ 17 w 50"/>
                  <a:gd name="T17" fmla="*/ 2 h 7"/>
                  <a:gd name="T18" fmla="*/ 18 w 50"/>
                  <a:gd name="T19" fmla="*/ 3 h 7"/>
                  <a:gd name="T20" fmla="*/ 21 w 50"/>
                  <a:gd name="T21" fmla="*/ 4 h 7"/>
                  <a:gd name="T22" fmla="*/ 24 w 50"/>
                  <a:gd name="T23" fmla="*/ 3 h 7"/>
                  <a:gd name="T24" fmla="*/ 26 w 50"/>
                  <a:gd name="T25" fmla="*/ 1 h 7"/>
                  <a:gd name="T26" fmla="*/ 26 w 50"/>
                  <a:gd name="T27" fmla="*/ 0 h 7"/>
                  <a:gd name="T28" fmla="*/ 28 w 50"/>
                  <a:gd name="T29" fmla="*/ 1 h 7"/>
                  <a:gd name="T30" fmla="*/ 29 w 50"/>
                  <a:gd name="T31" fmla="*/ 3 h 7"/>
                  <a:gd name="T32" fmla="*/ 30 w 50"/>
                  <a:gd name="T33" fmla="*/ 4 h 7"/>
                  <a:gd name="T34" fmla="*/ 32 w 50"/>
                  <a:gd name="T35" fmla="*/ 3 h 7"/>
                  <a:gd name="T36" fmla="*/ 35 w 50"/>
                  <a:gd name="T37" fmla="*/ 1 h 7"/>
                  <a:gd name="T38" fmla="*/ 36 w 50"/>
                  <a:gd name="T39" fmla="*/ 0 h 7"/>
                  <a:gd name="T40" fmla="*/ 37 w 50"/>
                  <a:gd name="T41" fmla="*/ 0 h 7"/>
                  <a:gd name="T42" fmla="*/ 38 w 50"/>
                  <a:gd name="T43" fmla="*/ 2 h 7"/>
                  <a:gd name="T44" fmla="*/ 38 w 50"/>
                  <a:gd name="T45" fmla="*/ 4 h 7"/>
                  <a:gd name="T46" fmla="*/ 41 w 50"/>
                  <a:gd name="T47" fmla="*/ 3 h 7"/>
                  <a:gd name="T48" fmla="*/ 43 w 50"/>
                  <a:gd name="T49" fmla="*/ 1 h 7"/>
                  <a:gd name="T50" fmla="*/ 44 w 50"/>
                  <a:gd name="T51" fmla="*/ 0 h 7"/>
                  <a:gd name="T52" fmla="*/ 45 w 50"/>
                  <a:gd name="T53" fmla="*/ 1 h 7"/>
                  <a:gd name="T54" fmla="*/ 46 w 50"/>
                  <a:gd name="T55" fmla="*/ 3 h 7"/>
                  <a:gd name="T56" fmla="*/ 50 w 50"/>
                  <a:gd name="T57" fmla="*/ 4 h 7"/>
                  <a:gd name="T58" fmla="*/ 47 w 50"/>
                  <a:gd name="T59" fmla="*/ 7 h 7"/>
                  <a:gd name="T60" fmla="*/ 44 w 50"/>
                  <a:gd name="T61" fmla="*/ 6 h 7"/>
                  <a:gd name="T62" fmla="*/ 43 w 50"/>
                  <a:gd name="T63" fmla="*/ 5 h 7"/>
                  <a:gd name="T64" fmla="*/ 39 w 50"/>
                  <a:gd name="T65" fmla="*/ 7 h 7"/>
                  <a:gd name="T66" fmla="*/ 37 w 50"/>
                  <a:gd name="T67" fmla="*/ 7 h 7"/>
                  <a:gd name="T68" fmla="*/ 35 w 50"/>
                  <a:gd name="T69" fmla="*/ 6 h 7"/>
                  <a:gd name="T70" fmla="*/ 33 w 50"/>
                  <a:gd name="T71" fmla="*/ 5 h 7"/>
                  <a:gd name="T72" fmla="*/ 30 w 50"/>
                  <a:gd name="T73" fmla="*/ 7 h 7"/>
                  <a:gd name="T74" fmla="*/ 27 w 50"/>
                  <a:gd name="T75" fmla="*/ 6 h 7"/>
                  <a:gd name="T76" fmla="*/ 26 w 50"/>
                  <a:gd name="T77" fmla="*/ 4 h 7"/>
                  <a:gd name="T78" fmla="*/ 22 w 50"/>
                  <a:gd name="T79" fmla="*/ 7 h 7"/>
                  <a:gd name="T80" fmla="*/ 19 w 50"/>
                  <a:gd name="T81" fmla="*/ 7 h 7"/>
                  <a:gd name="T82" fmla="*/ 17 w 50"/>
                  <a:gd name="T83" fmla="*/ 6 h 7"/>
                  <a:gd name="T84" fmla="*/ 14 w 50"/>
                  <a:gd name="T85" fmla="*/ 5 h 7"/>
                  <a:gd name="T86" fmla="*/ 11 w 50"/>
                  <a:gd name="T87" fmla="*/ 7 h 7"/>
                  <a:gd name="T88" fmla="*/ 8 w 50"/>
                  <a:gd name="T89" fmla="*/ 6 h 7"/>
                  <a:gd name="T90" fmla="*/ 7 w 50"/>
                  <a:gd name="T91" fmla="*/ 5 h 7"/>
                  <a:gd name="T92" fmla="*/ 4 w 50"/>
                  <a:gd name="T93" fmla="*/ 6 h 7"/>
                  <a:gd name="T94" fmla="*/ 0 w 50"/>
                  <a:gd name="T95" fmla="*/ 7 h 7"/>
                  <a:gd name="T96" fmla="*/ 1 w 50"/>
                  <a:gd name="T97" fmla="*/ 4 h 7"/>
                  <a:gd name="T98" fmla="*/ 3 w 50"/>
                  <a:gd name="T99" fmla="*/ 4 h 7"/>
                  <a:gd name="T100" fmla="*/ 7 w 50"/>
                  <a:gd name="T101" fmla="*/ 1 h 7"/>
                  <a:gd name="T102" fmla="*/ 8 w 50"/>
                  <a:gd name="T103" fmla="*/ 0 h 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 h="7">
                    <a:moveTo>
                      <a:pt x="8" y="0"/>
                    </a:moveTo>
                    <a:lnTo>
                      <a:pt x="9" y="0"/>
                    </a:lnTo>
                    <a:lnTo>
                      <a:pt x="9" y="1"/>
                    </a:lnTo>
                    <a:lnTo>
                      <a:pt x="9" y="4"/>
                    </a:lnTo>
                    <a:lnTo>
                      <a:pt x="11" y="4"/>
                    </a:lnTo>
                    <a:lnTo>
                      <a:pt x="13" y="3"/>
                    </a:lnTo>
                    <a:lnTo>
                      <a:pt x="14" y="3"/>
                    </a:lnTo>
                    <a:lnTo>
                      <a:pt x="15" y="2"/>
                    </a:lnTo>
                    <a:lnTo>
                      <a:pt x="15" y="1"/>
                    </a:lnTo>
                    <a:lnTo>
                      <a:pt x="16" y="0"/>
                    </a:lnTo>
                    <a:lnTo>
                      <a:pt x="17" y="0"/>
                    </a:lnTo>
                    <a:lnTo>
                      <a:pt x="18" y="0"/>
                    </a:lnTo>
                    <a:lnTo>
                      <a:pt x="18" y="1"/>
                    </a:lnTo>
                    <a:lnTo>
                      <a:pt x="17" y="1"/>
                    </a:lnTo>
                    <a:lnTo>
                      <a:pt x="17" y="2"/>
                    </a:lnTo>
                    <a:lnTo>
                      <a:pt x="17" y="3"/>
                    </a:lnTo>
                    <a:lnTo>
                      <a:pt x="18" y="3"/>
                    </a:lnTo>
                    <a:lnTo>
                      <a:pt x="19" y="4"/>
                    </a:lnTo>
                    <a:lnTo>
                      <a:pt x="21" y="4"/>
                    </a:lnTo>
                    <a:lnTo>
                      <a:pt x="23" y="3"/>
                    </a:lnTo>
                    <a:lnTo>
                      <a:pt x="24" y="3"/>
                    </a:lnTo>
                    <a:lnTo>
                      <a:pt x="25" y="2"/>
                    </a:lnTo>
                    <a:lnTo>
                      <a:pt x="26" y="1"/>
                    </a:lnTo>
                    <a:lnTo>
                      <a:pt x="26" y="0"/>
                    </a:lnTo>
                    <a:lnTo>
                      <a:pt x="27" y="0"/>
                    </a:lnTo>
                    <a:lnTo>
                      <a:pt x="28" y="1"/>
                    </a:lnTo>
                    <a:lnTo>
                      <a:pt x="28" y="2"/>
                    </a:lnTo>
                    <a:lnTo>
                      <a:pt x="29" y="3"/>
                    </a:lnTo>
                    <a:lnTo>
                      <a:pt x="30" y="4"/>
                    </a:lnTo>
                    <a:lnTo>
                      <a:pt x="31" y="4"/>
                    </a:lnTo>
                    <a:lnTo>
                      <a:pt x="32" y="3"/>
                    </a:lnTo>
                    <a:lnTo>
                      <a:pt x="33" y="2"/>
                    </a:lnTo>
                    <a:lnTo>
                      <a:pt x="35" y="1"/>
                    </a:lnTo>
                    <a:lnTo>
                      <a:pt x="36" y="0"/>
                    </a:lnTo>
                    <a:lnTo>
                      <a:pt x="37" y="0"/>
                    </a:lnTo>
                    <a:lnTo>
                      <a:pt x="38" y="1"/>
                    </a:lnTo>
                    <a:lnTo>
                      <a:pt x="38" y="2"/>
                    </a:lnTo>
                    <a:lnTo>
                      <a:pt x="37" y="3"/>
                    </a:lnTo>
                    <a:lnTo>
                      <a:pt x="38" y="4"/>
                    </a:lnTo>
                    <a:lnTo>
                      <a:pt x="39" y="4"/>
                    </a:lnTo>
                    <a:lnTo>
                      <a:pt x="41" y="3"/>
                    </a:lnTo>
                    <a:lnTo>
                      <a:pt x="42" y="2"/>
                    </a:lnTo>
                    <a:lnTo>
                      <a:pt x="43" y="1"/>
                    </a:lnTo>
                    <a:lnTo>
                      <a:pt x="44" y="0"/>
                    </a:lnTo>
                    <a:lnTo>
                      <a:pt x="45" y="0"/>
                    </a:lnTo>
                    <a:lnTo>
                      <a:pt x="45" y="1"/>
                    </a:lnTo>
                    <a:lnTo>
                      <a:pt x="46" y="2"/>
                    </a:lnTo>
                    <a:lnTo>
                      <a:pt x="46" y="3"/>
                    </a:lnTo>
                    <a:lnTo>
                      <a:pt x="47" y="4"/>
                    </a:lnTo>
                    <a:lnTo>
                      <a:pt x="50" y="4"/>
                    </a:lnTo>
                    <a:lnTo>
                      <a:pt x="50" y="7"/>
                    </a:lnTo>
                    <a:lnTo>
                      <a:pt x="47" y="7"/>
                    </a:lnTo>
                    <a:lnTo>
                      <a:pt x="46" y="6"/>
                    </a:lnTo>
                    <a:lnTo>
                      <a:pt x="44" y="6"/>
                    </a:lnTo>
                    <a:lnTo>
                      <a:pt x="44" y="4"/>
                    </a:lnTo>
                    <a:lnTo>
                      <a:pt x="43" y="5"/>
                    </a:lnTo>
                    <a:lnTo>
                      <a:pt x="41" y="7"/>
                    </a:lnTo>
                    <a:lnTo>
                      <a:pt x="39" y="7"/>
                    </a:lnTo>
                    <a:lnTo>
                      <a:pt x="38" y="7"/>
                    </a:lnTo>
                    <a:lnTo>
                      <a:pt x="37" y="7"/>
                    </a:lnTo>
                    <a:lnTo>
                      <a:pt x="36" y="6"/>
                    </a:lnTo>
                    <a:lnTo>
                      <a:pt x="35" y="6"/>
                    </a:lnTo>
                    <a:lnTo>
                      <a:pt x="35" y="4"/>
                    </a:lnTo>
                    <a:lnTo>
                      <a:pt x="33" y="5"/>
                    </a:lnTo>
                    <a:lnTo>
                      <a:pt x="31" y="7"/>
                    </a:lnTo>
                    <a:lnTo>
                      <a:pt x="30" y="7"/>
                    </a:lnTo>
                    <a:lnTo>
                      <a:pt x="28" y="7"/>
                    </a:lnTo>
                    <a:lnTo>
                      <a:pt x="27" y="6"/>
                    </a:lnTo>
                    <a:lnTo>
                      <a:pt x="26" y="5"/>
                    </a:lnTo>
                    <a:lnTo>
                      <a:pt x="26" y="4"/>
                    </a:lnTo>
                    <a:lnTo>
                      <a:pt x="24" y="5"/>
                    </a:lnTo>
                    <a:lnTo>
                      <a:pt x="22" y="7"/>
                    </a:lnTo>
                    <a:lnTo>
                      <a:pt x="21" y="7"/>
                    </a:lnTo>
                    <a:lnTo>
                      <a:pt x="19" y="7"/>
                    </a:lnTo>
                    <a:lnTo>
                      <a:pt x="18" y="7"/>
                    </a:lnTo>
                    <a:lnTo>
                      <a:pt x="17" y="6"/>
                    </a:lnTo>
                    <a:lnTo>
                      <a:pt x="15" y="4"/>
                    </a:lnTo>
                    <a:lnTo>
                      <a:pt x="14" y="5"/>
                    </a:lnTo>
                    <a:lnTo>
                      <a:pt x="13" y="7"/>
                    </a:lnTo>
                    <a:lnTo>
                      <a:pt x="11" y="7"/>
                    </a:lnTo>
                    <a:lnTo>
                      <a:pt x="8" y="7"/>
                    </a:lnTo>
                    <a:lnTo>
                      <a:pt x="8" y="6"/>
                    </a:lnTo>
                    <a:lnTo>
                      <a:pt x="7" y="6"/>
                    </a:lnTo>
                    <a:lnTo>
                      <a:pt x="7" y="5"/>
                    </a:lnTo>
                    <a:lnTo>
                      <a:pt x="7" y="4"/>
                    </a:lnTo>
                    <a:lnTo>
                      <a:pt x="4" y="6"/>
                    </a:lnTo>
                    <a:lnTo>
                      <a:pt x="2" y="7"/>
                    </a:lnTo>
                    <a:lnTo>
                      <a:pt x="0" y="7"/>
                    </a:lnTo>
                    <a:lnTo>
                      <a:pt x="1" y="4"/>
                    </a:lnTo>
                    <a:lnTo>
                      <a:pt x="2" y="4"/>
                    </a:lnTo>
                    <a:lnTo>
                      <a:pt x="3" y="4"/>
                    </a:lnTo>
                    <a:lnTo>
                      <a:pt x="4" y="3"/>
                    </a:lnTo>
                    <a:lnTo>
                      <a:pt x="7" y="1"/>
                    </a:lnTo>
                    <a:lnTo>
                      <a:pt x="7" y="0"/>
                    </a:lnTo>
                    <a:lnTo>
                      <a:pt x="8" y="0"/>
                    </a:lnTo>
                    <a:close/>
                  </a:path>
                </a:pathLst>
              </a:custGeom>
              <a:solidFill>
                <a:srgbClr val="35977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42" name="Freeform 392"/>
              <p:cNvSpPr>
                <a:spLocks/>
              </p:cNvSpPr>
              <p:nvPr/>
            </p:nvSpPr>
            <p:spPr bwMode="auto">
              <a:xfrm>
                <a:off x="3897" y="1296"/>
                <a:ext cx="50" cy="8"/>
              </a:xfrm>
              <a:custGeom>
                <a:avLst/>
                <a:gdLst>
                  <a:gd name="T0" fmla="*/ 45 w 50"/>
                  <a:gd name="T1" fmla="*/ 0 h 8"/>
                  <a:gd name="T2" fmla="*/ 46 w 50"/>
                  <a:gd name="T3" fmla="*/ 2 h 8"/>
                  <a:gd name="T4" fmla="*/ 47 w 50"/>
                  <a:gd name="T5" fmla="*/ 5 h 8"/>
                  <a:gd name="T6" fmla="*/ 50 w 50"/>
                  <a:gd name="T7" fmla="*/ 6 h 8"/>
                  <a:gd name="T8" fmla="*/ 46 w 50"/>
                  <a:gd name="T9" fmla="*/ 7 h 8"/>
                  <a:gd name="T10" fmla="*/ 44 w 50"/>
                  <a:gd name="T11" fmla="*/ 6 h 8"/>
                  <a:gd name="T12" fmla="*/ 43 w 50"/>
                  <a:gd name="T13" fmla="*/ 6 h 8"/>
                  <a:gd name="T14" fmla="*/ 39 w 50"/>
                  <a:gd name="T15" fmla="*/ 6 h 8"/>
                  <a:gd name="T16" fmla="*/ 37 w 50"/>
                  <a:gd name="T17" fmla="*/ 6 h 8"/>
                  <a:gd name="T18" fmla="*/ 36 w 50"/>
                  <a:gd name="T19" fmla="*/ 6 h 8"/>
                  <a:gd name="T20" fmla="*/ 33 w 50"/>
                  <a:gd name="T21" fmla="*/ 6 h 8"/>
                  <a:gd name="T22" fmla="*/ 30 w 50"/>
                  <a:gd name="T23" fmla="*/ 8 h 8"/>
                  <a:gd name="T24" fmla="*/ 27 w 50"/>
                  <a:gd name="T25" fmla="*/ 7 h 8"/>
                  <a:gd name="T26" fmla="*/ 26 w 50"/>
                  <a:gd name="T27" fmla="*/ 5 h 8"/>
                  <a:gd name="T28" fmla="*/ 22 w 50"/>
                  <a:gd name="T29" fmla="*/ 7 h 8"/>
                  <a:gd name="T30" fmla="*/ 19 w 50"/>
                  <a:gd name="T31" fmla="*/ 7 h 8"/>
                  <a:gd name="T32" fmla="*/ 17 w 50"/>
                  <a:gd name="T33" fmla="*/ 6 h 8"/>
                  <a:gd name="T34" fmla="*/ 14 w 50"/>
                  <a:gd name="T35" fmla="*/ 6 h 8"/>
                  <a:gd name="T36" fmla="*/ 11 w 50"/>
                  <a:gd name="T37" fmla="*/ 8 h 8"/>
                  <a:gd name="T38" fmla="*/ 9 w 50"/>
                  <a:gd name="T39" fmla="*/ 7 h 8"/>
                  <a:gd name="T40" fmla="*/ 7 w 50"/>
                  <a:gd name="T41" fmla="*/ 5 h 8"/>
                  <a:gd name="T42" fmla="*/ 2 w 50"/>
                  <a:gd name="T43" fmla="*/ 7 h 8"/>
                  <a:gd name="T44" fmla="*/ 0 w 50"/>
                  <a:gd name="T45" fmla="*/ 6 h 8"/>
                  <a:gd name="T46" fmla="*/ 1 w 50"/>
                  <a:gd name="T47" fmla="*/ 5 h 8"/>
                  <a:gd name="T48" fmla="*/ 3 w 50"/>
                  <a:gd name="T49" fmla="*/ 4 h 8"/>
                  <a:gd name="T50" fmla="*/ 7 w 50"/>
                  <a:gd name="T51" fmla="*/ 0 h 8"/>
                  <a:gd name="T52" fmla="*/ 9 w 50"/>
                  <a:gd name="T53" fmla="*/ 0 h 8"/>
                  <a:gd name="T54" fmla="*/ 9 w 50"/>
                  <a:gd name="T55" fmla="*/ 2 h 8"/>
                  <a:gd name="T56" fmla="*/ 11 w 50"/>
                  <a:gd name="T57" fmla="*/ 5 h 8"/>
                  <a:gd name="T58" fmla="*/ 14 w 50"/>
                  <a:gd name="T59" fmla="*/ 3 h 8"/>
                  <a:gd name="T60" fmla="*/ 15 w 50"/>
                  <a:gd name="T61" fmla="*/ 1 h 8"/>
                  <a:gd name="T62" fmla="*/ 17 w 50"/>
                  <a:gd name="T63" fmla="*/ 0 h 8"/>
                  <a:gd name="T64" fmla="*/ 18 w 50"/>
                  <a:gd name="T65" fmla="*/ 1 h 8"/>
                  <a:gd name="T66" fmla="*/ 17 w 50"/>
                  <a:gd name="T67" fmla="*/ 2 h 8"/>
                  <a:gd name="T68" fmla="*/ 18 w 50"/>
                  <a:gd name="T69" fmla="*/ 3 h 8"/>
                  <a:gd name="T70" fmla="*/ 21 w 50"/>
                  <a:gd name="T71" fmla="*/ 5 h 8"/>
                  <a:gd name="T72" fmla="*/ 24 w 50"/>
                  <a:gd name="T73" fmla="*/ 3 h 8"/>
                  <a:gd name="T74" fmla="*/ 25 w 50"/>
                  <a:gd name="T75" fmla="*/ 1 h 8"/>
                  <a:gd name="T76" fmla="*/ 27 w 50"/>
                  <a:gd name="T77" fmla="*/ 0 h 8"/>
                  <a:gd name="T78" fmla="*/ 28 w 50"/>
                  <a:gd name="T79" fmla="*/ 1 h 8"/>
                  <a:gd name="T80" fmla="*/ 28 w 50"/>
                  <a:gd name="T81" fmla="*/ 2 h 8"/>
                  <a:gd name="T82" fmla="*/ 29 w 50"/>
                  <a:gd name="T83" fmla="*/ 4 h 8"/>
                  <a:gd name="T84" fmla="*/ 31 w 50"/>
                  <a:gd name="T85" fmla="*/ 4 h 8"/>
                  <a:gd name="T86" fmla="*/ 35 w 50"/>
                  <a:gd name="T87" fmla="*/ 2 h 8"/>
                  <a:gd name="T88" fmla="*/ 37 w 50"/>
                  <a:gd name="T89" fmla="*/ 0 h 8"/>
                  <a:gd name="T90" fmla="*/ 38 w 50"/>
                  <a:gd name="T91" fmla="*/ 1 h 8"/>
                  <a:gd name="T92" fmla="*/ 38 w 50"/>
                  <a:gd name="T93" fmla="*/ 2 h 8"/>
                  <a:gd name="T94" fmla="*/ 37 w 50"/>
                  <a:gd name="T95" fmla="*/ 3 h 8"/>
                  <a:gd name="T96" fmla="*/ 38 w 50"/>
                  <a:gd name="T97" fmla="*/ 4 h 8"/>
                  <a:gd name="T98" fmla="*/ 39 w 50"/>
                  <a:gd name="T99" fmla="*/ 5 h 8"/>
                  <a:gd name="T100" fmla="*/ 42 w 50"/>
                  <a:gd name="T101" fmla="*/ 3 h 8"/>
                  <a:gd name="T102" fmla="*/ 44 w 50"/>
                  <a:gd name="T103" fmla="*/ 1 h 8"/>
                  <a:gd name="T104" fmla="*/ 44 w 50"/>
                  <a:gd name="T105" fmla="*/ 0 h 8"/>
                  <a:gd name="T106" fmla="*/ 45 w 50"/>
                  <a:gd name="T107" fmla="*/ 0 h 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0" h="8">
                    <a:moveTo>
                      <a:pt x="45" y="0"/>
                    </a:moveTo>
                    <a:lnTo>
                      <a:pt x="45" y="0"/>
                    </a:lnTo>
                    <a:lnTo>
                      <a:pt x="45" y="2"/>
                    </a:lnTo>
                    <a:lnTo>
                      <a:pt x="46" y="2"/>
                    </a:lnTo>
                    <a:lnTo>
                      <a:pt x="46" y="3"/>
                    </a:lnTo>
                    <a:lnTo>
                      <a:pt x="47" y="5"/>
                    </a:lnTo>
                    <a:lnTo>
                      <a:pt x="50" y="5"/>
                    </a:lnTo>
                    <a:lnTo>
                      <a:pt x="50" y="6"/>
                    </a:lnTo>
                    <a:lnTo>
                      <a:pt x="47" y="7"/>
                    </a:lnTo>
                    <a:lnTo>
                      <a:pt x="46" y="7"/>
                    </a:lnTo>
                    <a:lnTo>
                      <a:pt x="45" y="7"/>
                    </a:lnTo>
                    <a:lnTo>
                      <a:pt x="44" y="6"/>
                    </a:lnTo>
                    <a:lnTo>
                      <a:pt x="44" y="5"/>
                    </a:lnTo>
                    <a:lnTo>
                      <a:pt x="43" y="6"/>
                    </a:lnTo>
                    <a:lnTo>
                      <a:pt x="41" y="6"/>
                    </a:lnTo>
                    <a:lnTo>
                      <a:pt x="39" y="6"/>
                    </a:lnTo>
                    <a:lnTo>
                      <a:pt x="38" y="6"/>
                    </a:lnTo>
                    <a:lnTo>
                      <a:pt x="37" y="6"/>
                    </a:lnTo>
                    <a:lnTo>
                      <a:pt x="36" y="6"/>
                    </a:lnTo>
                    <a:lnTo>
                      <a:pt x="35" y="5"/>
                    </a:lnTo>
                    <a:lnTo>
                      <a:pt x="33" y="6"/>
                    </a:lnTo>
                    <a:lnTo>
                      <a:pt x="31" y="7"/>
                    </a:lnTo>
                    <a:lnTo>
                      <a:pt x="30" y="8"/>
                    </a:lnTo>
                    <a:lnTo>
                      <a:pt x="28" y="8"/>
                    </a:lnTo>
                    <a:lnTo>
                      <a:pt x="27" y="7"/>
                    </a:lnTo>
                    <a:lnTo>
                      <a:pt x="26" y="6"/>
                    </a:lnTo>
                    <a:lnTo>
                      <a:pt x="26" y="5"/>
                    </a:lnTo>
                    <a:lnTo>
                      <a:pt x="24" y="6"/>
                    </a:lnTo>
                    <a:lnTo>
                      <a:pt x="22" y="7"/>
                    </a:lnTo>
                    <a:lnTo>
                      <a:pt x="21" y="8"/>
                    </a:lnTo>
                    <a:lnTo>
                      <a:pt x="19" y="7"/>
                    </a:lnTo>
                    <a:lnTo>
                      <a:pt x="18" y="7"/>
                    </a:lnTo>
                    <a:lnTo>
                      <a:pt x="17" y="6"/>
                    </a:lnTo>
                    <a:lnTo>
                      <a:pt x="15" y="5"/>
                    </a:lnTo>
                    <a:lnTo>
                      <a:pt x="14" y="6"/>
                    </a:lnTo>
                    <a:lnTo>
                      <a:pt x="13" y="7"/>
                    </a:lnTo>
                    <a:lnTo>
                      <a:pt x="11" y="8"/>
                    </a:lnTo>
                    <a:lnTo>
                      <a:pt x="10" y="8"/>
                    </a:lnTo>
                    <a:lnTo>
                      <a:pt x="9" y="7"/>
                    </a:lnTo>
                    <a:lnTo>
                      <a:pt x="8" y="6"/>
                    </a:lnTo>
                    <a:lnTo>
                      <a:pt x="7" y="5"/>
                    </a:lnTo>
                    <a:lnTo>
                      <a:pt x="4" y="6"/>
                    </a:lnTo>
                    <a:lnTo>
                      <a:pt x="2" y="7"/>
                    </a:lnTo>
                    <a:lnTo>
                      <a:pt x="0" y="7"/>
                    </a:lnTo>
                    <a:lnTo>
                      <a:pt x="0" y="6"/>
                    </a:lnTo>
                    <a:lnTo>
                      <a:pt x="1" y="5"/>
                    </a:lnTo>
                    <a:lnTo>
                      <a:pt x="2" y="4"/>
                    </a:lnTo>
                    <a:lnTo>
                      <a:pt x="3" y="4"/>
                    </a:lnTo>
                    <a:lnTo>
                      <a:pt x="5" y="2"/>
                    </a:lnTo>
                    <a:lnTo>
                      <a:pt x="7" y="0"/>
                    </a:lnTo>
                    <a:lnTo>
                      <a:pt x="8" y="0"/>
                    </a:lnTo>
                    <a:lnTo>
                      <a:pt x="9" y="0"/>
                    </a:lnTo>
                    <a:lnTo>
                      <a:pt x="9" y="1"/>
                    </a:lnTo>
                    <a:lnTo>
                      <a:pt x="9" y="2"/>
                    </a:lnTo>
                    <a:lnTo>
                      <a:pt x="9" y="5"/>
                    </a:lnTo>
                    <a:lnTo>
                      <a:pt x="11" y="5"/>
                    </a:lnTo>
                    <a:lnTo>
                      <a:pt x="13" y="4"/>
                    </a:lnTo>
                    <a:lnTo>
                      <a:pt x="14" y="3"/>
                    </a:lnTo>
                    <a:lnTo>
                      <a:pt x="15" y="2"/>
                    </a:lnTo>
                    <a:lnTo>
                      <a:pt x="15" y="1"/>
                    </a:lnTo>
                    <a:lnTo>
                      <a:pt x="15" y="0"/>
                    </a:lnTo>
                    <a:lnTo>
                      <a:pt x="17" y="0"/>
                    </a:lnTo>
                    <a:lnTo>
                      <a:pt x="18" y="1"/>
                    </a:lnTo>
                    <a:lnTo>
                      <a:pt x="17" y="2"/>
                    </a:lnTo>
                    <a:lnTo>
                      <a:pt x="18" y="3"/>
                    </a:lnTo>
                    <a:lnTo>
                      <a:pt x="19" y="5"/>
                    </a:lnTo>
                    <a:lnTo>
                      <a:pt x="21" y="5"/>
                    </a:lnTo>
                    <a:lnTo>
                      <a:pt x="23" y="4"/>
                    </a:lnTo>
                    <a:lnTo>
                      <a:pt x="24" y="3"/>
                    </a:lnTo>
                    <a:lnTo>
                      <a:pt x="25" y="2"/>
                    </a:lnTo>
                    <a:lnTo>
                      <a:pt x="25" y="1"/>
                    </a:lnTo>
                    <a:lnTo>
                      <a:pt x="26" y="0"/>
                    </a:lnTo>
                    <a:lnTo>
                      <a:pt x="27" y="0"/>
                    </a:lnTo>
                    <a:lnTo>
                      <a:pt x="28" y="1"/>
                    </a:lnTo>
                    <a:lnTo>
                      <a:pt x="28" y="2"/>
                    </a:lnTo>
                    <a:lnTo>
                      <a:pt x="29" y="3"/>
                    </a:lnTo>
                    <a:lnTo>
                      <a:pt x="29" y="4"/>
                    </a:lnTo>
                    <a:lnTo>
                      <a:pt x="30" y="5"/>
                    </a:lnTo>
                    <a:lnTo>
                      <a:pt x="31" y="4"/>
                    </a:lnTo>
                    <a:lnTo>
                      <a:pt x="33" y="3"/>
                    </a:lnTo>
                    <a:lnTo>
                      <a:pt x="35" y="2"/>
                    </a:lnTo>
                    <a:lnTo>
                      <a:pt x="35" y="0"/>
                    </a:lnTo>
                    <a:lnTo>
                      <a:pt x="37" y="0"/>
                    </a:lnTo>
                    <a:lnTo>
                      <a:pt x="38" y="1"/>
                    </a:lnTo>
                    <a:lnTo>
                      <a:pt x="38" y="2"/>
                    </a:lnTo>
                    <a:lnTo>
                      <a:pt x="38" y="3"/>
                    </a:lnTo>
                    <a:lnTo>
                      <a:pt x="37" y="3"/>
                    </a:lnTo>
                    <a:lnTo>
                      <a:pt x="38" y="3"/>
                    </a:lnTo>
                    <a:lnTo>
                      <a:pt x="38" y="4"/>
                    </a:lnTo>
                    <a:lnTo>
                      <a:pt x="38" y="5"/>
                    </a:lnTo>
                    <a:lnTo>
                      <a:pt x="39" y="5"/>
                    </a:lnTo>
                    <a:lnTo>
                      <a:pt x="41" y="4"/>
                    </a:lnTo>
                    <a:lnTo>
                      <a:pt x="42" y="3"/>
                    </a:lnTo>
                    <a:lnTo>
                      <a:pt x="43" y="2"/>
                    </a:lnTo>
                    <a:lnTo>
                      <a:pt x="44" y="1"/>
                    </a:lnTo>
                    <a:lnTo>
                      <a:pt x="44" y="0"/>
                    </a:lnTo>
                    <a:lnTo>
                      <a:pt x="45" y="0"/>
                    </a:lnTo>
                    <a:close/>
                  </a:path>
                </a:pathLst>
              </a:custGeom>
              <a:solidFill>
                <a:srgbClr val="35977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43" name="Freeform 393"/>
              <p:cNvSpPr>
                <a:spLocks/>
              </p:cNvSpPr>
              <p:nvPr/>
            </p:nvSpPr>
            <p:spPr bwMode="auto">
              <a:xfrm>
                <a:off x="3897" y="1312"/>
                <a:ext cx="50" cy="8"/>
              </a:xfrm>
              <a:custGeom>
                <a:avLst/>
                <a:gdLst>
                  <a:gd name="T0" fmla="*/ 9 w 50"/>
                  <a:gd name="T1" fmla="*/ 1 h 8"/>
                  <a:gd name="T2" fmla="*/ 10 w 50"/>
                  <a:gd name="T3" fmla="*/ 6 h 8"/>
                  <a:gd name="T4" fmla="*/ 11 w 50"/>
                  <a:gd name="T5" fmla="*/ 6 h 8"/>
                  <a:gd name="T6" fmla="*/ 14 w 50"/>
                  <a:gd name="T7" fmla="*/ 3 h 8"/>
                  <a:gd name="T8" fmla="*/ 15 w 50"/>
                  <a:gd name="T9" fmla="*/ 1 h 8"/>
                  <a:gd name="T10" fmla="*/ 16 w 50"/>
                  <a:gd name="T11" fmla="*/ 0 h 8"/>
                  <a:gd name="T12" fmla="*/ 17 w 50"/>
                  <a:gd name="T13" fmla="*/ 0 h 8"/>
                  <a:gd name="T14" fmla="*/ 18 w 50"/>
                  <a:gd name="T15" fmla="*/ 1 h 8"/>
                  <a:gd name="T16" fmla="*/ 17 w 50"/>
                  <a:gd name="T17" fmla="*/ 3 h 8"/>
                  <a:gd name="T18" fmla="*/ 18 w 50"/>
                  <a:gd name="T19" fmla="*/ 4 h 8"/>
                  <a:gd name="T20" fmla="*/ 19 w 50"/>
                  <a:gd name="T21" fmla="*/ 5 h 8"/>
                  <a:gd name="T22" fmla="*/ 21 w 50"/>
                  <a:gd name="T23" fmla="*/ 6 h 8"/>
                  <a:gd name="T24" fmla="*/ 24 w 50"/>
                  <a:gd name="T25" fmla="*/ 4 h 8"/>
                  <a:gd name="T26" fmla="*/ 25 w 50"/>
                  <a:gd name="T27" fmla="*/ 2 h 8"/>
                  <a:gd name="T28" fmla="*/ 26 w 50"/>
                  <a:gd name="T29" fmla="*/ 1 h 8"/>
                  <a:gd name="T30" fmla="*/ 27 w 50"/>
                  <a:gd name="T31" fmla="*/ 0 h 8"/>
                  <a:gd name="T32" fmla="*/ 28 w 50"/>
                  <a:gd name="T33" fmla="*/ 2 h 8"/>
                  <a:gd name="T34" fmla="*/ 29 w 50"/>
                  <a:gd name="T35" fmla="*/ 4 h 8"/>
                  <a:gd name="T36" fmla="*/ 30 w 50"/>
                  <a:gd name="T37" fmla="*/ 6 h 8"/>
                  <a:gd name="T38" fmla="*/ 33 w 50"/>
                  <a:gd name="T39" fmla="*/ 4 h 8"/>
                  <a:gd name="T40" fmla="*/ 35 w 50"/>
                  <a:gd name="T41" fmla="*/ 1 h 8"/>
                  <a:gd name="T42" fmla="*/ 36 w 50"/>
                  <a:gd name="T43" fmla="*/ 0 h 8"/>
                  <a:gd name="T44" fmla="*/ 37 w 50"/>
                  <a:gd name="T45" fmla="*/ 1 h 8"/>
                  <a:gd name="T46" fmla="*/ 38 w 50"/>
                  <a:gd name="T47" fmla="*/ 1 h 8"/>
                  <a:gd name="T48" fmla="*/ 38 w 50"/>
                  <a:gd name="T49" fmla="*/ 4 h 8"/>
                  <a:gd name="T50" fmla="*/ 38 w 50"/>
                  <a:gd name="T51" fmla="*/ 5 h 8"/>
                  <a:gd name="T52" fmla="*/ 41 w 50"/>
                  <a:gd name="T53" fmla="*/ 4 h 8"/>
                  <a:gd name="T54" fmla="*/ 43 w 50"/>
                  <a:gd name="T55" fmla="*/ 3 h 8"/>
                  <a:gd name="T56" fmla="*/ 44 w 50"/>
                  <a:gd name="T57" fmla="*/ 1 h 8"/>
                  <a:gd name="T58" fmla="*/ 44 w 50"/>
                  <a:gd name="T59" fmla="*/ 0 h 8"/>
                  <a:gd name="T60" fmla="*/ 45 w 50"/>
                  <a:gd name="T61" fmla="*/ 1 h 8"/>
                  <a:gd name="T62" fmla="*/ 46 w 50"/>
                  <a:gd name="T63" fmla="*/ 4 h 8"/>
                  <a:gd name="T64" fmla="*/ 47 w 50"/>
                  <a:gd name="T65" fmla="*/ 5 h 8"/>
                  <a:gd name="T66" fmla="*/ 50 w 50"/>
                  <a:gd name="T67" fmla="*/ 8 h 8"/>
                  <a:gd name="T68" fmla="*/ 46 w 50"/>
                  <a:gd name="T69" fmla="*/ 8 h 8"/>
                  <a:gd name="T70" fmla="*/ 44 w 50"/>
                  <a:gd name="T71" fmla="*/ 5 h 8"/>
                  <a:gd name="T72" fmla="*/ 42 w 50"/>
                  <a:gd name="T73" fmla="*/ 8 h 8"/>
                  <a:gd name="T74" fmla="*/ 38 w 50"/>
                  <a:gd name="T75" fmla="*/ 8 h 8"/>
                  <a:gd name="T76" fmla="*/ 36 w 50"/>
                  <a:gd name="T77" fmla="*/ 6 h 8"/>
                  <a:gd name="T78" fmla="*/ 35 w 50"/>
                  <a:gd name="T79" fmla="*/ 5 h 8"/>
                  <a:gd name="T80" fmla="*/ 31 w 50"/>
                  <a:gd name="T81" fmla="*/ 8 h 8"/>
                  <a:gd name="T82" fmla="*/ 28 w 50"/>
                  <a:gd name="T83" fmla="*/ 8 h 8"/>
                  <a:gd name="T84" fmla="*/ 26 w 50"/>
                  <a:gd name="T85" fmla="*/ 6 h 8"/>
                  <a:gd name="T86" fmla="*/ 24 w 50"/>
                  <a:gd name="T87" fmla="*/ 6 h 8"/>
                  <a:gd name="T88" fmla="*/ 21 w 50"/>
                  <a:gd name="T89" fmla="*/ 8 h 8"/>
                  <a:gd name="T90" fmla="*/ 18 w 50"/>
                  <a:gd name="T91" fmla="*/ 8 h 8"/>
                  <a:gd name="T92" fmla="*/ 15 w 50"/>
                  <a:gd name="T93" fmla="*/ 5 h 8"/>
                  <a:gd name="T94" fmla="*/ 13 w 50"/>
                  <a:gd name="T95" fmla="*/ 8 h 8"/>
                  <a:gd name="T96" fmla="*/ 8 w 50"/>
                  <a:gd name="T97" fmla="*/ 8 h 8"/>
                  <a:gd name="T98" fmla="*/ 7 w 50"/>
                  <a:gd name="T99" fmla="*/ 6 h 8"/>
                  <a:gd name="T100" fmla="*/ 4 w 50"/>
                  <a:gd name="T101" fmla="*/ 6 h 8"/>
                  <a:gd name="T102" fmla="*/ 0 w 50"/>
                  <a:gd name="T103" fmla="*/ 8 h 8"/>
                  <a:gd name="T104" fmla="*/ 1 w 50"/>
                  <a:gd name="T105" fmla="*/ 5 h 8"/>
                  <a:gd name="T106" fmla="*/ 2 w 50"/>
                  <a:gd name="T107" fmla="*/ 5 h 8"/>
                  <a:gd name="T108" fmla="*/ 5 w 50"/>
                  <a:gd name="T109" fmla="*/ 4 h 8"/>
                  <a:gd name="T110" fmla="*/ 7 w 50"/>
                  <a:gd name="T111" fmla="*/ 1 h 8"/>
                  <a:gd name="T112" fmla="*/ 8 w 50"/>
                  <a:gd name="T113" fmla="*/ 0 h 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50" h="8">
                    <a:moveTo>
                      <a:pt x="8" y="0"/>
                    </a:moveTo>
                    <a:lnTo>
                      <a:pt x="9" y="1"/>
                    </a:lnTo>
                    <a:lnTo>
                      <a:pt x="9" y="5"/>
                    </a:lnTo>
                    <a:lnTo>
                      <a:pt x="10" y="6"/>
                    </a:lnTo>
                    <a:lnTo>
                      <a:pt x="11" y="6"/>
                    </a:lnTo>
                    <a:lnTo>
                      <a:pt x="13" y="5"/>
                    </a:lnTo>
                    <a:lnTo>
                      <a:pt x="14" y="3"/>
                    </a:lnTo>
                    <a:lnTo>
                      <a:pt x="15" y="2"/>
                    </a:lnTo>
                    <a:lnTo>
                      <a:pt x="15" y="1"/>
                    </a:lnTo>
                    <a:lnTo>
                      <a:pt x="16" y="1"/>
                    </a:lnTo>
                    <a:lnTo>
                      <a:pt x="16" y="0"/>
                    </a:lnTo>
                    <a:lnTo>
                      <a:pt x="17" y="0"/>
                    </a:lnTo>
                    <a:lnTo>
                      <a:pt x="18" y="1"/>
                    </a:lnTo>
                    <a:lnTo>
                      <a:pt x="17" y="1"/>
                    </a:lnTo>
                    <a:lnTo>
                      <a:pt x="17" y="3"/>
                    </a:lnTo>
                    <a:lnTo>
                      <a:pt x="17" y="4"/>
                    </a:lnTo>
                    <a:lnTo>
                      <a:pt x="18" y="4"/>
                    </a:lnTo>
                    <a:lnTo>
                      <a:pt x="19" y="5"/>
                    </a:lnTo>
                    <a:lnTo>
                      <a:pt x="19" y="6"/>
                    </a:lnTo>
                    <a:lnTo>
                      <a:pt x="21" y="6"/>
                    </a:lnTo>
                    <a:lnTo>
                      <a:pt x="23" y="6"/>
                    </a:lnTo>
                    <a:lnTo>
                      <a:pt x="24" y="4"/>
                    </a:lnTo>
                    <a:lnTo>
                      <a:pt x="25" y="3"/>
                    </a:lnTo>
                    <a:lnTo>
                      <a:pt x="25" y="2"/>
                    </a:lnTo>
                    <a:lnTo>
                      <a:pt x="26" y="1"/>
                    </a:lnTo>
                    <a:lnTo>
                      <a:pt x="26" y="0"/>
                    </a:lnTo>
                    <a:lnTo>
                      <a:pt x="27" y="0"/>
                    </a:lnTo>
                    <a:lnTo>
                      <a:pt x="28" y="1"/>
                    </a:lnTo>
                    <a:lnTo>
                      <a:pt x="28" y="2"/>
                    </a:lnTo>
                    <a:lnTo>
                      <a:pt x="28" y="3"/>
                    </a:lnTo>
                    <a:lnTo>
                      <a:pt x="29" y="4"/>
                    </a:lnTo>
                    <a:lnTo>
                      <a:pt x="29" y="6"/>
                    </a:lnTo>
                    <a:lnTo>
                      <a:pt x="30" y="6"/>
                    </a:lnTo>
                    <a:lnTo>
                      <a:pt x="31" y="6"/>
                    </a:lnTo>
                    <a:lnTo>
                      <a:pt x="33" y="4"/>
                    </a:lnTo>
                    <a:lnTo>
                      <a:pt x="35" y="3"/>
                    </a:lnTo>
                    <a:lnTo>
                      <a:pt x="35" y="1"/>
                    </a:lnTo>
                    <a:lnTo>
                      <a:pt x="36" y="1"/>
                    </a:lnTo>
                    <a:lnTo>
                      <a:pt x="36" y="0"/>
                    </a:lnTo>
                    <a:lnTo>
                      <a:pt x="37" y="0"/>
                    </a:lnTo>
                    <a:lnTo>
                      <a:pt x="37" y="1"/>
                    </a:lnTo>
                    <a:lnTo>
                      <a:pt x="38" y="1"/>
                    </a:lnTo>
                    <a:lnTo>
                      <a:pt x="38" y="3"/>
                    </a:lnTo>
                    <a:lnTo>
                      <a:pt x="38" y="4"/>
                    </a:lnTo>
                    <a:lnTo>
                      <a:pt x="37" y="4"/>
                    </a:lnTo>
                    <a:lnTo>
                      <a:pt x="38" y="5"/>
                    </a:lnTo>
                    <a:lnTo>
                      <a:pt x="39" y="5"/>
                    </a:lnTo>
                    <a:lnTo>
                      <a:pt x="41" y="4"/>
                    </a:lnTo>
                    <a:lnTo>
                      <a:pt x="42" y="4"/>
                    </a:lnTo>
                    <a:lnTo>
                      <a:pt x="43" y="3"/>
                    </a:lnTo>
                    <a:lnTo>
                      <a:pt x="44" y="2"/>
                    </a:lnTo>
                    <a:lnTo>
                      <a:pt x="44" y="1"/>
                    </a:lnTo>
                    <a:lnTo>
                      <a:pt x="44" y="0"/>
                    </a:lnTo>
                    <a:lnTo>
                      <a:pt x="45" y="0"/>
                    </a:lnTo>
                    <a:lnTo>
                      <a:pt x="45" y="1"/>
                    </a:lnTo>
                    <a:lnTo>
                      <a:pt x="45" y="3"/>
                    </a:lnTo>
                    <a:lnTo>
                      <a:pt x="46" y="4"/>
                    </a:lnTo>
                    <a:lnTo>
                      <a:pt x="47" y="5"/>
                    </a:lnTo>
                    <a:lnTo>
                      <a:pt x="50" y="5"/>
                    </a:lnTo>
                    <a:lnTo>
                      <a:pt x="50" y="8"/>
                    </a:lnTo>
                    <a:lnTo>
                      <a:pt x="47" y="8"/>
                    </a:lnTo>
                    <a:lnTo>
                      <a:pt x="46" y="8"/>
                    </a:lnTo>
                    <a:lnTo>
                      <a:pt x="44" y="6"/>
                    </a:lnTo>
                    <a:lnTo>
                      <a:pt x="44" y="5"/>
                    </a:lnTo>
                    <a:lnTo>
                      <a:pt x="43" y="6"/>
                    </a:lnTo>
                    <a:lnTo>
                      <a:pt x="42" y="8"/>
                    </a:lnTo>
                    <a:lnTo>
                      <a:pt x="40" y="8"/>
                    </a:lnTo>
                    <a:lnTo>
                      <a:pt x="38" y="8"/>
                    </a:lnTo>
                    <a:lnTo>
                      <a:pt x="37" y="8"/>
                    </a:lnTo>
                    <a:lnTo>
                      <a:pt x="36" y="6"/>
                    </a:lnTo>
                    <a:lnTo>
                      <a:pt x="35" y="6"/>
                    </a:lnTo>
                    <a:lnTo>
                      <a:pt x="35" y="5"/>
                    </a:lnTo>
                    <a:lnTo>
                      <a:pt x="33" y="6"/>
                    </a:lnTo>
                    <a:lnTo>
                      <a:pt x="31" y="8"/>
                    </a:lnTo>
                    <a:lnTo>
                      <a:pt x="30" y="8"/>
                    </a:lnTo>
                    <a:lnTo>
                      <a:pt x="28" y="8"/>
                    </a:lnTo>
                    <a:lnTo>
                      <a:pt x="27" y="8"/>
                    </a:lnTo>
                    <a:lnTo>
                      <a:pt x="26" y="6"/>
                    </a:lnTo>
                    <a:lnTo>
                      <a:pt x="26" y="5"/>
                    </a:lnTo>
                    <a:lnTo>
                      <a:pt x="24" y="6"/>
                    </a:lnTo>
                    <a:lnTo>
                      <a:pt x="22" y="8"/>
                    </a:lnTo>
                    <a:lnTo>
                      <a:pt x="21" y="8"/>
                    </a:lnTo>
                    <a:lnTo>
                      <a:pt x="19" y="8"/>
                    </a:lnTo>
                    <a:lnTo>
                      <a:pt x="18" y="8"/>
                    </a:lnTo>
                    <a:lnTo>
                      <a:pt x="17" y="6"/>
                    </a:lnTo>
                    <a:lnTo>
                      <a:pt x="15" y="5"/>
                    </a:lnTo>
                    <a:lnTo>
                      <a:pt x="14" y="6"/>
                    </a:lnTo>
                    <a:lnTo>
                      <a:pt x="13" y="8"/>
                    </a:lnTo>
                    <a:lnTo>
                      <a:pt x="11" y="8"/>
                    </a:lnTo>
                    <a:lnTo>
                      <a:pt x="8" y="8"/>
                    </a:lnTo>
                    <a:lnTo>
                      <a:pt x="8" y="6"/>
                    </a:lnTo>
                    <a:lnTo>
                      <a:pt x="7" y="6"/>
                    </a:lnTo>
                    <a:lnTo>
                      <a:pt x="7" y="5"/>
                    </a:lnTo>
                    <a:lnTo>
                      <a:pt x="4" y="6"/>
                    </a:lnTo>
                    <a:lnTo>
                      <a:pt x="2" y="8"/>
                    </a:lnTo>
                    <a:lnTo>
                      <a:pt x="0" y="8"/>
                    </a:lnTo>
                    <a:lnTo>
                      <a:pt x="1" y="5"/>
                    </a:lnTo>
                    <a:lnTo>
                      <a:pt x="2" y="5"/>
                    </a:lnTo>
                    <a:lnTo>
                      <a:pt x="3" y="5"/>
                    </a:lnTo>
                    <a:lnTo>
                      <a:pt x="5" y="4"/>
                    </a:lnTo>
                    <a:lnTo>
                      <a:pt x="7" y="1"/>
                    </a:lnTo>
                    <a:lnTo>
                      <a:pt x="8" y="0"/>
                    </a:lnTo>
                    <a:close/>
                  </a:path>
                </a:pathLst>
              </a:custGeom>
              <a:solidFill>
                <a:srgbClr val="35977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44" name="Freeform 394"/>
              <p:cNvSpPr>
                <a:spLocks/>
              </p:cNvSpPr>
              <p:nvPr/>
            </p:nvSpPr>
            <p:spPr bwMode="auto">
              <a:xfrm>
                <a:off x="3897" y="1328"/>
                <a:ext cx="50" cy="8"/>
              </a:xfrm>
              <a:custGeom>
                <a:avLst/>
                <a:gdLst>
                  <a:gd name="T0" fmla="*/ 8 w 50"/>
                  <a:gd name="T1" fmla="*/ 0 h 8"/>
                  <a:gd name="T2" fmla="*/ 9 w 50"/>
                  <a:gd name="T3" fmla="*/ 1 h 8"/>
                  <a:gd name="T4" fmla="*/ 9 w 50"/>
                  <a:gd name="T5" fmla="*/ 4 h 8"/>
                  <a:gd name="T6" fmla="*/ 13 w 50"/>
                  <a:gd name="T7" fmla="*/ 4 h 8"/>
                  <a:gd name="T8" fmla="*/ 15 w 50"/>
                  <a:gd name="T9" fmla="*/ 2 h 8"/>
                  <a:gd name="T10" fmla="*/ 16 w 50"/>
                  <a:gd name="T11" fmla="*/ 0 h 8"/>
                  <a:gd name="T12" fmla="*/ 17 w 50"/>
                  <a:gd name="T13" fmla="*/ 0 h 8"/>
                  <a:gd name="T14" fmla="*/ 18 w 50"/>
                  <a:gd name="T15" fmla="*/ 0 h 8"/>
                  <a:gd name="T16" fmla="*/ 17 w 50"/>
                  <a:gd name="T17" fmla="*/ 1 h 8"/>
                  <a:gd name="T18" fmla="*/ 18 w 50"/>
                  <a:gd name="T19" fmla="*/ 3 h 8"/>
                  <a:gd name="T20" fmla="*/ 21 w 50"/>
                  <a:gd name="T21" fmla="*/ 4 h 8"/>
                  <a:gd name="T22" fmla="*/ 24 w 50"/>
                  <a:gd name="T23" fmla="*/ 3 h 8"/>
                  <a:gd name="T24" fmla="*/ 26 w 50"/>
                  <a:gd name="T25" fmla="*/ 1 h 8"/>
                  <a:gd name="T26" fmla="*/ 26 w 50"/>
                  <a:gd name="T27" fmla="*/ 0 h 8"/>
                  <a:gd name="T28" fmla="*/ 27 w 50"/>
                  <a:gd name="T29" fmla="*/ 0 h 8"/>
                  <a:gd name="T30" fmla="*/ 28 w 50"/>
                  <a:gd name="T31" fmla="*/ 1 h 8"/>
                  <a:gd name="T32" fmla="*/ 29 w 50"/>
                  <a:gd name="T33" fmla="*/ 3 h 8"/>
                  <a:gd name="T34" fmla="*/ 30 w 50"/>
                  <a:gd name="T35" fmla="*/ 4 h 8"/>
                  <a:gd name="T36" fmla="*/ 33 w 50"/>
                  <a:gd name="T37" fmla="*/ 3 h 8"/>
                  <a:gd name="T38" fmla="*/ 35 w 50"/>
                  <a:gd name="T39" fmla="*/ 0 h 8"/>
                  <a:gd name="T40" fmla="*/ 38 w 50"/>
                  <a:gd name="T41" fmla="*/ 1 h 8"/>
                  <a:gd name="T42" fmla="*/ 38 w 50"/>
                  <a:gd name="T43" fmla="*/ 2 h 8"/>
                  <a:gd name="T44" fmla="*/ 38 w 50"/>
                  <a:gd name="T45" fmla="*/ 4 h 8"/>
                  <a:gd name="T46" fmla="*/ 41 w 50"/>
                  <a:gd name="T47" fmla="*/ 4 h 8"/>
                  <a:gd name="T48" fmla="*/ 43 w 50"/>
                  <a:gd name="T49" fmla="*/ 1 h 8"/>
                  <a:gd name="T50" fmla="*/ 44 w 50"/>
                  <a:gd name="T51" fmla="*/ 0 h 8"/>
                  <a:gd name="T52" fmla="*/ 45 w 50"/>
                  <a:gd name="T53" fmla="*/ 1 h 8"/>
                  <a:gd name="T54" fmla="*/ 46 w 50"/>
                  <a:gd name="T55" fmla="*/ 3 h 8"/>
                  <a:gd name="T56" fmla="*/ 50 w 50"/>
                  <a:gd name="T57" fmla="*/ 4 h 8"/>
                  <a:gd name="T58" fmla="*/ 47 w 50"/>
                  <a:gd name="T59" fmla="*/ 7 h 8"/>
                  <a:gd name="T60" fmla="*/ 45 w 50"/>
                  <a:gd name="T61" fmla="*/ 7 h 8"/>
                  <a:gd name="T62" fmla="*/ 44 w 50"/>
                  <a:gd name="T63" fmla="*/ 4 h 8"/>
                  <a:gd name="T64" fmla="*/ 42 w 50"/>
                  <a:gd name="T65" fmla="*/ 7 h 8"/>
                  <a:gd name="T66" fmla="*/ 38 w 50"/>
                  <a:gd name="T67" fmla="*/ 8 h 8"/>
                  <a:gd name="T68" fmla="*/ 36 w 50"/>
                  <a:gd name="T69" fmla="*/ 7 h 8"/>
                  <a:gd name="T70" fmla="*/ 35 w 50"/>
                  <a:gd name="T71" fmla="*/ 4 h 8"/>
                  <a:gd name="T72" fmla="*/ 31 w 50"/>
                  <a:gd name="T73" fmla="*/ 8 h 8"/>
                  <a:gd name="T74" fmla="*/ 28 w 50"/>
                  <a:gd name="T75" fmla="*/ 8 h 8"/>
                  <a:gd name="T76" fmla="*/ 26 w 50"/>
                  <a:gd name="T77" fmla="*/ 6 h 8"/>
                  <a:gd name="T78" fmla="*/ 24 w 50"/>
                  <a:gd name="T79" fmla="*/ 7 h 8"/>
                  <a:gd name="T80" fmla="*/ 21 w 50"/>
                  <a:gd name="T81" fmla="*/ 8 h 8"/>
                  <a:gd name="T82" fmla="*/ 18 w 50"/>
                  <a:gd name="T83" fmla="*/ 7 h 8"/>
                  <a:gd name="T84" fmla="*/ 15 w 50"/>
                  <a:gd name="T85" fmla="*/ 4 h 8"/>
                  <a:gd name="T86" fmla="*/ 13 w 50"/>
                  <a:gd name="T87" fmla="*/ 8 h 8"/>
                  <a:gd name="T88" fmla="*/ 10 w 50"/>
                  <a:gd name="T89" fmla="*/ 8 h 8"/>
                  <a:gd name="T90" fmla="*/ 8 w 50"/>
                  <a:gd name="T91" fmla="*/ 7 h 8"/>
                  <a:gd name="T92" fmla="*/ 7 w 50"/>
                  <a:gd name="T93" fmla="*/ 6 h 8"/>
                  <a:gd name="T94" fmla="*/ 4 w 50"/>
                  <a:gd name="T95" fmla="*/ 7 h 8"/>
                  <a:gd name="T96" fmla="*/ 0 w 50"/>
                  <a:gd name="T97" fmla="*/ 8 h 8"/>
                  <a:gd name="T98" fmla="*/ 1 w 50"/>
                  <a:gd name="T99" fmla="*/ 4 h 8"/>
                  <a:gd name="T100" fmla="*/ 2 w 50"/>
                  <a:gd name="T101" fmla="*/ 4 h 8"/>
                  <a:gd name="T102" fmla="*/ 5 w 50"/>
                  <a:gd name="T103" fmla="*/ 2 h 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 h="8">
                    <a:moveTo>
                      <a:pt x="7" y="0"/>
                    </a:moveTo>
                    <a:lnTo>
                      <a:pt x="8" y="0"/>
                    </a:lnTo>
                    <a:lnTo>
                      <a:pt x="9" y="0"/>
                    </a:lnTo>
                    <a:lnTo>
                      <a:pt x="9" y="1"/>
                    </a:lnTo>
                    <a:lnTo>
                      <a:pt x="9" y="4"/>
                    </a:lnTo>
                    <a:lnTo>
                      <a:pt x="11" y="4"/>
                    </a:lnTo>
                    <a:lnTo>
                      <a:pt x="13" y="4"/>
                    </a:lnTo>
                    <a:lnTo>
                      <a:pt x="14" y="3"/>
                    </a:lnTo>
                    <a:lnTo>
                      <a:pt x="15" y="2"/>
                    </a:lnTo>
                    <a:lnTo>
                      <a:pt x="15" y="1"/>
                    </a:lnTo>
                    <a:lnTo>
                      <a:pt x="16" y="0"/>
                    </a:lnTo>
                    <a:lnTo>
                      <a:pt x="17" y="0"/>
                    </a:lnTo>
                    <a:lnTo>
                      <a:pt x="18" y="0"/>
                    </a:lnTo>
                    <a:lnTo>
                      <a:pt x="18" y="1"/>
                    </a:lnTo>
                    <a:lnTo>
                      <a:pt x="17" y="1"/>
                    </a:lnTo>
                    <a:lnTo>
                      <a:pt x="17" y="2"/>
                    </a:lnTo>
                    <a:lnTo>
                      <a:pt x="18" y="3"/>
                    </a:lnTo>
                    <a:lnTo>
                      <a:pt x="19" y="4"/>
                    </a:lnTo>
                    <a:lnTo>
                      <a:pt x="21" y="4"/>
                    </a:lnTo>
                    <a:lnTo>
                      <a:pt x="23" y="4"/>
                    </a:lnTo>
                    <a:lnTo>
                      <a:pt x="24" y="3"/>
                    </a:lnTo>
                    <a:lnTo>
                      <a:pt x="25" y="2"/>
                    </a:lnTo>
                    <a:lnTo>
                      <a:pt x="26" y="1"/>
                    </a:lnTo>
                    <a:lnTo>
                      <a:pt x="26" y="0"/>
                    </a:lnTo>
                    <a:lnTo>
                      <a:pt x="27" y="0"/>
                    </a:lnTo>
                    <a:lnTo>
                      <a:pt x="28" y="0"/>
                    </a:lnTo>
                    <a:lnTo>
                      <a:pt x="28" y="1"/>
                    </a:lnTo>
                    <a:lnTo>
                      <a:pt x="28" y="2"/>
                    </a:lnTo>
                    <a:lnTo>
                      <a:pt x="29" y="3"/>
                    </a:lnTo>
                    <a:lnTo>
                      <a:pt x="29" y="4"/>
                    </a:lnTo>
                    <a:lnTo>
                      <a:pt x="30" y="4"/>
                    </a:lnTo>
                    <a:lnTo>
                      <a:pt x="31" y="4"/>
                    </a:lnTo>
                    <a:lnTo>
                      <a:pt x="33" y="3"/>
                    </a:lnTo>
                    <a:lnTo>
                      <a:pt x="35" y="1"/>
                    </a:lnTo>
                    <a:lnTo>
                      <a:pt x="35" y="0"/>
                    </a:lnTo>
                    <a:lnTo>
                      <a:pt x="37" y="0"/>
                    </a:lnTo>
                    <a:lnTo>
                      <a:pt x="38" y="1"/>
                    </a:lnTo>
                    <a:lnTo>
                      <a:pt x="38" y="2"/>
                    </a:lnTo>
                    <a:lnTo>
                      <a:pt x="37" y="3"/>
                    </a:lnTo>
                    <a:lnTo>
                      <a:pt x="38" y="4"/>
                    </a:lnTo>
                    <a:lnTo>
                      <a:pt x="39" y="4"/>
                    </a:lnTo>
                    <a:lnTo>
                      <a:pt x="41" y="4"/>
                    </a:lnTo>
                    <a:lnTo>
                      <a:pt x="42" y="3"/>
                    </a:lnTo>
                    <a:lnTo>
                      <a:pt x="43" y="1"/>
                    </a:lnTo>
                    <a:lnTo>
                      <a:pt x="44" y="0"/>
                    </a:lnTo>
                    <a:lnTo>
                      <a:pt x="45" y="0"/>
                    </a:lnTo>
                    <a:lnTo>
                      <a:pt x="45" y="1"/>
                    </a:lnTo>
                    <a:lnTo>
                      <a:pt x="46" y="2"/>
                    </a:lnTo>
                    <a:lnTo>
                      <a:pt x="46" y="3"/>
                    </a:lnTo>
                    <a:lnTo>
                      <a:pt x="47" y="4"/>
                    </a:lnTo>
                    <a:lnTo>
                      <a:pt x="50" y="4"/>
                    </a:lnTo>
                    <a:lnTo>
                      <a:pt x="50" y="7"/>
                    </a:lnTo>
                    <a:lnTo>
                      <a:pt x="47" y="7"/>
                    </a:lnTo>
                    <a:lnTo>
                      <a:pt x="46" y="7"/>
                    </a:lnTo>
                    <a:lnTo>
                      <a:pt x="45" y="7"/>
                    </a:lnTo>
                    <a:lnTo>
                      <a:pt x="44" y="7"/>
                    </a:lnTo>
                    <a:lnTo>
                      <a:pt x="44" y="4"/>
                    </a:lnTo>
                    <a:lnTo>
                      <a:pt x="43" y="6"/>
                    </a:lnTo>
                    <a:lnTo>
                      <a:pt x="42" y="7"/>
                    </a:lnTo>
                    <a:lnTo>
                      <a:pt x="40" y="8"/>
                    </a:lnTo>
                    <a:lnTo>
                      <a:pt x="38" y="8"/>
                    </a:lnTo>
                    <a:lnTo>
                      <a:pt x="37" y="8"/>
                    </a:lnTo>
                    <a:lnTo>
                      <a:pt x="36" y="7"/>
                    </a:lnTo>
                    <a:lnTo>
                      <a:pt x="35" y="7"/>
                    </a:lnTo>
                    <a:lnTo>
                      <a:pt x="35" y="4"/>
                    </a:lnTo>
                    <a:lnTo>
                      <a:pt x="33" y="7"/>
                    </a:lnTo>
                    <a:lnTo>
                      <a:pt x="31" y="8"/>
                    </a:lnTo>
                    <a:lnTo>
                      <a:pt x="30" y="8"/>
                    </a:lnTo>
                    <a:lnTo>
                      <a:pt x="28" y="8"/>
                    </a:lnTo>
                    <a:lnTo>
                      <a:pt x="27" y="7"/>
                    </a:lnTo>
                    <a:lnTo>
                      <a:pt x="26" y="6"/>
                    </a:lnTo>
                    <a:lnTo>
                      <a:pt x="26" y="4"/>
                    </a:lnTo>
                    <a:lnTo>
                      <a:pt x="24" y="7"/>
                    </a:lnTo>
                    <a:lnTo>
                      <a:pt x="22" y="8"/>
                    </a:lnTo>
                    <a:lnTo>
                      <a:pt x="21" y="8"/>
                    </a:lnTo>
                    <a:lnTo>
                      <a:pt x="19" y="8"/>
                    </a:lnTo>
                    <a:lnTo>
                      <a:pt x="18" y="7"/>
                    </a:lnTo>
                    <a:lnTo>
                      <a:pt x="17" y="7"/>
                    </a:lnTo>
                    <a:lnTo>
                      <a:pt x="15" y="4"/>
                    </a:lnTo>
                    <a:lnTo>
                      <a:pt x="14" y="7"/>
                    </a:lnTo>
                    <a:lnTo>
                      <a:pt x="13" y="8"/>
                    </a:lnTo>
                    <a:lnTo>
                      <a:pt x="11" y="8"/>
                    </a:lnTo>
                    <a:lnTo>
                      <a:pt x="10" y="8"/>
                    </a:lnTo>
                    <a:lnTo>
                      <a:pt x="9" y="8"/>
                    </a:lnTo>
                    <a:lnTo>
                      <a:pt x="8" y="7"/>
                    </a:lnTo>
                    <a:lnTo>
                      <a:pt x="7" y="6"/>
                    </a:lnTo>
                    <a:lnTo>
                      <a:pt x="7" y="4"/>
                    </a:lnTo>
                    <a:lnTo>
                      <a:pt x="4" y="7"/>
                    </a:lnTo>
                    <a:lnTo>
                      <a:pt x="2" y="8"/>
                    </a:lnTo>
                    <a:lnTo>
                      <a:pt x="0" y="8"/>
                    </a:lnTo>
                    <a:lnTo>
                      <a:pt x="1" y="4"/>
                    </a:lnTo>
                    <a:lnTo>
                      <a:pt x="2" y="4"/>
                    </a:lnTo>
                    <a:lnTo>
                      <a:pt x="3" y="3"/>
                    </a:lnTo>
                    <a:lnTo>
                      <a:pt x="5" y="2"/>
                    </a:lnTo>
                    <a:lnTo>
                      <a:pt x="7" y="0"/>
                    </a:lnTo>
                    <a:close/>
                  </a:path>
                </a:pathLst>
              </a:custGeom>
              <a:solidFill>
                <a:srgbClr val="35977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45" name="Freeform 395"/>
              <p:cNvSpPr>
                <a:spLocks/>
              </p:cNvSpPr>
              <p:nvPr/>
            </p:nvSpPr>
            <p:spPr bwMode="auto">
              <a:xfrm>
                <a:off x="3984" y="1328"/>
                <a:ext cx="49" cy="8"/>
              </a:xfrm>
              <a:custGeom>
                <a:avLst/>
                <a:gdLst>
                  <a:gd name="T0" fmla="*/ 8 w 49"/>
                  <a:gd name="T1" fmla="*/ 0 h 8"/>
                  <a:gd name="T2" fmla="*/ 8 w 49"/>
                  <a:gd name="T3" fmla="*/ 2 h 8"/>
                  <a:gd name="T4" fmla="*/ 9 w 49"/>
                  <a:gd name="T5" fmla="*/ 4 h 8"/>
                  <a:gd name="T6" fmla="*/ 12 w 49"/>
                  <a:gd name="T7" fmla="*/ 4 h 8"/>
                  <a:gd name="T8" fmla="*/ 14 w 49"/>
                  <a:gd name="T9" fmla="*/ 2 h 8"/>
                  <a:gd name="T10" fmla="*/ 16 w 49"/>
                  <a:gd name="T11" fmla="*/ 1 h 8"/>
                  <a:gd name="T12" fmla="*/ 16 w 49"/>
                  <a:gd name="T13" fmla="*/ 0 h 8"/>
                  <a:gd name="T14" fmla="*/ 17 w 49"/>
                  <a:gd name="T15" fmla="*/ 4 h 8"/>
                  <a:gd name="T16" fmla="*/ 21 w 49"/>
                  <a:gd name="T17" fmla="*/ 4 h 8"/>
                  <a:gd name="T18" fmla="*/ 24 w 49"/>
                  <a:gd name="T19" fmla="*/ 2 h 8"/>
                  <a:gd name="T20" fmla="*/ 25 w 49"/>
                  <a:gd name="T21" fmla="*/ 1 h 8"/>
                  <a:gd name="T22" fmla="*/ 26 w 49"/>
                  <a:gd name="T23" fmla="*/ 0 h 8"/>
                  <a:gd name="T24" fmla="*/ 27 w 49"/>
                  <a:gd name="T25" fmla="*/ 1 h 8"/>
                  <a:gd name="T26" fmla="*/ 27 w 49"/>
                  <a:gd name="T27" fmla="*/ 3 h 8"/>
                  <a:gd name="T28" fmla="*/ 29 w 49"/>
                  <a:gd name="T29" fmla="*/ 4 h 8"/>
                  <a:gd name="T30" fmla="*/ 32 w 49"/>
                  <a:gd name="T31" fmla="*/ 3 h 8"/>
                  <a:gd name="T32" fmla="*/ 35 w 49"/>
                  <a:gd name="T33" fmla="*/ 0 h 8"/>
                  <a:gd name="T34" fmla="*/ 37 w 49"/>
                  <a:gd name="T35" fmla="*/ 4 h 8"/>
                  <a:gd name="T36" fmla="*/ 40 w 49"/>
                  <a:gd name="T37" fmla="*/ 4 h 8"/>
                  <a:gd name="T38" fmla="*/ 42 w 49"/>
                  <a:gd name="T39" fmla="*/ 1 h 8"/>
                  <a:gd name="T40" fmla="*/ 43 w 49"/>
                  <a:gd name="T41" fmla="*/ 0 h 8"/>
                  <a:gd name="T42" fmla="*/ 46 w 49"/>
                  <a:gd name="T43" fmla="*/ 4 h 8"/>
                  <a:gd name="T44" fmla="*/ 49 w 49"/>
                  <a:gd name="T45" fmla="*/ 7 h 8"/>
                  <a:gd name="T46" fmla="*/ 46 w 49"/>
                  <a:gd name="T47" fmla="*/ 7 h 8"/>
                  <a:gd name="T48" fmla="*/ 45 w 49"/>
                  <a:gd name="T49" fmla="*/ 7 h 8"/>
                  <a:gd name="T50" fmla="*/ 44 w 49"/>
                  <a:gd name="T51" fmla="*/ 4 h 8"/>
                  <a:gd name="T52" fmla="*/ 41 w 49"/>
                  <a:gd name="T53" fmla="*/ 8 h 8"/>
                  <a:gd name="T54" fmla="*/ 37 w 49"/>
                  <a:gd name="T55" fmla="*/ 8 h 8"/>
                  <a:gd name="T56" fmla="*/ 35 w 49"/>
                  <a:gd name="T57" fmla="*/ 7 h 8"/>
                  <a:gd name="T58" fmla="*/ 35 w 49"/>
                  <a:gd name="T59" fmla="*/ 4 h 8"/>
                  <a:gd name="T60" fmla="*/ 31 w 49"/>
                  <a:gd name="T61" fmla="*/ 8 h 8"/>
                  <a:gd name="T62" fmla="*/ 27 w 49"/>
                  <a:gd name="T63" fmla="*/ 8 h 8"/>
                  <a:gd name="T64" fmla="*/ 25 w 49"/>
                  <a:gd name="T65" fmla="*/ 4 h 8"/>
                  <a:gd name="T66" fmla="*/ 23 w 49"/>
                  <a:gd name="T67" fmla="*/ 7 h 8"/>
                  <a:gd name="T68" fmla="*/ 19 w 49"/>
                  <a:gd name="T69" fmla="*/ 8 h 8"/>
                  <a:gd name="T70" fmla="*/ 17 w 49"/>
                  <a:gd name="T71" fmla="*/ 7 h 8"/>
                  <a:gd name="T72" fmla="*/ 16 w 49"/>
                  <a:gd name="T73" fmla="*/ 4 h 8"/>
                  <a:gd name="T74" fmla="*/ 13 w 49"/>
                  <a:gd name="T75" fmla="*/ 8 h 8"/>
                  <a:gd name="T76" fmla="*/ 10 w 49"/>
                  <a:gd name="T77" fmla="*/ 8 h 8"/>
                  <a:gd name="T78" fmla="*/ 8 w 49"/>
                  <a:gd name="T79" fmla="*/ 7 h 8"/>
                  <a:gd name="T80" fmla="*/ 7 w 49"/>
                  <a:gd name="T81" fmla="*/ 6 h 8"/>
                  <a:gd name="T82" fmla="*/ 5 w 49"/>
                  <a:gd name="T83" fmla="*/ 7 h 8"/>
                  <a:gd name="T84" fmla="*/ 0 w 49"/>
                  <a:gd name="T85" fmla="*/ 8 h 8"/>
                  <a:gd name="T86" fmla="*/ 0 w 49"/>
                  <a:gd name="T87" fmla="*/ 4 h 8"/>
                  <a:gd name="T88" fmla="*/ 2 w 49"/>
                  <a:gd name="T89" fmla="*/ 4 h 8"/>
                  <a:gd name="T90" fmla="*/ 7 w 49"/>
                  <a:gd name="T91" fmla="*/ 0 h 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9" h="8">
                    <a:moveTo>
                      <a:pt x="7" y="0"/>
                    </a:moveTo>
                    <a:lnTo>
                      <a:pt x="8" y="0"/>
                    </a:lnTo>
                    <a:lnTo>
                      <a:pt x="8" y="1"/>
                    </a:lnTo>
                    <a:lnTo>
                      <a:pt x="8" y="2"/>
                    </a:lnTo>
                    <a:lnTo>
                      <a:pt x="8" y="3"/>
                    </a:lnTo>
                    <a:lnTo>
                      <a:pt x="9" y="4"/>
                    </a:lnTo>
                    <a:lnTo>
                      <a:pt x="10" y="4"/>
                    </a:lnTo>
                    <a:lnTo>
                      <a:pt x="12" y="4"/>
                    </a:lnTo>
                    <a:lnTo>
                      <a:pt x="13" y="3"/>
                    </a:lnTo>
                    <a:lnTo>
                      <a:pt x="14" y="2"/>
                    </a:lnTo>
                    <a:lnTo>
                      <a:pt x="15" y="2"/>
                    </a:lnTo>
                    <a:lnTo>
                      <a:pt x="16" y="1"/>
                    </a:lnTo>
                    <a:lnTo>
                      <a:pt x="16" y="0"/>
                    </a:lnTo>
                    <a:lnTo>
                      <a:pt x="17" y="0"/>
                    </a:lnTo>
                    <a:lnTo>
                      <a:pt x="17" y="4"/>
                    </a:lnTo>
                    <a:lnTo>
                      <a:pt x="19" y="4"/>
                    </a:lnTo>
                    <a:lnTo>
                      <a:pt x="21" y="4"/>
                    </a:lnTo>
                    <a:lnTo>
                      <a:pt x="23" y="3"/>
                    </a:lnTo>
                    <a:lnTo>
                      <a:pt x="24" y="2"/>
                    </a:lnTo>
                    <a:lnTo>
                      <a:pt x="25" y="2"/>
                    </a:lnTo>
                    <a:lnTo>
                      <a:pt x="25" y="1"/>
                    </a:lnTo>
                    <a:lnTo>
                      <a:pt x="25" y="0"/>
                    </a:lnTo>
                    <a:lnTo>
                      <a:pt x="26" y="0"/>
                    </a:lnTo>
                    <a:lnTo>
                      <a:pt x="27" y="0"/>
                    </a:lnTo>
                    <a:lnTo>
                      <a:pt x="27" y="1"/>
                    </a:lnTo>
                    <a:lnTo>
                      <a:pt x="27" y="2"/>
                    </a:lnTo>
                    <a:lnTo>
                      <a:pt x="27" y="3"/>
                    </a:lnTo>
                    <a:lnTo>
                      <a:pt x="28" y="4"/>
                    </a:lnTo>
                    <a:lnTo>
                      <a:pt x="29" y="4"/>
                    </a:lnTo>
                    <a:lnTo>
                      <a:pt x="30" y="4"/>
                    </a:lnTo>
                    <a:lnTo>
                      <a:pt x="32" y="3"/>
                    </a:lnTo>
                    <a:lnTo>
                      <a:pt x="34" y="1"/>
                    </a:lnTo>
                    <a:lnTo>
                      <a:pt x="35" y="0"/>
                    </a:lnTo>
                    <a:lnTo>
                      <a:pt x="37" y="0"/>
                    </a:lnTo>
                    <a:lnTo>
                      <a:pt x="37" y="4"/>
                    </a:lnTo>
                    <a:lnTo>
                      <a:pt x="38" y="4"/>
                    </a:lnTo>
                    <a:lnTo>
                      <a:pt x="40" y="4"/>
                    </a:lnTo>
                    <a:lnTo>
                      <a:pt x="41" y="3"/>
                    </a:lnTo>
                    <a:lnTo>
                      <a:pt x="42" y="1"/>
                    </a:lnTo>
                    <a:lnTo>
                      <a:pt x="43" y="0"/>
                    </a:lnTo>
                    <a:lnTo>
                      <a:pt x="46" y="0"/>
                    </a:lnTo>
                    <a:lnTo>
                      <a:pt x="46" y="4"/>
                    </a:lnTo>
                    <a:lnTo>
                      <a:pt x="48" y="4"/>
                    </a:lnTo>
                    <a:lnTo>
                      <a:pt x="49" y="7"/>
                    </a:lnTo>
                    <a:lnTo>
                      <a:pt x="48" y="7"/>
                    </a:lnTo>
                    <a:lnTo>
                      <a:pt x="46" y="7"/>
                    </a:lnTo>
                    <a:lnTo>
                      <a:pt x="45" y="7"/>
                    </a:lnTo>
                    <a:lnTo>
                      <a:pt x="44" y="7"/>
                    </a:lnTo>
                    <a:lnTo>
                      <a:pt x="44" y="4"/>
                    </a:lnTo>
                    <a:lnTo>
                      <a:pt x="43" y="7"/>
                    </a:lnTo>
                    <a:lnTo>
                      <a:pt x="41" y="8"/>
                    </a:lnTo>
                    <a:lnTo>
                      <a:pt x="38" y="8"/>
                    </a:lnTo>
                    <a:lnTo>
                      <a:pt x="37" y="8"/>
                    </a:lnTo>
                    <a:lnTo>
                      <a:pt x="36" y="7"/>
                    </a:lnTo>
                    <a:lnTo>
                      <a:pt x="35" y="7"/>
                    </a:lnTo>
                    <a:lnTo>
                      <a:pt x="35" y="4"/>
                    </a:lnTo>
                    <a:lnTo>
                      <a:pt x="34" y="7"/>
                    </a:lnTo>
                    <a:lnTo>
                      <a:pt x="31" y="8"/>
                    </a:lnTo>
                    <a:lnTo>
                      <a:pt x="29" y="8"/>
                    </a:lnTo>
                    <a:lnTo>
                      <a:pt x="27" y="8"/>
                    </a:lnTo>
                    <a:lnTo>
                      <a:pt x="26" y="7"/>
                    </a:lnTo>
                    <a:lnTo>
                      <a:pt x="25" y="4"/>
                    </a:lnTo>
                    <a:lnTo>
                      <a:pt x="24" y="6"/>
                    </a:lnTo>
                    <a:lnTo>
                      <a:pt x="23" y="7"/>
                    </a:lnTo>
                    <a:lnTo>
                      <a:pt x="21" y="8"/>
                    </a:lnTo>
                    <a:lnTo>
                      <a:pt x="19" y="8"/>
                    </a:lnTo>
                    <a:lnTo>
                      <a:pt x="17" y="8"/>
                    </a:lnTo>
                    <a:lnTo>
                      <a:pt x="17" y="7"/>
                    </a:lnTo>
                    <a:lnTo>
                      <a:pt x="16" y="7"/>
                    </a:lnTo>
                    <a:lnTo>
                      <a:pt x="16" y="4"/>
                    </a:lnTo>
                    <a:lnTo>
                      <a:pt x="14" y="7"/>
                    </a:lnTo>
                    <a:lnTo>
                      <a:pt x="13" y="8"/>
                    </a:lnTo>
                    <a:lnTo>
                      <a:pt x="11" y="8"/>
                    </a:lnTo>
                    <a:lnTo>
                      <a:pt x="10" y="8"/>
                    </a:lnTo>
                    <a:lnTo>
                      <a:pt x="9" y="8"/>
                    </a:lnTo>
                    <a:lnTo>
                      <a:pt x="8" y="7"/>
                    </a:lnTo>
                    <a:lnTo>
                      <a:pt x="7" y="7"/>
                    </a:lnTo>
                    <a:lnTo>
                      <a:pt x="7" y="6"/>
                    </a:lnTo>
                    <a:lnTo>
                      <a:pt x="7" y="4"/>
                    </a:lnTo>
                    <a:lnTo>
                      <a:pt x="5" y="7"/>
                    </a:lnTo>
                    <a:lnTo>
                      <a:pt x="2" y="8"/>
                    </a:lnTo>
                    <a:lnTo>
                      <a:pt x="0" y="8"/>
                    </a:lnTo>
                    <a:lnTo>
                      <a:pt x="0" y="4"/>
                    </a:lnTo>
                    <a:lnTo>
                      <a:pt x="2" y="4"/>
                    </a:lnTo>
                    <a:lnTo>
                      <a:pt x="5" y="2"/>
                    </a:lnTo>
                    <a:lnTo>
                      <a:pt x="7" y="0"/>
                    </a:lnTo>
                    <a:close/>
                  </a:path>
                </a:pathLst>
              </a:custGeom>
              <a:solidFill>
                <a:srgbClr val="35977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46" name="Freeform 396"/>
              <p:cNvSpPr>
                <a:spLocks/>
              </p:cNvSpPr>
              <p:nvPr/>
            </p:nvSpPr>
            <p:spPr bwMode="auto">
              <a:xfrm>
                <a:off x="3951" y="1266"/>
                <a:ext cx="28" cy="72"/>
              </a:xfrm>
              <a:custGeom>
                <a:avLst/>
                <a:gdLst>
                  <a:gd name="T0" fmla="*/ 0 w 28"/>
                  <a:gd name="T1" fmla="*/ 0 h 72"/>
                  <a:gd name="T2" fmla="*/ 13 w 28"/>
                  <a:gd name="T3" fmla="*/ 0 h 72"/>
                  <a:gd name="T4" fmla="*/ 28 w 28"/>
                  <a:gd name="T5" fmla="*/ 72 h 72"/>
                  <a:gd name="T6" fmla="*/ 0 w 28"/>
                  <a:gd name="T7" fmla="*/ 72 h 72"/>
                  <a:gd name="T8" fmla="*/ 0 w 28"/>
                  <a:gd name="T9" fmla="*/ 0 h 7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72">
                    <a:moveTo>
                      <a:pt x="0" y="0"/>
                    </a:moveTo>
                    <a:lnTo>
                      <a:pt x="13" y="0"/>
                    </a:lnTo>
                    <a:lnTo>
                      <a:pt x="28" y="72"/>
                    </a:lnTo>
                    <a:lnTo>
                      <a:pt x="0" y="72"/>
                    </a:lnTo>
                    <a:lnTo>
                      <a:pt x="0" y="0"/>
                    </a:lnTo>
                    <a:close/>
                  </a:path>
                </a:pathLst>
              </a:custGeom>
              <a:solidFill>
                <a:srgbClr val="35977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47" name="Freeform 397"/>
              <p:cNvSpPr>
                <a:spLocks/>
              </p:cNvSpPr>
              <p:nvPr/>
            </p:nvSpPr>
            <p:spPr bwMode="auto">
              <a:xfrm>
                <a:off x="3542" y="1363"/>
                <a:ext cx="174" cy="174"/>
              </a:xfrm>
              <a:custGeom>
                <a:avLst/>
                <a:gdLst>
                  <a:gd name="T0" fmla="*/ 87 w 174"/>
                  <a:gd name="T1" fmla="*/ 0 h 174"/>
                  <a:gd name="T2" fmla="*/ 110 w 174"/>
                  <a:gd name="T3" fmla="*/ 3 h 174"/>
                  <a:gd name="T4" fmla="*/ 130 w 174"/>
                  <a:gd name="T5" fmla="*/ 13 h 174"/>
                  <a:gd name="T6" fmla="*/ 149 w 174"/>
                  <a:gd name="T7" fmla="*/ 25 h 174"/>
                  <a:gd name="T8" fmla="*/ 163 w 174"/>
                  <a:gd name="T9" fmla="*/ 44 h 174"/>
                  <a:gd name="T10" fmla="*/ 171 w 174"/>
                  <a:gd name="T11" fmla="*/ 64 h 174"/>
                  <a:gd name="T12" fmla="*/ 174 w 174"/>
                  <a:gd name="T13" fmla="*/ 87 h 174"/>
                  <a:gd name="T14" fmla="*/ 171 w 174"/>
                  <a:gd name="T15" fmla="*/ 111 h 174"/>
                  <a:gd name="T16" fmla="*/ 163 w 174"/>
                  <a:gd name="T17" fmla="*/ 132 h 174"/>
                  <a:gd name="T18" fmla="*/ 149 w 174"/>
                  <a:gd name="T19" fmla="*/ 149 h 174"/>
                  <a:gd name="T20" fmla="*/ 130 w 174"/>
                  <a:gd name="T21" fmla="*/ 163 h 174"/>
                  <a:gd name="T22" fmla="*/ 110 w 174"/>
                  <a:gd name="T23" fmla="*/ 172 h 174"/>
                  <a:gd name="T24" fmla="*/ 87 w 174"/>
                  <a:gd name="T25" fmla="*/ 174 h 174"/>
                  <a:gd name="T26" fmla="*/ 64 w 174"/>
                  <a:gd name="T27" fmla="*/ 172 h 174"/>
                  <a:gd name="T28" fmla="*/ 43 w 174"/>
                  <a:gd name="T29" fmla="*/ 163 h 174"/>
                  <a:gd name="T30" fmla="*/ 26 w 174"/>
                  <a:gd name="T31" fmla="*/ 149 h 174"/>
                  <a:gd name="T32" fmla="*/ 12 w 174"/>
                  <a:gd name="T33" fmla="*/ 132 h 174"/>
                  <a:gd name="T34" fmla="*/ 3 w 174"/>
                  <a:gd name="T35" fmla="*/ 111 h 174"/>
                  <a:gd name="T36" fmla="*/ 0 w 174"/>
                  <a:gd name="T37" fmla="*/ 87 h 174"/>
                  <a:gd name="T38" fmla="*/ 3 w 174"/>
                  <a:gd name="T39" fmla="*/ 64 h 174"/>
                  <a:gd name="T40" fmla="*/ 12 w 174"/>
                  <a:gd name="T41" fmla="*/ 44 h 174"/>
                  <a:gd name="T42" fmla="*/ 26 w 174"/>
                  <a:gd name="T43" fmla="*/ 25 h 174"/>
                  <a:gd name="T44" fmla="*/ 43 w 174"/>
                  <a:gd name="T45" fmla="*/ 13 h 174"/>
                  <a:gd name="T46" fmla="*/ 64 w 174"/>
                  <a:gd name="T47" fmla="*/ 3 h 174"/>
                  <a:gd name="T48" fmla="*/ 87 w 174"/>
                  <a:gd name="T49" fmla="*/ 0 h 1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74" h="174">
                    <a:moveTo>
                      <a:pt x="87" y="0"/>
                    </a:moveTo>
                    <a:lnTo>
                      <a:pt x="110" y="3"/>
                    </a:lnTo>
                    <a:lnTo>
                      <a:pt x="130" y="13"/>
                    </a:lnTo>
                    <a:lnTo>
                      <a:pt x="149" y="25"/>
                    </a:lnTo>
                    <a:lnTo>
                      <a:pt x="163" y="44"/>
                    </a:lnTo>
                    <a:lnTo>
                      <a:pt x="171" y="64"/>
                    </a:lnTo>
                    <a:lnTo>
                      <a:pt x="174" y="87"/>
                    </a:lnTo>
                    <a:lnTo>
                      <a:pt x="171" y="111"/>
                    </a:lnTo>
                    <a:lnTo>
                      <a:pt x="163" y="132"/>
                    </a:lnTo>
                    <a:lnTo>
                      <a:pt x="149" y="149"/>
                    </a:lnTo>
                    <a:lnTo>
                      <a:pt x="130" y="163"/>
                    </a:lnTo>
                    <a:lnTo>
                      <a:pt x="110" y="172"/>
                    </a:lnTo>
                    <a:lnTo>
                      <a:pt x="87" y="174"/>
                    </a:lnTo>
                    <a:lnTo>
                      <a:pt x="64" y="172"/>
                    </a:lnTo>
                    <a:lnTo>
                      <a:pt x="43" y="163"/>
                    </a:lnTo>
                    <a:lnTo>
                      <a:pt x="26" y="149"/>
                    </a:lnTo>
                    <a:lnTo>
                      <a:pt x="12" y="132"/>
                    </a:lnTo>
                    <a:lnTo>
                      <a:pt x="3" y="111"/>
                    </a:lnTo>
                    <a:lnTo>
                      <a:pt x="0" y="87"/>
                    </a:lnTo>
                    <a:lnTo>
                      <a:pt x="3" y="64"/>
                    </a:lnTo>
                    <a:lnTo>
                      <a:pt x="12" y="44"/>
                    </a:lnTo>
                    <a:lnTo>
                      <a:pt x="26" y="25"/>
                    </a:lnTo>
                    <a:lnTo>
                      <a:pt x="43" y="13"/>
                    </a:lnTo>
                    <a:lnTo>
                      <a:pt x="64" y="3"/>
                    </a:lnTo>
                    <a:lnTo>
                      <a:pt x="87" y="0"/>
                    </a:lnTo>
                    <a:close/>
                  </a:path>
                </a:pathLst>
              </a:custGeom>
              <a:solidFill>
                <a:srgbClr val="29426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48" name="Freeform 398"/>
              <p:cNvSpPr>
                <a:spLocks noEditPoints="1"/>
              </p:cNvSpPr>
              <p:nvPr/>
            </p:nvSpPr>
            <p:spPr bwMode="auto">
              <a:xfrm>
                <a:off x="3537" y="1356"/>
                <a:ext cx="186" cy="187"/>
              </a:xfrm>
              <a:custGeom>
                <a:avLst/>
                <a:gdLst>
                  <a:gd name="T0" fmla="*/ 92 w 186"/>
                  <a:gd name="T1" fmla="*/ 12 h 187"/>
                  <a:gd name="T2" fmla="*/ 72 w 186"/>
                  <a:gd name="T3" fmla="*/ 14 h 187"/>
                  <a:gd name="T4" fmla="*/ 53 w 186"/>
                  <a:gd name="T5" fmla="*/ 22 h 187"/>
                  <a:gd name="T6" fmla="*/ 35 w 186"/>
                  <a:gd name="T7" fmla="*/ 36 h 187"/>
                  <a:gd name="T8" fmla="*/ 21 w 186"/>
                  <a:gd name="T9" fmla="*/ 53 h 187"/>
                  <a:gd name="T10" fmla="*/ 14 w 186"/>
                  <a:gd name="T11" fmla="*/ 72 h 187"/>
                  <a:gd name="T12" fmla="*/ 12 w 186"/>
                  <a:gd name="T13" fmla="*/ 94 h 187"/>
                  <a:gd name="T14" fmla="*/ 13 w 186"/>
                  <a:gd name="T15" fmla="*/ 110 h 187"/>
                  <a:gd name="T16" fmla="*/ 17 w 186"/>
                  <a:gd name="T17" fmla="*/ 126 h 187"/>
                  <a:gd name="T18" fmla="*/ 25 w 186"/>
                  <a:gd name="T19" fmla="*/ 139 h 187"/>
                  <a:gd name="T20" fmla="*/ 35 w 186"/>
                  <a:gd name="T21" fmla="*/ 151 h 187"/>
                  <a:gd name="T22" fmla="*/ 53 w 186"/>
                  <a:gd name="T23" fmla="*/ 165 h 187"/>
                  <a:gd name="T24" fmla="*/ 72 w 186"/>
                  <a:gd name="T25" fmla="*/ 173 h 187"/>
                  <a:gd name="T26" fmla="*/ 92 w 186"/>
                  <a:gd name="T27" fmla="*/ 175 h 187"/>
                  <a:gd name="T28" fmla="*/ 114 w 186"/>
                  <a:gd name="T29" fmla="*/ 173 h 187"/>
                  <a:gd name="T30" fmla="*/ 133 w 186"/>
                  <a:gd name="T31" fmla="*/ 165 h 187"/>
                  <a:gd name="T32" fmla="*/ 150 w 186"/>
                  <a:gd name="T33" fmla="*/ 151 h 187"/>
                  <a:gd name="T34" fmla="*/ 161 w 186"/>
                  <a:gd name="T35" fmla="*/ 139 h 187"/>
                  <a:gd name="T36" fmla="*/ 169 w 186"/>
                  <a:gd name="T37" fmla="*/ 126 h 187"/>
                  <a:gd name="T38" fmla="*/ 173 w 186"/>
                  <a:gd name="T39" fmla="*/ 110 h 187"/>
                  <a:gd name="T40" fmla="*/ 174 w 186"/>
                  <a:gd name="T41" fmla="*/ 94 h 187"/>
                  <a:gd name="T42" fmla="*/ 172 w 186"/>
                  <a:gd name="T43" fmla="*/ 72 h 187"/>
                  <a:gd name="T44" fmla="*/ 163 w 186"/>
                  <a:gd name="T45" fmla="*/ 53 h 187"/>
                  <a:gd name="T46" fmla="*/ 150 w 186"/>
                  <a:gd name="T47" fmla="*/ 36 h 187"/>
                  <a:gd name="T48" fmla="*/ 133 w 186"/>
                  <a:gd name="T49" fmla="*/ 22 h 187"/>
                  <a:gd name="T50" fmla="*/ 114 w 186"/>
                  <a:gd name="T51" fmla="*/ 14 h 187"/>
                  <a:gd name="T52" fmla="*/ 92 w 186"/>
                  <a:gd name="T53" fmla="*/ 12 h 187"/>
                  <a:gd name="T54" fmla="*/ 92 w 186"/>
                  <a:gd name="T55" fmla="*/ 0 h 187"/>
                  <a:gd name="T56" fmla="*/ 111 w 186"/>
                  <a:gd name="T57" fmla="*/ 2 h 187"/>
                  <a:gd name="T58" fmla="*/ 128 w 186"/>
                  <a:gd name="T59" fmla="*/ 8 h 187"/>
                  <a:gd name="T60" fmla="*/ 144 w 186"/>
                  <a:gd name="T61" fmla="*/ 16 h 187"/>
                  <a:gd name="T62" fmla="*/ 158 w 186"/>
                  <a:gd name="T63" fmla="*/ 27 h 187"/>
                  <a:gd name="T64" fmla="*/ 170 w 186"/>
                  <a:gd name="T65" fmla="*/ 42 h 187"/>
                  <a:gd name="T66" fmla="*/ 178 w 186"/>
                  <a:gd name="T67" fmla="*/ 58 h 187"/>
                  <a:gd name="T68" fmla="*/ 184 w 186"/>
                  <a:gd name="T69" fmla="*/ 76 h 187"/>
                  <a:gd name="T70" fmla="*/ 186 w 186"/>
                  <a:gd name="T71" fmla="*/ 94 h 187"/>
                  <a:gd name="T72" fmla="*/ 184 w 186"/>
                  <a:gd name="T73" fmla="*/ 112 h 187"/>
                  <a:gd name="T74" fmla="*/ 178 w 186"/>
                  <a:gd name="T75" fmla="*/ 129 h 187"/>
                  <a:gd name="T76" fmla="*/ 170 w 186"/>
                  <a:gd name="T77" fmla="*/ 146 h 187"/>
                  <a:gd name="T78" fmla="*/ 158 w 186"/>
                  <a:gd name="T79" fmla="*/ 160 h 187"/>
                  <a:gd name="T80" fmla="*/ 144 w 186"/>
                  <a:gd name="T81" fmla="*/ 170 h 187"/>
                  <a:gd name="T82" fmla="*/ 128 w 186"/>
                  <a:gd name="T83" fmla="*/ 179 h 187"/>
                  <a:gd name="T84" fmla="*/ 111 w 186"/>
                  <a:gd name="T85" fmla="*/ 184 h 187"/>
                  <a:gd name="T86" fmla="*/ 92 w 186"/>
                  <a:gd name="T87" fmla="*/ 187 h 187"/>
                  <a:gd name="T88" fmla="*/ 74 w 186"/>
                  <a:gd name="T89" fmla="*/ 184 h 187"/>
                  <a:gd name="T90" fmla="*/ 57 w 186"/>
                  <a:gd name="T91" fmla="*/ 179 h 187"/>
                  <a:gd name="T92" fmla="*/ 41 w 186"/>
                  <a:gd name="T93" fmla="*/ 170 h 187"/>
                  <a:gd name="T94" fmla="*/ 27 w 186"/>
                  <a:gd name="T95" fmla="*/ 160 h 187"/>
                  <a:gd name="T96" fmla="*/ 16 w 186"/>
                  <a:gd name="T97" fmla="*/ 146 h 187"/>
                  <a:gd name="T98" fmla="*/ 7 w 186"/>
                  <a:gd name="T99" fmla="*/ 129 h 187"/>
                  <a:gd name="T100" fmla="*/ 2 w 186"/>
                  <a:gd name="T101" fmla="*/ 112 h 187"/>
                  <a:gd name="T102" fmla="*/ 0 w 186"/>
                  <a:gd name="T103" fmla="*/ 94 h 187"/>
                  <a:gd name="T104" fmla="*/ 2 w 186"/>
                  <a:gd name="T105" fmla="*/ 76 h 187"/>
                  <a:gd name="T106" fmla="*/ 7 w 186"/>
                  <a:gd name="T107" fmla="*/ 58 h 187"/>
                  <a:gd name="T108" fmla="*/ 16 w 186"/>
                  <a:gd name="T109" fmla="*/ 42 h 187"/>
                  <a:gd name="T110" fmla="*/ 27 w 186"/>
                  <a:gd name="T111" fmla="*/ 27 h 187"/>
                  <a:gd name="T112" fmla="*/ 41 w 186"/>
                  <a:gd name="T113" fmla="*/ 16 h 187"/>
                  <a:gd name="T114" fmla="*/ 57 w 186"/>
                  <a:gd name="T115" fmla="*/ 8 h 187"/>
                  <a:gd name="T116" fmla="*/ 74 w 186"/>
                  <a:gd name="T117" fmla="*/ 2 h 187"/>
                  <a:gd name="T118" fmla="*/ 92 w 186"/>
                  <a:gd name="T119" fmla="*/ 0 h 18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86" h="187">
                    <a:moveTo>
                      <a:pt x="92" y="12"/>
                    </a:moveTo>
                    <a:lnTo>
                      <a:pt x="72" y="14"/>
                    </a:lnTo>
                    <a:lnTo>
                      <a:pt x="53" y="22"/>
                    </a:lnTo>
                    <a:lnTo>
                      <a:pt x="35" y="36"/>
                    </a:lnTo>
                    <a:lnTo>
                      <a:pt x="21" y="53"/>
                    </a:lnTo>
                    <a:lnTo>
                      <a:pt x="14" y="72"/>
                    </a:lnTo>
                    <a:lnTo>
                      <a:pt x="12" y="94"/>
                    </a:lnTo>
                    <a:lnTo>
                      <a:pt x="13" y="110"/>
                    </a:lnTo>
                    <a:lnTo>
                      <a:pt x="17" y="126"/>
                    </a:lnTo>
                    <a:lnTo>
                      <a:pt x="25" y="139"/>
                    </a:lnTo>
                    <a:lnTo>
                      <a:pt x="35" y="151"/>
                    </a:lnTo>
                    <a:lnTo>
                      <a:pt x="53" y="165"/>
                    </a:lnTo>
                    <a:lnTo>
                      <a:pt x="72" y="173"/>
                    </a:lnTo>
                    <a:lnTo>
                      <a:pt x="92" y="175"/>
                    </a:lnTo>
                    <a:lnTo>
                      <a:pt x="114" y="173"/>
                    </a:lnTo>
                    <a:lnTo>
                      <a:pt x="133" y="165"/>
                    </a:lnTo>
                    <a:lnTo>
                      <a:pt x="150" y="151"/>
                    </a:lnTo>
                    <a:lnTo>
                      <a:pt x="161" y="139"/>
                    </a:lnTo>
                    <a:lnTo>
                      <a:pt x="169" y="126"/>
                    </a:lnTo>
                    <a:lnTo>
                      <a:pt x="173" y="110"/>
                    </a:lnTo>
                    <a:lnTo>
                      <a:pt x="174" y="94"/>
                    </a:lnTo>
                    <a:lnTo>
                      <a:pt x="172" y="72"/>
                    </a:lnTo>
                    <a:lnTo>
                      <a:pt x="163" y="53"/>
                    </a:lnTo>
                    <a:lnTo>
                      <a:pt x="150" y="36"/>
                    </a:lnTo>
                    <a:lnTo>
                      <a:pt x="133" y="22"/>
                    </a:lnTo>
                    <a:lnTo>
                      <a:pt x="114" y="14"/>
                    </a:lnTo>
                    <a:lnTo>
                      <a:pt x="92" y="12"/>
                    </a:lnTo>
                    <a:close/>
                    <a:moveTo>
                      <a:pt x="92" y="0"/>
                    </a:moveTo>
                    <a:lnTo>
                      <a:pt x="111" y="2"/>
                    </a:lnTo>
                    <a:lnTo>
                      <a:pt x="128" y="8"/>
                    </a:lnTo>
                    <a:lnTo>
                      <a:pt x="144" y="16"/>
                    </a:lnTo>
                    <a:lnTo>
                      <a:pt x="158" y="27"/>
                    </a:lnTo>
                    <a:lnTo>
                      <a:pt x="170" y="42"/>
                    </a:lnTo>
                    <a:lnTo>
                      <a:pt x="178" y="58"/>
                    </a:lnTo>
                    <a:lnTo>
                      <a:pt x="184" y="76"/>
                    </a:lnTo>
                    <a:lnTo>
                      <a:pt x="186" y="94"/>
                    </a:lnTo>
                    <a:lnTo>
                      <a:pt x="184" y="112"/>
                    </a:lnTo>
                    <a:lnTo>
                      <a:pt x="178" y="129"/>
                    </a:lnTo>
                    <a:lnTo>
                      <a:pt x="170" y="146"/>
                    </a:lnTo>
                    <a:lnTo>
                      <a:pt x="158" y="160"/>
                    </a:lnTo>
                    <a:lnTo>
                      <a:pt x="144" y="170"/>
                    </a:lnTo>
                    <a:lnTo>
                      <a:pt x="128" y="179"/>
                    </a:lnTo>
                    <a:lnTo>
                      <a:pt x="111" y="184"/>
                    </a:lnTo>
                    <a:lnTo>
                      <a:pt x="92" y="187"/>
                    </a:lnTo>
                    <a:lnTo>
                      <a:pt x="74" y="184"/>
                    </a:lnTo>
                    <a:lnTo>
                      <a:pt x="57" y="179"/>
                    </a:lnTo>
                    <a:lnTo>
                      <a:pt x="41" y="170"/>
                    </a:lnTo>
                    <a:lnTo>
                      <a:pt x="27" y="160"/>
                    </a:lnTo>
                    <a:lnTo>
                      <a:pt x="16" y="146"/>
                    </a:lnTo>
                    <a:lnTo>
                      <a:pt x="7" y="129"/>
                    </a:lnTo>
                    <a:lnTo>
                      <a:pt x="2" y="112"/>
                    </a:lnTo>
                    <a:lnTo>
                      <a:pt x="0" y="94"/>
                    </a:lnTo>
                    <a:lnTo>
                      <a:pt x="2" y="76"/>
                    </a:lnTo>
                    <a:lnTo>
                      <a:pt x="7" y="58"/>
                    </a:lnTo>
                    <a:lnTo>
                      <a:pt x="16" y="42"/>
                    </a:lnTo>
                    <a:lnTo>
                      <a:pt x="27" y="27"/>
                    </a:lnTo>
                    <a:lnTo>
                      <a:pt x="41" y="16"/>
                    </a:lnTo>
                    <a:lnTo>
                      <a:pt x="57" y="8"/>
                    </a:lnTo>
                    <a:lnTo>
                      <a:pt x="74" y="2"/>
                    </a:lnTo>
                    <a:lnTo>
                      <a:pt x="92" y="0"/>
                    </a:lnTo>
                    <a:close/>
                  </a:path>
                </a:pathLst>
              </a:custGeom>
              <a:solidFill>
                <a:srgbClr val="A3A7A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49" name="Freeform 399"/>
              <p:cNvSpPr>
                <a:spLocks noEditPoints="1"/>
              </p:cNvSpPr>
              <p:nvPr/>
            </p:nvSpPr>
            <p:spPr bwMode="auto">
              <a:xfrm>
                <a:off x="3617" y="1439"/>
                <a:ext cx="20" cy="19"/>
              </a:xfrm>
              <a:custGeom>
                <a:avLst/>
                <a:gdLst>
                  <a:gd name="T0" fmla="*/ 10 w 20"/>
                  <a:gd name="T1" fmla="*/ 4 h 19"/>
                  <a:gd name="T2" fmla="*/ 9 w 20"/>
                  <a:gd name="T3" fmla="*/ 5 h 19"/>
                  <a:gd name="T4" fmla="*/ 8 w 20"/>
                  <a:gd name="T5" fmla="*/ 7 h 19"/>
                  <a:gd name="T6" fmla="*/ 8 w 20"/>
                  <a:gd name="T7" fmla="*/ 9 h 19"/>
                  <a:gd name="T8" fmla="*/ 7 w 20"/>
                  <a:gd name="T9" fmla="*/ 10 h 19"/>
                  <a:gd name="T10" fmla="*/ 8 w 20"/>
                  <a:gd name="T11" fmla="*/ 11 h 19"/>
                  <a:gd name="T12" fmla="*/ 9 w 20"/>
                  <a:gd name="T13" fmla="*/ 12 h 19"/>
                  <a:gd name="T14" fmla="*/ 10 w 20"/>
                  <a:gd name="T15" fmla="*/ 13 h 19"/>
                  <a:gd name="T16" fmla="*/ 12 w 20"/>
                  <a:gd name="T17" fmla="*/ 12 h 19"/>
                  <a:gd name="T18" fmla="*/ 13 w 20"/>
                  <a:gd name="T19" fmla="*/ 11 h 19"/>
                  <a:gd name="T20" fmla="*/ 13 w 20"/>
                  <a:gd name="T21" fmla="*/ 10 h 19"/>
                  <a:gd name="T22" fmla="*/ 13 w 20"/>
                  <a:gd name="T23" fmla="*/ 9 h 19"/>
                  <a:gd name="T24" fmla="*/ 12 w 20"/>
                  <a:gd name="T25" fmla="*/ 7 h 19"/>
                  <a:gd name="T26" fmla="*/ 11 w 20"/>
                  <a:gd name="T27" fmla="*/ 5 h 19"/>
                  <a:gd name="T28" fmla="*/ 10 w 20"/>
                  <a:gd name="T29" fmla="*/ 4 h 19"/>
                  <a:gd name="T30" fmla="*/ 10 w 20"/>
                  <a:gd name="T31" fmla="*/ 0 h 19"/>
                  <a:gd name="T32" fmla="*/ 13 w 20"/>
                  <a:gd name="T33" fmla="*/ 1 h 19"/>
                  <a:gd name="T34" fmla="*/ 17 w 20"/>
                  <a:gd name="T35" fmla="*/ 3 h 19"/>
                  <a:gd name="T36" fmla="*/ 19 w 20"/>
                  <a:gd name="T37" fmla="*/ 7 h 19"/>
                  <a:gd name="T38" fmla="*/ 20 w 20"/>
                  <a:gd name="T39" fmla="*/ 10 h 19"/>
                  <a:gd name="T40" fmla="*/ 19 w 20"/>
                  <a:gd name="T41" fmla="*/ 13 h 19"/>
                  <a:gd name="T42" fmla="*/ 17 w 20"/>
                  <a:gd name="T43" fmla="*/ 16 h 19"/>
                  <a:gd name="T44" fmla="*/ 13 w 20"/>
                  <a:gd name="T45" fmla="*/ 18 h 19"/>
                  <a:gd name="T46" fmla="*/ 10 w 20"/>
                  <a:gd name="T47" fmla="*/ 19 h 19"/>
                  <a:gd name="T48" fmla="*/ 7 w 20"/>
                  <a:gd name="T49" fmla="*/ 18 h 19"/>
                  <a:gd name="T50" fmla="*/ 4 w 20"/>
                  <a:gd name="T51" fmla="*/ 16 h 19"/>
                  <a:gd name="T52" fmla="*/ 2 w 20"/>
                  <a:gd name="T53" fmla="*/ 13 h 19"/>
                  <a:gd name="T54" fmla="*/ 0 w 20"/>
                  <a:gd name="T55" fmla="*/ 10 h 19"/>
                  <a:gd name="T56" fmla="*/ 2 w 20"/>
                  <a:gd name="T57" fmla="*/ 7 h 19"/>
                  <a:gd name="T58" fmla="*/ 4 w 20"/>
                  <a:gd name="T59" fmla="*/ 3 h 19"/>
                  <a:gd name="T60" fmla="*/ 7 w 20"/>
                  <a:gd name="T61" fmla="*/ 1 h 19"/>
                  <a:gd name="T62" fmla="*/ 10 w 20"/>
                  <a:gd name="T63" fmla="*/ 0 h 1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0" h="19">
                    <a:moveTo>
                      <a:pt x="10" y="4"/>
                    </a:moveTo>
                    <a:lnTo>
                      <a:pt x="9" y="5"/>
                    </a:lnTo>
                    <a:lnTo>
                      <a:pt x="8" y="7"/>
                    </a:lnTo>
                    <a:lnTo>
                      <a:pt x="8" y="9"/>
                    </a:lnTo>
                    <a:lnTo>
                      <a:pt x="7" y="10"/>
                    </a:lnTo>
                    <a:lnTo>
                      <a:pt x="8" y="11"/>
                    </a:lnTo>
                    <a:lnTo>
                      <a:pt x="9" y="12"/>
                    </a:lnTo>
                    <a:lnTo>
                      <a:pt x="10" y="13"/>
                    </a:lnTo>
                    <a:lnTo>
                      <a:pt x="12" y="12"/>
                    </a:lnTo>
                    <a:lnTo>
                      <a:pt x="13" y="11"/>
                    </a:lnTo>
                    <a:lnTo>
                      <a:pt x="13" y="10"/>
                    </a:lnTo>
                    <a:lnTo>
                      <a:pt x="13" y="9"/>
                    </a:lnTo>
                    <a:lnTo>
                      <a:pt x="12" y="7"/>
                    </a:lnTo>
                    <a:lnTo>
                      <a:pt x="11" y="5"/>
                    </a:lnTo>
                    <a:lnTo>
                      <a:pt x="10" y="4"/>
                    </a:lnTo>
                    <a:close/>
                    <a:moveTo>
                      <a:pt x="10" y="0"/>
                    </a:moveTo>
                    <a:lnTo>
                      <a:pt x="13" y="1"/>
                    </a:lnTo>
                    <a:lnTo>
                      <a:pt x="17" y="3"/>
                    </a:lnTo>
                    <a:lnTo>
                      <a:pt x="19" y="7"/>
                    </a:lnTo>
                    <a:lnTo>
                      <a:pt x="20" y="10"/>
                    </a:lnTo>
                    <a:lnTo>
                      <a:pt x="19" y="13"/>
                    </a:lnTo>
                    <a:lnTo>
                      <a:pt x="17" y="16"/>
                    </a:lnTo>
                    <a:lnTo>
                      <a:pt x="13" y="18"/>
                    </a:lnTo>
                    <a:lnTo>
                      <a:pt x="10" y="19"/>
                    </a:lnTo>
                    <a:lnTo>
                      <a:pt x="7" y="18"/>
                    </a:lnTo>
                    <a:lnTo>
                      <a:pt x="4" y="16"/>
                    </a:lnTo>
                    <a:lnTo>
                      <a:pt x="2" y="13"/>
                    </a:lnTo>
                    <a:lnTo>
                      <a:pt x="0" y="10"/>
                    </a:lnTo>
                    <a:lnTo>
                      <a:pt x="2" y="7"/>
                    </a:lnTo>
                    <a:lnTo>
                      <a:pt x="4" y="3"/>
                    </a:lnTo>
                    <a:lnTo>
                      <a:pt x="7" y="1"/>
                    </a:lnTo>
                    <a:lnTo>
                      <a:pt x="10" y="0"/>
                    </a:lnTo>
                    <a:close/>
                  </a:path>
                </a:pathLst>
              </a:custGeom>
              <a:solidFill>
                <a:srgbClr val="A3A7A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50" name="Freeform 400"/>
              <p:cNvSpPr>
                <a:spLocks/>
              </p:cNvSpPr>
              <p:nvPr/>
            </p:nvSpPr>
            <p:spPr bwMode="auto">
              <a:xfrm>
                <a:off x="3627" y="1405"/>
                <a:ext cx="21" cy="35"/>
              </a:xfrm>
              <a:custGeom>
                <a:avLst/>
                <a:gdLst>
                  <a:gd name="T0" fmla="*/ 20 w 21"/>
                  <a:gd name="T1" fmla="*/ 0 h 35"/>
                  <a:gd name="T2" fmla="*/ 21 w 21"/>
                  <a:gd name="T3" fmla="*/ 2 h 35"/>
                  <a:gd name="T4" fmla="*/ 21 w 21"/>
                  <a:gd name="T5" fmla="*/ 7 h 35"/>
                  <a:gd name="T6" fmla="*/ 18 w 21"/>
                  <a:gd name="T7" fmla="*/ 16 h 35"/>
                  <a:gd name="T8" fmla="*/ 14 w 21"/>
                  <a:gd name="T9" fmla="*/ 24 h 35"/>
                  <a:gd name="T10" fmla="*/ 12 w 21"/>
                  <a:gd name="T11" fmla="*/ 31 h 35"/>
                  <a:gd name="T12" fmla="*/ 10 w 21"/>
                  <a:gd name="T13" fmla="*/ 35 h 35"/>
                  <a:gd name="T14" fmla="*/ 9 w 21"/>
                  <a:gd name="T15" fmla="*/ 34 h 35"/>
                  <a:gd name="T16" fmla="*/ 7 w 21"/>
                  <a:gd name="T17" fmla="*/ 32 h 35"/>
                  <a:gd name="T18" fmla="*/ 3 w 21"/>
                  <a:gd name="T19" fmla="*/ 31 h 35"/>
                  <a:gd name="T20" fmla="*/ 0 w 21"/>
                  <a:gd name="T21" fmla="*/ 31 h 35"/>
                  <a:gd name="T22" fmla="*/ 3 w 21"/>
                  <a:gd name="T23" fmla="*/ 27 h 35"/>
                  <a:gd name="T24" fmla="*/ 6 w 21"/>
                  <a:gd name="T25" fmla="*/ 21 h 35"/>
                  <a:gd name="T26" fmla="*/ 9 w 21"/>
                  <a:gd name="T27" fmla="*/ 11 h 35"/>
                  <a:gd name="T28" fmla="*/ 13 w 21"/>
                  <a:gd name="T29" fmla="*/ 4 h 35"/>
                  <a:gd name="T30" fmla="*/ 16 w 21"/>
                  <a:gd name="T31" fmla="*/ 0 h 35"/>
                  <a:gd name="T32" fmla="*/ 20 w 21"/>
                  <a:gd name="T33" fmla="*/ 0 h 3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1" h="35">
                    <a:moveTo>
                      <a:pt x="20" y="0"/>
                    </a:moveTo>
                    <a:lnTo>
                      <a:pt x="21" y="2"/>
                    </a:lnTo>
                    <a:lnTo>
                      <a:pt x="21" y="7"/>
                    </a:lnTo>
                    <a:lnTo>
                      <a:pt x="18" y="16"/>
                    </a:lnTo>
                    <a:lnTo>
                      <a:pt x="14" y="24"/>
                    </a:lnTo>
                    <a:lnTo>
                      <a:pt x="12" y="31"/>
                    </a:lnTo>
                    <a:lnTo>
                      <a:pt x="10" y="35"/>
                    </a:lnTo>
                    <a:lnTo>
                      <a:pt x="9" y="34"/>
                    </a:lnTo>
                    <a:lnTo>
                      <a:pt x="7" y="32"/>
                    </a:lnTo>
                    <a:lnTo>
                      <a:pt x="3" y="31"/>
                    </a:lnTo>
                    <a:lnTo>
                      <a:pt x="0" y="31"/>
                    </a:lnTo>
                    <a:lnTo>
                      <a:pt x="3" y="27"/>
                    </a:lnTo>
                    <a:lnTo>
                      <a:pt x="6" y="21"/>
                    </a:lnTo>
                    <a:lnTo>
                      <a:pt x="9" y="11"/>
                    </a:lnTo>
                    <a:lnTo>
                      <a:pt x="13" y="4"/>
                    </a:lnTo>
                    <a:lnTo>
                      <a:pt x="16" y="0"/>
                    </a:lnTo>
                    <a:lnTo>
                      <a:pt x="20" y="0"/>
                    </a:lnTo>
                    <a:close/>
                  </a:path>
                </a:pathLst>
              </a:custGeom>
              <a:solidFill>
                <a:srgbClr val="A3A7A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51" name="Freeform 401"/>
              <p:cNvSpPr>
                <a:spLocks/>
              </p:cNvSpPr>
              <p:nvPr/>
            </p:nvSpPr>
            <p:spPr bwMode="auto">
              <a:xfrm>
                <a:off x="3621" y="1460"/>
                <a:ext cx="13" cy="38"/>
              </a:xfrm>
              <a:custGeom>
                <a:avLst/>
                <a:gdLst>
                  <a:gd name="T0" fmla="*/ 2 w 13"/>
                  <a:gd name="T1" fmla="*/ 0 h 38"/>
                  <a:gd name="T2" fmla="*/ 3 w 13"/>
                  <a:gd name="T3" fmla="*/ 1 h 38"/>
                  <a:gd name="T4" fmla="*/ 5 w 13"/>
                  <a:gd name="T5" fmla="*/ 2 h 38"/>
                  <a:gd name="T6" fmla="*/ 6 w 13"/>
                  <a:gd name="T7" fmla="*/ 2 h 38"/>
                  <a:gd name="T8" fmla="*/ 8 w 13"/>
                  <a:gd name="T9" fmla="*/ 2 h 38"/>
                  <a:gd name="T10" fmla="*/ 9 w 13"/>
                  <a:gd name="T11" fmla="*/ 1 h 38"/>
                  <a:gd name="T12" fmla="*/ 12 w 13"/>
                  <a:gd name="T13" fmla="*/ 0 h 38"/>
                  <a:gd name="T14" fmla="*/ 13 w 13"/>
                  <a:gd name="T15" fmla="*/ 38 h 38"/>
                  <a:gd name="T16" fmla="*/ 0 w 13"/>
                  <a:gd name="T17" fmla="*/ 38 h 38"/>
                  <a:gd name="T18" fmla="*/ 2 w 13"/>
                  <a:gd name="T19" fmla="*/ 0 h 3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38">
                    <a:moveTo>
                      <a:pt x="2" y="0"/>
                    </a:moveTo>
                    <a:lnTo>
                      <a:pt x="3" y="1"/>
                    </a:lnTo>
                    <a:lnTo>
                      <a:pt x="5" y="2"/>
                    </a:lnTo>
                    <a:lnTo>
                      <a:pt x="6" y="2"/>
                    </a:lnTo>
                    <a:lnTo>
                      <a:pt x="8" y="2"/>
                    </a:lnTo>
                    <a:lnTo>
                      <a:pt x="9" y="1"/>
                    </a:lnTo>
                    <a:lnTo>
                      <a:pt x="12" y="0"/>
                    </a:lnTo>
                    <a:lnTo>
                      <a:pt x="13" y="38"/>
                    </a:lnTo>
                    <a:lnTo>
                      <a:pt x="0" y="38"/>
                    </a:lnTo>
                    <a:lnTo>
                      <a:pt x="2" y="0"/>
                    </a:lnTo>
                    <a:close/>
                  </a:path>
                </a:pathLst>
              </a:custGeom>
              <a:solidFill>
                <a:srgbClr val="A3A7A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52" name="Freeform 402"/>
              <p:cNvSpPr>
                <a:spLocks/>
              </p:cNvSpPr>
              <p:nvPr/>
            </p:nvSpPr>
            <p:spPr bwMode="auto">
              <a:xfrm>
                <a:off x="3580" y="1446"/>
                <a:ext cx="36" cy="14"/>
              </a:xfrm>
              <a:custGeom>
                <a:avLst/>
                <a:gdLst>
                  <a:gd name="T0" fmla="*/ 35 w 36"/>
                  <a:gd name="T1" fmla="*/ 0 h 14"/>
                  <a:gd name="T2" fmla="*/ 35 w 36"/>
                  <a:gd name="T3" fmla="*/ 3 h 14"/>
                  <a:gd name="T4" fmla="*/ 35 w 36"/>
                  <a:gd name="T5" fmla="*/ 5 h 14"/>
                  <a:gd name="T6" fmla="*/ 36 w 36"/>
                  <a:gd name="T7" fmla="*/ 7 h 14"/>
                  <a:gd name="T8" fmla="*/ 36 w 36"/>
                  <a:gd name="T9" fmla="*/ 9 h 14"/>
                  <a:gd name="T10" fmla="*/ 33 w 36"/>
                  <a:gd name="T11" fmla="*/ 10 h 14"/>
                  <a:gd name="T12" fmla="*/ 30 w 36"/>
                  <a:gd name="T13" fmla="*/ 11 h 14"/>
                  <a:gd name="T14" fmla="*/ 27 w 36"/>
                  <a:gd name="T15" fmla="*/ 12 h 14"/>
                  <a:gd name="T16" fmla="*/ 17 w 36"/>
                  <a:gd name="T17" fmla="*/ 14 h 14"/>
                  <a:gd name="T18" fmla="*/ 8 w 36"/>
                  <a:gd name="T19" fmla="*/ 14 h 14"/>
                  <a:gd name="T20" fmla="*/ 2 w 36"/>
                  <a:gd name="T21" fmla="*/ 12 h 14"/>
                  <a:gd name="T22" fmla="*/ 0 w 36"/>
                  <a:gd name="T23" fmla="*/ 10 h 14"/>
                  <a:gd name="T24" fmla="*/ 2 w 36"/>
                  <a:gd name="T25" fmla="*/ 8 h 14"/>
                  <a:gd name="T26" fmla="*/ 7 w 36"/>
                  <a:gd name="T27" fmla="*/ 5 h 14"/>
                  <a:gd name="T28" fmla="*/ 15 w 36"/>
                  <a:gd name="T29" fmla="*/ 3 h 14"/>
                  <a:gd name="T30" fmla="*/ 25 w 36"/>
                  <a:gd name="T31" fmla="*/ 1 h 14"/>
                  <a:gd name="T32" fmla="*/ 29 w 36"/>
                  <a:gd name="T33" fmla="*/ 1 h 14"/>
                  <a:gd name="T34" fmla="*/ 31 w 36"/>
                  <a:gd name="T35" fmla="*/ 0 h 14"/>
                  <a:gd name="T36" fmla="*/ 35 w 36"/>
                  <a:gd name="T37" fmla="*/ 0 h 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6" h="14">
                    <a:moveTo>
                      <a:pt x="35" y="0"/>
                    </a:moveTo>
                    <a:lnTo>
                      <a:pt x="35" y="3"/>
                    </a:lnTo>
                    <a:lnTo>
                      <a:pt x="35" y="5"/>
                    </a:lnTo>
                    <a:lnTo>
                      <a:pt x="36" y="7"/>
                    </a:lnTo>
                    <a:lnTo>
                      <a:pt x="36" y="9"/>
                    </a:lnTo>
                    <a:lnTo>
                      <a:pt x="33" y="10"/>
                    </a:lnTo>
                    <a:lnTo>
                      <a:pt x="30" y="11"/>
                    </a:lnTo>
                    <a:lnTo>
                      <a:pt x="27" y="12"/>
                    </a:lnTo>
                    <a:lnTo>
                      <a:pt x="17" y="14"/>
                    </a:lnTo>
                    <a:lnTo>
                      <a:pt x="8" y="14"/>
                    </a:lnTo>
                    <a:lnTo>
                      <a:pt x="2" y="12"/>
                    </a:lnTo>
                    <a:lnTo>
                      <a:pt x="0" y="10"/>
                    </a:lnTo>
                    <a:lnTo>
                      <a:pt x="2" y="8"/>
                    </a:lnTo>
                    <a:lnTo>
                      <a:pt x="7" y="5"/>
                    </a:lnTo>
                    <a:lnTo>
                      <a:pt x="15" y="3"/>
                    </a:lnTo>
                    <a:lnTo>
                      <a:pt x="25" y="1"/>
                    </a:lnTo>
                    <a:lnTo>
                      <a:pt x="29" y="1"/>
                    </a:lnTo>
                    <a:lnTo>
                      <a:pt x="31" y="0"/>
                    </a:lnTo>
                    <a:lnTo>
                      <a:pt x="35" y="0"/>
                    </a:lnTo>
                    <a:close/>
                  </a:path>
                </a:pathLst>
              </a:custGeom>
              <a:solidFill>
                <a:srgbClr val="A3A7A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53" name="Freeform 403"/>
              <p:cNvSpPr>
                <a:spLocks/>
              </p:cNvSpPr>
              <p:nvPr/>
            </p:nvSpPr>
            <p:spPr bwMode="auto">
              <a:xfrm>
                <a:off x="3634" y="1452"/>
                <a:ext cx="33" cy="27"/>
              </a:xfrm>
              <a:custGeom>
                <a:avLst/>
                <a:gdLst>
                  <a:gd name="T0" fmla="*/ 6 w 33"/>
                  <a:gd name="T1" fmla="*/ 0 h 27"/>
                  <a:gd name="T2" fmla="*/ 9 w 33"/>
                  <a:gd name="T3" fmla="*/ 1 h 27"/>
                  <a:gd name="T4" fmla="*/ 13 w 33"/>
                  <a:gd name="T5" fmla="*/ 3 h 27"/>
                  <a:gd name="T6" fmla="*/ 16 w 33"/>
                  <a:gd name="T7" fmla="*/ 6 h 27"/>
                  <a:gd name="T8" fmla="*/ 23 w 33"/>
                  <a:gd name="T9" fmla="*/ 12 h 27"/>
                  <a:gd name="T10" fmla="*/ 29 w 33"/>
                  <a:gd name="T11" fmla="*/ 18 h 27"/>
                  <a:gd name="T12" fmla="*/ 33 w 33"/>
                  <a:gd name="T13" fmla="*/ 24 h 27"/>
                  <a:gd name="T14" fmla="*/ 33 w 33"/>
                  <a:gd name="T15" fmla="*/ 27 h 27"/>
                  <a:gd name="T16" fmla="*/ 28 w 33"/>
                  <a:gd name="T17" fmla="*/ 26 h 27"/>
                  <a:gd name="T18" fmla="*/ 20 w 33"/>
                  <a:gd name="T19" fmla="*/ 22 h 27"/>
                  <a:gd name="T20" fmla="*/ 9 w 33"/>
                  <a:gd name="T21" fmla="*/ 14 h 27"/>
                  <a:gd name="T22" fmla="*/ 6 w 33"/>
                  <a:gd name="T23" fmla="*/ 12 h 27"/>
                  <a:gd name="T24" fmla="*/ 3 w 33"/>
                  <a:gd name="T25" fmla="*/ 10 h 27"/>
                  <a:gd name="T26" fmla="*/ 0 w 33"/>
                  <a:gd name="T27" fmla="*/ 8 h 27"/>
                  <a:gd name="T28" fmla="*/ 3 w 33"/>
                  <a:gd name="T29" fmla="*/ 5 h 27"/>
                  <a:gd name="T30" fmla="*/ 5 w 33"/>
                  <a:gd name="T31" fmla="*/ 3 h 27"/>
                  <a:gd name="T32" fmla="*/ 6 w 33"/>
                  <a:gd name="T33" fmla="*/ 0 h 2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 h="27">
                    <a:moveTo>
                      <a:pt x="6" y="0"/>
                    </a:moveTo>
                    <a:lnTo>
                      <a:pt x="9" y="1"/>
                    </a:lnTo>
                    <a:lnTo>
                      <a:pt x="13" y="3"/>
                    </a:lnTo>
                    <a:lnTo>
                      <a:pt x="16" y="6"/>
                    </a:lnTo>
                    <a:lnTo>
                      <a:pt x="23" y="12"/>
                    </a:lnTo>
                    <a:lnTo>
                      <a:pt x="29" y="18"/>
                    </a:lnTo>
                    <a:lnTo>
                      <a:pt x="33" y="24"/>
                    </a:lnTo>
                    <a:lnTo>
                      <a:pt x="33" y="27"/>
                    </a:lnTo>
                    <a:lnTo>
                      <a:pt x="28" y="26"/>
                    </a:lnTo>
                    <a:lnTo>
                      <a:pt x="20" y="22"/>
                    </a:lnTo>
                    <a:lnTo>
                      <a:pt x="9" y="14"/>
                    </a:lnTo>
                    <a:lnTo>
                      <a:pt x="6" y="12"/>
                    </a:lnTo>
                    <a:lnTo>
                      <a:pt x="3" y="10"/>
                    </a:lnTo>
                    <a:lnTo>
                      <a:pt x="0" y="8"/>
                    </a:lnTo>
                    <a:lnTo>
                      <a:pt x="3" y="5"/>
                    </a:lnTo>
                    <a:lnTo>
                      <a:pt x="5" y="3"/>
                    </a:lnTo>
                    <a:lnTo>
                      <a:pt x="6" y="0"/>
                    </a:lnTo>
                    <a:close/>
                  </a:path>
                </a:pathLst>
              </a:custGeom>
              <a:solidFill>
                <a:srgbClr val="A3A7A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54" name="Freeform 404"/>
              <p:cNvSpPr>
                <a:spLocks/>
              </p:cNvSpPr>
              <p:nvPr/>
            </p:nvSpPr>
            <p:spPr bwMode="auto">
              <a:xfrm>
                <a:off x="3004" y="1539"/>
                <a:ext cx="175" cy="177"/>
              </a:xfrm>
              <a:custGeom>
                <a:avLst/>
                <a:gdLst>
                  <a:gd name="T0" fmla="*/ 88 w 175"/>
                  <a:gd name="T1" fmla="*/ 0 h 177"/>
                  <a:gd name="T2" fmla="*/ 110 w 175"/>
                  <a:gd name="T3" fmla="*/ 4 h 177"/>
                  <a:gd name="T4" fmla="*/ 132 w 175"/>
                  <a:gd name="T5" fmla="*/ 12 h 177"/>
                  <a:gd name="T6" fmla="*/ 149 w 175"/>
                  <a:gd name="T7" fmla="*/ 26 h 177"/>
                  <a:gd name="T8" fmla="*/ 163 w 175"/>
                  <a:gd name="T9" fmla="*/ 44 h 177"/>
                  <a:gd name="T10" fmla="*/ 171 w 175"/>
                  <a:gd name="T11" fmla="*/ 65 h 177"/>
                  <a:gd name="T12" fmla="*/ 175 w 175"/>
                  <a:gd name="T13" fmla="*/ 89 h 177"/>
                  <a:gd name="T14" fmla="*/ 171 w 175"/>
                  <a:gd name="T15" fmla="*/ 112 h 177"/>
                  <a:gd name="T16" fmla="*/ 163 w 175"/>
                  <a:gd name="T17" fmla="*/ 133 h 177"/>
                  <a:gd name="T18" fmla="*/ 149 w 175"/>
                  <a:gd name="T19" fmla="*/ 151 h 177"/>
                  <a:gd name="T20" fmla="*/ 132 w 175"/>
                  <a:gd name="T21" fmla="*/ 164 h 177"/>
                  <a:gd name="T22" fmla="*/ 110 w 175"/>
                  <a:gd name="T23" fmla="*/ 174 h 177"/>
                  <a:gd name="T24" fmla="*/ 88 w 175"/>
                  <a:gd name="T25" fmla="*/ 177 h 177"/>
                  <a:gd name="T26" fmla="*/ 65 w 175"/>
                  <a:gd name="T27" fmla="*/ 174 h 177"/>
                  <a:gd name="T28" fmla="*/ 43 w 175"/>
                  <a:gd name="T29" fmla="*/ 164 h 177"/>
                  <a:gd name="T30" fmla="*/ 26 w 175"/>
                  <a:gd name="T31" fmla="*/ 151 h 177"/>
                  <a:gd name="T32" fmla="*/ 12 w 175"/>
                  <a:gd name="T33" fmla="*/ 133 h 177"/>
                  <a:gd name="T34" fmla="*/ 4 w 175"/>
                  <a:gd name="T35" fmla="*/ 112 h 177"/>
                  <a:gd name="T36" fmla="*/ 0 w 175"/>
                  <a:gd name="T37" fmla="*/ 89 h 177"/>
                  <a:gd name="T38" fmla="*/ 4 w 175"/>
                  <a:gd name="T39" fmla="*/ 65 h 177"/>
                  <a:gd name="T40" fmla="*/ 12 w 175"/>
                  <a:gd name="T41" fmla="*/ 44 h 177"/>
                  <a:gd name="T42" fmla="*/ 26 w 175"/>
                  <a:gd name="T43" fmla="*/ 26 h 177"/>
                  <a:gd name="T44" fmla="*/ 43 w 175"/>
                  <a:gd name="T45" fmla="*/ 12 h 177"/>
                  <a:gd name="T46" fmla="*/ 65 w 175"/>
                  <a:gd name="T47" fmla="*/ 4 h 177"/>
                  <a:gd name="T48" fmla="*/ 88 w 175"/>
                  <a:gd name="T49" fmla="*/ 0 h 17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75" h="177">
                    <a:moveTo>
                      <a:pt x="88" y="0"/>
                    </a:moveTo>
                    <a:lnTo>
                      <a:pt x="110" y="4"/>
                    </a:lnTo>
                    <a:lnTo>
                      <a:pt x="132" y="12"/>
                    </a:lnTo>
                    <a:lnTo>
                      <a:pt x="149" y="26"/>
                    </a:lnTo>
                    <a:lnTo>
                      <a:pt x="163" y="44"/>
                    </a:lnTo>
                    <a:lnTo>
                      <a:pt x="171" y="65"/>
                    </a:lnTo>
                    <a:lnTo>
                      <a:pt x="175" y="89"/>
                    </a:lnTo>
                    <a:lnTo>
                      <a:pt x="171" y="112"/>
                    </a:lnTo>
                    <a:lnTo>
                      <a:pt x="163" y="133"/>
                    </a:lnTo>
                    <a:lnTo>
                      <a:pt x="149" y="151"/>
                    </a:lnTo>
                    <a:lnTo>
                      <a:pt x="132" y="164"/>
                    </a:lnTo>
                    <a:lnTo>
                      <a:pt x="110" y="174"/>
                    </a:lnTo>
                    <a:lnTo>
                      <a:pt x="88" y="177"/>
                    </a:lnTo>
                    <a:lnTo>
                      <a:pt x="65" y="174"/>
                    </a:lnTo>
                    <a:lnTo>
                      <a:pt x="43" y="164"/>
                    </a:lnTo>
                    <a:lnTo>
                      <a:pt x="26" y="151"/>
                    </a:lnTo>
                    <a:lnTo>
                      <a:pt x="12" y="133"/>
                    </a:lnTo>
                    <a:lnTo>
                      <a:pt x="4" y="112"/>
                    </a:lnTo>
                    <a:lnTo>
                      <a:pt x="0" y="89"/>
                    </a:lnTo>
                    <a:lnTo>
                      <a:pt x="4" y="65"/>
                    </a:lnTo>
                    <a:lnTo>
                      <a:pt x="12" y="44"/>
                    </a:lnTo>
                    <a:lnTo>
                      <a:pt x="26" y="26"/>
                    </a:lnTo>
                    <a:lnTo>
                      <a:pt x="43" y="12"/>
                    </a:lnTo>
                    <a:lnTo>
                      <a:pt x="65" y="4"/>
                    </a:lnTo>
                    <a:lnTo>
                      <a:pt x="88" y="0"/>
                    </a:lnTo>
                    <a:close/>
                  </a:path>
                </a:pathLst>
              </a:custGeom>
              <a:solidFill>
                <a:srgbClr val="29426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55" name="Freeform 405"/>
              <p:cNvSpPr>
                <a:spLocks noEditPoints="1"/>
              </p:cNvSpPr>
              <p:nvPr/>
            </p:nvSpPr>
            <p:spPr bwMode="auto">
              <a:xfrm>
                <a:off x="3000" y="1533"/>
                <a:ext cx="185" cy="185"/>
              </a:xfrm>
              <a:custGeom>
                <a:avLst/>
                <a:gdLst>
                  <a:gd name="T0" fmla="*/ 92 w 185"/>
                  <a:gd name="T1" fmla="*/ 11 h 185"/>
                  <a:gd name="T2" fmla="*/ 71 w 185"/>
                  <a:gd name="T3" fmla="*/ 14 h 185"/>
                  <a:gd name="T4" fmla="*/ 52 w 185"/>
                  <a:gd name="T5" fmla="*/ 22 h 185"/>
                  <a:gd name="T6" fmla="*/ 35 w 185"/>
                  <a:gd name="T7" fmla="*/ 34 h 185"/>
                  <a:gd name="T8" fmla="*/ 22 w 185"/>
                  <a:gd name="T9" fmla="*/ 53 h 185"/>
                  <a:gd name="T10" fmla="*/ 13 w 185"/>
                  <a:gd name="T11" fmla="*/ 72 h 185"/>
                  <a:gd name="T12" fmla="*/ 11 w 185"/>
                  <a:gd name="T13" fmla="*/ 94 h 185"/>
                  <a:gd name="T14" fmla="*/ 12 w 185"/>
                  <a:gd name="T15" fmla="*/ 110 h 185"/>
                  <a:gd name="T16" fmla="*/ 16 w 185"/>
                  <a:gd name="T17" fmla="*/ 125 h 185"/>
                  <a:gd name="T18" fmla="*/ 24 w 185"/>
                  <a:gd name="T19" fmla="*/ 139 h 185"/>
                  <a:gd name="T20" fmla="*/ 35 w 185"/>
                  <a:gd name="T21" fmla="*/ 151 h 185"/>
                  <a:gd name="T22" fmla="*/ 52 w 185"/>
                  <a:gd name="T23" fmla="*/ 165 h 185"/>
                  <a:gd name="T24" fmla="*/ 71 w 185"/>
                  <a:gd name="T25" fmla="*/ 173 h 185"/>
                  <a:gd name="T26" fmla="*/ 92 w 185"/>
                  <a:gd name="T27" fmla="*/ 176 h 185"/>
                  <a:gd name="T28" fmla="*/ 113 w 185"/>
                  <a:gd name="T29" fmla="*/ 173 h 185"/>
                  <a:gd name="T30" fmla="*/ 132 w 185"/>
                  <a:gd name="T31" fmla="*/ 165 h 185"/>
                  <a:gd name="T32" fmla="*/ 151 w 185"/>
                  <a:gd name="T33" fmla="*/ 151 h 185"/>
                  <a:gd name="T34" fmla="*/ 160 w 185"/>
                  <a:gd name="T35" fmla="*/ 139 h 185"/>
                  <a:gd name="T36" fmla="*/ 168 w 185"/>
                  <a:gd name="T37" fmla="*/ 125 h 185"/>
                  <a:gd name="T38" fmla="*/ 172 w 185"/>
                  <a:gd name="T39" fmla="*/ 110 h 185"/>
                  <a:gd name="T40" fmla="*/ 174 w 185"/>
                  <a:gd name="T41" fmla="*/ 94 h 185"/>
                  <a:gd name="T42" fmla="*/ 171 w 185"/>
                  <a:gd name="T43" fmla="*/ 72 h 185"/>
                  <a:gd name="T44" fmla="*/ 164 w 185"/>
                  <a:gd name="T45" fmla="*/ 53 h 185"/>
                  <a:gd name="T46" fmla="*/ 151 w 185"/>
                  <a:gd name="T47" fmla="*/ 34 h 185"/>
                  <a:gd name="T48" fmla="*/ 132 w 185"/>
                  <a:gd name="T49" fmla="*/ 22 h 185"/>
                  <a:gd name="T50" fmla="*/ 113 w 185"/>
                  <a:gd name="T51" fmla="*/ 14 h 185"/>
                  <a:gd name="T52" fmla="*/ 92 w 185"/>
                  <a:gd name="T53" fmla="*/ 11 h 185"/>
                  <a:gd name="T54" fmla="*/ 92 w 185"/>
                  <a:gd name="T55" fmla="*/ 0 h 185"/>
                  <a:gd name="T56" fmla="*/ 110 w 185"/>
                  <a:gd name="T57" fmla="*/ 2 h 185"/>
                  <a:gd name="T58" fmla="*/ 128 w 185"/>
                  <a:gd name="T59" fmla="*/ 7 h 185"/>
                  <a:gd name="T60" fmla="*/ 144 w 185"/>
                  <a:gd name="T61" fmla="*/ 16 h 185"/>
                  <a:gd name="T62" fmla="*/ 158 w 185"/>
                  <a:gd name="T63" fmla="*/ 28 h 185"/>
                  <a:gd name="T64" fmla="*/ 170 w 185"/>
                  <a:gd name="T65" fmla="*/ 42 h 185"/>
                  <a:gd name="T66" fmla="*/ 179 w 185"/>
                  <a:gd name="T67" fmla="*/ 58 h 185"/>
                  <a:gd name="T68" fmla="*/ 183 w 185"/>
                  <a:gd name="T69" fmla="*/ 75 h 185"/>
                  <a:gd name="T70" fmla="*/ 185 w 185"/>
                  <a:gd name="T71" fmla="*/ 94 h 185"/>
                  <a:gd name="T72" fmla="*/ 183 w 185"/>
                  <a:gd name="T73" fmla="*/ 111 h 185"/>
                  <a:gd name="T74" fmla="*/ 179 w 185"/>
                  <a:gd name="T75" fmla="*/ 128 h 185"/>
                  <a:gd name="T76" fmla="*/ 170 w 185"/>
                  <a:gd name="T77" fmla="*/ 144 h 185"/>
                  <a:gd name="T78" fmla="*/ 158 w 185"/>
                  <a:gd name="T79" fmla="*/ 158 h 185"/>
                  <a:gd name="T80" fmla="*/ 144 w 185"/>
                  <a:gd name="T81" fmla="*/ 170 h 185"/>
                  <a:gd name="T82" fmla="*/ 128 w 185"/>
                  <a:gd name="T83" fmla="*/ 179 h 185"/>
                  <a:gd name="T84" fmla="*/ 110 w 185"/>
                  <a:gd name="T85" fmla="*/ 184 h 185"/>
                  <a:gd name="T86" fmla="*/ 92 w 185"/>
                  <a:gd name="T87" fmla="*/ 185 h 185"/>
                  <a:gd name="T88" fmla="*/ 74 w 185"/>
                  <a:gd name="T89" fmla="*/ 184 h 185"/>
                  <a:gd name="T90" fmla="*/ 57 w 185"/>
                  <a:gd name="T91" fmla="*/ 179 h 185"/>
                  <a:gd name="T92" fmla="*/ 41 w 185"/>
                  <a:gd name="T93" fmla="*/ 170 h 185"/>
                  <a:gd name="T94" fmla="*/ 26 w 185"/>
                  <a:gd name="T95" fmla="*/ 158 h 185"/>
                  <a:gd name="T96" fmla="*/ 15 w 185"/>
                  <a:gd name="T97" fmla="*/ 144 h 185"/>
                  <a:gd name="T98" fmla="*/ 7 w 185"/>
                  <a:gd name="T99" fmla="*/ 128 h 185"/>
                  <a:gd name="T100" fmla="*/ 1 w 185"/>
                  <a:gd name="T101" fmla="*/ 111 h 185"/>
                  <a:gd name="T102" fmla="*/ 0 w 185"/>
                  <a:gd name="T103" fmla="*/ 94 h 185"/>
                  <a:gd name="T104" fmla="*/ 2 w 185"/>
                  <a:gd name="T105" fmla="*/ 69 h 185"/>
                  <a:gd name="T106" fmla="*/ 12 w 185"/>
                  <a:gd name="T107" fmla="*/ 47 h 185"/>
                  <a:gd name="T108" fmla="*/ 26 w 185"/>
                  <a:gd name="T109" fmla="*/ 28 h 185"/>
                  <a:gd name="T110" fmla="*/ 41 w 185"/>
                  <a:gd name="T111" fmla="*/ 16 h 185"/>
                  <a:gd name="T112" fmla="*/ 57 w 185"/>
                  <a:gd name="T113" fmla="*/ 7 h 185"/>
                  <a:gd name="T114" fmla="*/ 74 w 185"/>
                  <a:gd name="T115" fmla="*/ 2 h 185"/>
                  <a:gd name="T116" fmla="*/ 92 w 185"/>
                  <a:gd name="T117" fmla="*/ 0 h 18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85" h="185">
                    <a:moveTo>
                      <a:pt x="92" y="11"/>
                    </a:moveTo>
                    <a:lnTo>
                      <a:pt x="71" y="14"/>
                    </a:lnTo>
                    <a:lnTo>
                      <a:pt x="52" y="22"/>
                    </a:lnTo>
                    <a:lnTo>
                      <a:pt x="35" y="34"/>
                    </a:lnTo>
                    <a:lnTo>
                      <a:pt x="22" y="53"/>
                    </a:lnTo>
                    <a:lnTo>
                      <a:pt x="13" y="72"/>
                    </a:lnTo>
                    <a:lnTo>
                      <a:pt x="11" y="94"/>
                    </a:lnTo>
                    <a:lnTo>
                      <a:pt x="12" y="110"/>
                    </a:lnTo>
                    <a:lnTo>
                      <a:pt x="16" y="125"/>
                    </a:lnTo>
                    <a:lnTo>
                      <a:pt x="24" y="139"/>
                    </a:lnTo>
                    <a:lnTo>
                      <a:pt x="35" y="151"/>
                    </a:lnTo>
                    <a:lnTo>
                      <a:pt x="52" y="165"/>
                    </a:lnTo>
                    <a:lnTo>
                      <a:pt x="71" y="173"/>
                    </a:lnTo>
                    <a:lnTo>
                      <a:pt x="92" y="176"/>
                    </a:lnTo>
                    <a:lnTo>
                      <a:pt x="113" y="173"/>
                    </a:lnTo>
                    <a:lnTo>
                      <a:pt x="132" y="165"/>
                    </a:lnTo>
                    <a:lnTo>
                      <a:pt x="151" y="151"/>
                    </a:lnTo>
                    <a:lnTo>
                      <a:pt x="160" y="139"/>
                    </a:lnTo>
                    <a:lnTo>
                      <a:pt x="168" y="125"/>
                    </a:lnTo>
                    <a:lnTo>
                      <a:pt x="172" y="110"/>
                    </a:lnTo>
                    <a:lnTo>
                      <a:pt x="174" y="94"/>
                    </a:lnTo>
                    <a:lnTo>
                      <a:pt x="171" y="72"/>
                    </a:lnTo>
                    <a:lnTo>
                      <a:pt x="164" y="53"/>
                    </a:lnTo>
                    <a:lnTo>
                      <a:pt x="151" y="34"/>
                    </a:lnTo>
                    <a:lnTo>
                      <a:pt x="132" y="22"/>
                    </a:lnTo>
                    <a:lnTo>
                      <a:pt x="113" y="14"/>
                    </a:lnTo>
                    <a:lnTo>
                      <a:pt x="92" y="11"/>
                    </a:lnTo>
                    <a:close/>
                    <a:moveTo>
                      <a:pt x="92" y="0"/>
                    </a:moveTo>
                    <a:lnTo>
                      <a:pt x="110" y="2"/>
                    </a:lnTo>
                    <a:lnTo>
                      <a:pt x="128" y="7"/>
                    </a:lnTo>
                    <a:lnTo>
                      <a:pt x="144" y="16"/>
                    </a:lnTo>
                    <a:lnTo>
                      <a:pt x="158" y="28"/>
                    </a:lnTo>
                    <a:lnTo>
                      <a:pt x="170" y="42"/>
                    </a:lnTo>
                    <a:lnTo>
                      <a:pt x="179" y="58"/>
                    </a:lnTo>
                    <a:lnTo>
                      <a:pt x="183" y="75"/>
                    </a:lnTo>
                    <a:lnTo>
                      <a:pt x="185" y="94"/>
                    </a:lnTo>
                    <a:lnTo>
                      <a:pt x="183" y="111"/>
                    </a:lnTo>
                    <a:lnTo>
                      <a:pt x="179" y="128"/>
                    </a:lnTo>
                    <a:lnTo>
                      <a:pt x="170" y="144"/>
                    </a:lnTo>
                    <a:lnTo>
                      <a:pt x="158" y="158"/>
                    </a:lnTo>
                    <a:lnTo>
                      <a:pt x="144" y="170"/>
                    </a:lnTo>
                    <a:lnTo>
                      <a:pt x="128" y="179"/>
                    </a:lnTo>
                    <a:lnTo>
                      <a:pt x="110" y="184"/>
                    </a:lnTo>
                    <a:lnTo>
                      <a:pt x="92" y="185"/>
                    </a:lnTo>
                    <a:lnTo>
                      <a:pt x="74" y="184"/>
                    </a:lnTo>
                    <a:lnTo>
                      <a:pt x="57" y="179"/>
                    </a:lnTo>
                    <a:lnTo>
                      <a:pt x="41" y="170"/>
                    </a:lnTo>
                    <a:lnTo>
                      <a:pt x="26" y="158"/>
                    </a:lnTo>
                    <a:lnTo>
                      <a:pt x="15" y="144"/>
                    </a:lnTo>
                    <a:lnTo>
                      <a:pt x="7" y="128"/>
                    </a:lnTo>
                    <a:lnTo>
                      <a:pt x="1" y="111"/>
                    </a:lnTo>
                    <a:lnTo>
                      <a:pt x="0" y="94"/>
                    </a:lnTo>
                    <a:lnTo>
                      <a:pt x="2" y="69"/>
                    </a:lnTo>
                    <a:lnTo>
                      <a:pt x="12" y="47"/>
                    </a:lnTo>
                    <a:lnTo>
                      <a:pt x="26" y="28"/>
                    </a:lnTo>
                    <a:lnTo>
                      <a:pt x="41" y="16"/>
                    </a:lnTo>
                    <a:lnTo>
                      <a:pt x="57" y="7"/>
                    </a:lnTo>
                    <a:lnTo>
                      <a:pt x="74" y="2"/>
                    </a:lnTo>
                    <a:lnTo>
                      <a:pt x="92" y="0"/>
                    </a:lnTo>
                    <a:close/>
                  </a:path>
                </a:pathLst>
              </a:custGeom>
              <a:solidFill>
                <a:srgbClr val="E3607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56" name="Freeform 406"/>
              <p:cNvSpPr>
                <a:spLocks noEditPoints="1"/>
              </p:cNvSpPr>
              <p:nvPr/>
            </p:nvSpPr>
            <p:spPr bwMode="auto">
              <a:xfrm>
                <a:off x="3071" y="1590"/>
                <a:ext cx="57" cy="63"/>
              </a:xfrm>
              <a:custGeom>
                <a:avLst/>
                <a:gdLst>
                  <a:gd name="T0" fmla="*/ 8 w 57"/>
                  <a:gd name="T1" fmla="*/ 7 h 63"/>
                  <a:gd name="T2" fmla="*/ 8 w 57"/>
                  <a:gd name="T3" fmla="*/ 32 h 63"/>
                  <a:gd name="T4" fmla="*/ 35 w 57"/>
                  <a:gd name="T5" fmla="*/ 32 h 63"/>
                  <a:gd name="T6" fmla="*/ 35 w 57"/>
                  <a:gd name="T7" fmla="*/ 7 h 63"/>
                  <a:gd name="T8" fmla="*/ 8 w 57"/>
                  <a:gd name="T9" fmla="*/ 7 h 63"/>
                  <a:gd name="T10" fmla="*/ 0 w 57"/>
                  <a:gd name="T11" fmla="*/ 0 h 63"/>
                  <a:gd name="T12" fmla="*/ 43 w 57"/>
                  <a:gd name="T13" fmla="*/ 0 h 63"/>
                  <a:gd name="T14" fmla="*/ 43 w 57"/>
                  <a:gd name="T15" fmla="*/ 60 h 63"/>
                  <a:gd name="T16" fmla="*/ 52 w 57"/>
                  <a:gd name="T17" fmla="*/ 60 h 63"/>
                  <a:gd name="T18" fmla="*/ 52 w 57"/>
                  <a:gd name="T19" fmla="*/ 37 h 63"/>
                  <a:gd name="T20" fmla="*/ 50 w 57"/>
                  <a:gd name="T21" fmla="*/ 37 h 63"/>
                  <a:gd name="T22" fmla="*/ 50 w 57"/>
                  <a:gd name="T23" fmla="*/ 27 h 63"/>
                  <a:gd name="T24" fmla="*/ 52 w 57"/>
                  <a:gd name="T25" fmla="*/ 27 h 63"/>
                  <a:gd name="T26" fmla="*/ 52 w 57"/>
                  <a:gd name="T27" fmla="*/ 26 h 63"/>
                  <a:gd name="T28" fmla="*/ 44 w 57"/>
                  <a:gd name="T29" fmla="*/ 19 h 63"/>
                  <a:gd name="T30" fmla="*/ 47 w 57"/>
                  <a:gd name="T31" fmla="*/ 16 h 63"/>
                  <a:gd name="T32" fmla="*/ 57 w 57"/>
                  <a:gd name="T33" fmla="*/ 23 h 63"/>
                  <a:gd name="T34" fmla="*/ 57 w 57"/>
                  <a:gd name="T35" fmla="*/ 63 h 63"/>
                  <a:gd name="T36" fmla="*/ 0 w 57"/>
                  <a:gd name="T37" fmla="*/ 63 h 63"/>
                  <a:gd name="T38" fmla="*/ 0 w 57"/>
                  <a:gd name="T39" fmla="*/ 0 h 6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7" h="63">
                    <a:moveTo>
                      <a:pt x="8" y="7"/>
                    </a:moveTo>
                    <a:lnTo>
                      <a:pt x="8" y="32"/>
                    </a:lnTo>
                    <a:lnTo>
                      <a:pt x="35" y="32"/>
                    </a:lnTo>
                    <a:lnTo>
                      <a:pt x="35" y="7"/>
                    </a:lnTo>
                    <a:lnTo>
                      <a:pt x="8" y="7"/>
                    </a:lnTo>
                    <a:close/>
                    <a:moveTo>
                      <a:pt x="0" y="0"/>
                    </a:moveTo>
                    <a:lnTo>
                      <a:pt x="43" y="0"/>
                    </a:lnTo>
                    <a:lnTo>
                      <a:pt x="43" y="60"/>
                    </a:lnTo>
                    <a:lnTo>
                      <a:pt x="52" y="60"/>
                    </a:lnTo>
                    <a:lnTo>
                      <a:pt x="52" y="37"/>
                    </a:lnTo>
                    <a:lnTo>
                      <a:pt x="50" y="37"/>
                    </a:lnTo>
                    <a:lnTo>
                      <a:pt x="50" y="27"/>
                    </a:lnTo>
                    <a:lnTo>
                      <a:pt x="52" y="27"/>
                    </a:lnTo>
                    <a:lnTo>
                      <a:pt x="52" y="26"/>
                    </a:lnTo>
                    <a:lnTo>
                      <a:pt x="44" y="19"/>
                    </a:lnTo>
                    <a:lnTo>
                      <a:pt x="47" y="16"/>
                    </a:lnTo>
                    <a:lnTo>
                      <a:pt x="57" y="23"/>
                    </a:lnTo>
                    <a:lnTo>
                      <a:pt x="57" y="63"/>
                    </a:lnTo>
                    <a:lnTo>
                      <a:pt x="0" y="63"/>
                    </a:lnTo>
                    <a:lnTo>
                      <a:pt x="0" y="0"/>
                    </a:lnTo>
                    <a:close/>
                  </a:path>
                </a:pathLst>
              </a:custGeom>
              <a:solidFill>
                <a:srgbClr val="E3607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57" name="Rectangle 407"/>
              <p:cNvSpPr>
                <a:spLocks noChangeArrowheads="1"/>
              </p:cNvSpPr>
              <p:nvPr/>
            </p:nvSpPr>
            <p:spPr bwMode="auto">
              <a:xfrm>
                <a:off x="3063" y="1657"/>
                <a:ext cx="66" cy="7"/>
              </a:xfrm>
              <a:prstGeom prst="rect">
                <a:avLst/>
              </a:prstGeom>
              <a:solidFill>
                <a:srgbClr val="E36071"/>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eaLnBrk="1" hangingPunct="1"/>
                <a:endParaRPr lang="es-ES" altLang="es-CL" dirty="0">
                  <a:solidFill>
                    <a:srgbClr val="333333"/>
                  </a:solidFill>
                  <a:latin typeface="Arial" pitchFamily="34" charset="0"/>
                </a:endParaRPr>
              </a:p>
            </p:txBody>
          </p:sp>
          <p:sp>
            <p:nvSpPr>
              <p:cNvPr id="2258" name="Freeform 408"/>
              <p:cNvSpPr>
                <a:spLocks/>
              </p:cNvSpPr>
              <p:nvPr/>
            </p:nvSpPr>
            <p:spPr bwMode="auto">
              <a:xfrm>
                <a:off x="3087" y="1717"/>
                <a:ext cx="11" cy="6"/>
              </a:xfrm>
              <a:custGeom>
                <a:avLst/>
                <a:gdLst>
                  <a:gd name="T0" fmla="*/ 10 w 11"/>
                  <a:gd name="T1" fmla="*/ 0 h 6"/>
                  <a:gd name="T2" fmla="*/ 11 w 11"/>
                  <a:gd name="T3" fmla="*/ 3 h 6"/>
                  <a:gd name="T4" fmla="*/ 1 w 11"/>
                  <a:gd name="T5" fmla="*/ 6 h 6"/>
                  <a:gd name="T6" fmla="*/ 0 w 11"/>
                  <a:gd name="T7" fmla="*/ 3 h 6"/>
                  <a:gd name="T8" fmla="*/ 10 w 11"/>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 h="6">
                    <a:moveTo>
                      <a:pt x="10" y="0"/>
                    </a:moveTo>
                    <a:lnTo>
                      <a:pt x="11" y="3"/>
                    </a:lnTo>
                    <a:lnTo>
                      <a:pt x="1" y="6"/>
                    </a:lnTo>
                    <a:lnTo>
                      <a:pt x="0" y="3"/>
                    </a:lnTo>
                    <a:lnTo>
                      <a:pt x="10" y="0"/>
                    </a:lnTo>
                    <a:close/>
                  </a:path>
                </a:pathLst>
              </a:custGeom>
              <a:solidFill>
                <a:srgbClr val="E3607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59" name="Freeform 409"/>
              <p:cNvSpPr>
                <a:spLocks noEditPoints="1"/>
              </p:cNvSpPr>
              <p:nvPr/>
            </p:nvSpPr>
            <p:spPr bwMode="auto">
              <a:xfrm>
                <a:off x="3089" y="1740"/>
                <a:ext cx="138" cy="988"/>
              </a:xfrm>
              <a:custGeom>
                <a:avLst/>
                <a:gdLst>
                  <a:gd name="T0" fmla="*/ 126 w 138"/>
                  <a:gd name="T1" fmla="*/ 982 h 988"/>
                  <a:gd name="T2" fmla="*/ 124 w 138"/>
                  <a:gd name="T3" fmla="*/ 964 h 988"/>
                  <a:gd name="T4" fmla="*/ 132 w 138"/>
                  <a:gd name="T5" fmla="*/ 937 h 988"/>
                  <a:gd name="T6" fmla="*/ 127 w 138"/>
                  <a:gd name="T7" fmla="*/ 905 h 988"/>
                  <a:gd name="T8" fmla="*/ 127 w 138"/>
                  <a:gd name="T9" fmla="*/ 905 h 988"/>
                  <a:gd name="T10" fmla="*/ 113 w 138"/>
                  <a:gd name="T11" fmla="*/ 882 h 988"/>
                  <a:gd name="T12" fmla="*/ 111 w 138"/>
                  <a:gd name="T13" fmla="*/ 862 h 988"/>
                  <a:gd name="T14" fmla="*/ 119 w 138"/>
                  <a:gd name="T15" fmla="*/ 836 h 988"/>
                  <a:gd name="T16" fmla="*/ 114 w 138"/>
                  <a:gd name="T17" fmla="*/ 805 h 988"/>
                  <a:gd name="T18" fmla="*/ 114 w 138"/>
                  <a:gd name="T19" fmla="*/ 805 h 988"/>
                  <a:gd name="T20" fmla="*/ 100 w 138"/>
                  <a:gd name="T21" fmla="*/ 780 h 988"/>
                  <a:gd name="T22" fmla="*/ 98 w 138"/>
                  <a:gd name="T23" fmla="*/ 762 h 988"/>
                  <a:gd name="T24" fmla="*/ 106 w 138"/>
                  <a:gd name="T25" fmla="*/ 735 h 988"/>
                  <a:gd name="T26" fmla="*/ 102 w 138"/>
                  <a:gd name="T27" fmla="*/ 704 h 988"/>
                  <a:gd name="T28" fmla="*/ 102 w 138"/>
                  <a:gd name="T29" fmla="*/ 704 h 988"/>
                  <a:gd name="T30" fmla="*/ 88 w 138"/>
                  <a:gd name="T31" fmla="*/ 680 h 988"/>
                  <a:gd name="T32" fmla="*/ 85 w 138"/>
                  <a:gd name="T33" fmla="*/ 661 h 988"/>
                  <a:gd name="T34" fmla="*/ 93 w 138"/>
                  <a:gd name="T35" fmla="*/ 635 h 988"/>
                  <a:gd name="T36" fmla="*/ 89 w 138"/>
                  <a:gd name="T37" fmla="*/ 604 h 988"/>
                  <a:gd name="T38" fmla="*/ 89 w 138"/>
                  <a:gd name="T39" fmla="*/ 604 h 988"/>
                  <a:gd name="T40" fmla="*/ 75 w 138"/>
                  <a:gd name="T41" fmla="*/ 579 h 988"/>
                  <a:gd name="T42" fmla="*/ 72 w 138"/>
                  <a:gd name="T43" fmla="*/ 561 h 988"/>
                  <a:gd name="T44" fmla="*/ 80 w 138"/>
                  <a:gd name="T45" fmla="*/ 534 h 988"/>
                  <a:gd name="T46" fmla="*/ 76 w 138"/>
                  <a:gd name="T47" fmla="*/ 503 h 988"/>
                  <a:gd name="T48" fmla="*/ 76 w 138"/>
                  <a:gd name="T49" fmla="*/ 503 h 988"/>
                  <a:gd name="T50" fmla="*/ 62 w 138"/>
                  <a:gd name="T51" fmla="*/ 479 h 988"/>
                  <a:gd name="T52" fmla="*/ 60 w 138"/>
                  <a:gd name="T53" fmla="*/ 459 h 988"/>
                  <a:gd name="T54" fmla="*/ 67 w 138"/>
                  <a:gd name="T55" fmla="*/ 434 h 988"/>
                  <a:gd name="T56" fmla="*/ 63 w 138"/>
                  <a:gd name="T57" fmla="*/ 402 h 988"/>
                  <a:gd name="T58" fmla="*/ 63 w 138"/>
                  <a:gd name="T59" fmla="*/ 402 h 988"/>
                  <a:gd name="T60" fmla="*/ 49 w 138"/>
                  <a:gd name="T61" fmla="*/ 378 h 988"/>
                  <a:gd name="T62" fmla="*/ 47 w 138"/>
                  <a:gd name="T63" fmla="*/ 359 h 988"/>
                  <a:gd name="T64" fmla="*/ 54 w 138"/>
                  <a:gd name="T65" fmla="*/ 332 h 988"/>
                  <a:gd name="T66" fmla="*/ 50 w 138"/>
                  <a:gd name="T67" fmla="*/ 301 h 988"/>
                  <a:gd name="T68" fmla="*/ 50 w 138"/>
                  <a:gd name="T69" fmla="*/ 301 h 988"/>
                  <a:gd name="T70" fmla="*/ 36 w 138"/>
                  <a:gd name="T71" fmla="*/ 277 h 988"/>
                  <a:gd name="T72" fmla="*/ 34 w 138"/>
                  <a:gd name="T73" fmla="*/ 258 h 988"/>
                  <a:gd name="T74" fmla="*/ 41 w 138"/>
                  <a:gd name="T75" fmla="*/ 232 h 988"/>
                  <a:gd name="T76" fmla="*/ 37 w 138"/>
                  <a:gd name="T77" fmla="*/ 201 h 988"/>
                  <a:gd name="T78" fmla="*/ 37 w 138"/>
                  <a:gd name="T79" fmla="*/ 201 h 988"/>
                  <a:gd name="T80" fmla="*/ 23 w 138"/>
                  <a:gd name="T81" fmla="*/ 176 h 988"/>
                  <a:gd name="T82" fmla="*/ 21 w 138"/>
                  <a:gd name="T83" fmla="*/ 158 h 988"/>
                  <a:gd name="T84" fmla="*/ 28 w 138"/>
                  <a:gd name="T85" fmla="*/ 131 h 988"/>
                  <a:gd name="T86" fmla="*/ 24 w 138"/>
                  <a:gd name="T87" fmla="*/ 100 h 988"/>
                  <a:gd name="T88" fmla="*/ 24 w 138"/>
                  <a:gd name="T89" fmla="*/ 100 h 988"/>
                  <a:gd name="T90" fmla="*/ 10 w 138"/>
                  <a:gd name="T91" fmla="*/ 76 h 988"/>
                  <a:gd name="T92" fmla="*/ 8 w 138"/>
                  <a:gd name="T93" fmla="*/ 57 h 988"/>
                  <a:gd name="T94" fmla="*/ 15 w 138"/>
                  <a:gd name="T95" fmla="*/ 31 h 988"/>
                  <a:gd name="T96" fmla="*/ 11 w 138"/>
                  <a:gd name="T97" fmla="*/ 0 h 988"/>
                  <a:gd name="T98" fmla="*/ 11 w 138"/>
                  <a:gd name="T99" fmla="*/ 0 h 98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38" h="988">
                    <a:moveTo>
                      <a:pt x="137" y="981"/>
                    </a:moveTo>
                    <a:lnTo>
                      <a:pt x="138" y="987"/>
                    </a:lnTo>
                    <a:lnTo>
                      <a:pt x="127" y="988"/>
                    </a:lnTo>
                    <a:lnTo>
                      <a:pt x="126" y="982"/>
                    </a:lnTo>
                    <a:lnTo>
                      <a:pt x="137" y="981"/>
                    </a:lnTo>
                    <a:close/>
                    <a:moveTo>
                      <a:pt x="134" y="956"/>
                    </a:moveTo>
                    <a:lnTo>
                      <a:pt x="135" y="962"/>
                    </a:lnTo>
                    <a:lnTo>
                      <a:pt x="124" y="964"/>
                    </a:lnTo>
                    <a:lnTo>
                      <a:pt x="123" y="957"/>
                    </a:lnTo>
                    <a:lnTo>
                      <a:pt x="134" y="956"/>
                    </a:lnTo>
                    <a:close/>
                    <a:moveTo>
                      <a:pt x="131" y="931"/>
                    </a:moveTo>
                    <a:lnTo>
                      <a:pt x="132" y="937"/>
                    </a:lnTo>
                    <a:lnTo>
                      <a:pt x="121" y="938"/>
                    </a:lnTo>
                    <a:lnTo>
                      <a:pt x="120" y="932"/>
                    </a:lnTo>
                    <a:lnTo>
                      <a:pt x="131" y="931"/>
                    </a:lnTo>
                    <a:close/>
                    <a:moveTo>
                      <a:pt x="127" y="905"/>
                    </a:moveTo>
                    <a:lnTo>
                      <a:pt x="128" y="912"/>
                    </a:lnTo>
                    <a:lnTo>
                      <a:pt x="118" y="913"/>
                    </a:lnTo>
                    <a:lnTo>
                      <a:pt x="117" y="906"/>
                    </a:lnTo>
                    <a:lnTo>
                      <a:pt x="127" y="905"/>
                    </a:lnTo>
                    <a:close/>
                    <a:moveTo>
                      <a:pt x="124" y="881"/>
                    </a:moveTo>
                    <a:lnTo>
                      <a:pt x="125" y="887"/>
                    </a:lnTo>
                    <a:lnTo>
                      <a:pt x="114" y="888"/>
                    </a:lnTo>
                    <a:lnTo>
                      <a:pt x="113" y="882"/>
                    </a:lnTo>
                    <a:lnTo>
                      <a:pt x="124" y="881"/>
                    </a:lnTo>
                    <a:close/>
                    <a:moveTo>
                      <a:pt x="121" y="855"/>
                    </a:moveTo>
                    <a:lnTo>
                      <a:pt x="122" y="861"/>
                    </a:lnTo>
                    <a:lnTo>
                      <a:pt x="111" y="862"/>
                    </a:lnTo>
                    <a:lnTo>
                      <a:pt x="110" y="856"/>
                    </a:lnTo>
                    <a:lnTo>
                      <a:pt x="121" y="855"/>
                    </a:lnTo>
                    <a:close/>
                    <a:moveTo>
                      <a:pt x="118" y="830"/>
                    </a:moveTo>
                    <a:lnTo>
                      <a:pt x="119" y="836"/>
                    </a:lnTo>
                    <a:lnTo>
                      <a:pt x="108" y="838"/>
                    </a:lnTo>
                    <a:lnTo>
                      <a:pt x="107" y="831"/>
                    </a:lnTo>
                    <a:lnTo>
                      <a:pt x="118" y="830"/>
                    </a:lnTo>
                    <a:close/>
                    <a:moveTo>
                      <a:pt x="114" y="805"/>
                    </a:moveTo>
                    <a:lnTo>
                      <a:pt x="116" y="811"/>
                    </a:lnTo>
                    <a:lnTo>
                      <a:pt x="105" y="812"/>
                    </a:lnTo>
                    <a:lnTo>
                      <a:pt x="104" y="806"/>
                    </a:lnTo>
                    <a:lnTo>
                      <a:pt x="114" y="805"/>
                    </a:lnTo>
                    <a:close/>
                    <a:moveTo>
                      <a:pt x="111" y="779"/>
                    </a:moveTo>
                    <a:lnTo>
                      <a:pt x="112" y="786"/>
                    </a:lnTo>
                    <a:lnTo>
                      <a:pt x="102" y="787"/>
                    </a:lnTo>
                    <a:lnTo>
                      <a:pt x="100" y="780"/>
                    </a:lnTo>
                    <a:lnTo>
                      <a:pt x="111" y="779"/>
                    </a:lnTo>
                    <a:close/>
                    <a:moveTo>
                      <a:pt x="108" y="755"/>
                    </a:moveTo>
                    <a:lnTo>
                      <a:pt x="109" y="761"/>
                    </a:lnTo>
                    <a:lnTo>
                      <a:pt x="98" y="762"/>
                    </a:lnTo>
                    <a:lnTo>
                      <a:pt x="97" y="756"/>
                    </a:lnTo>
                    <a:lnTo>
                      <a:pt x="108" y="755"/>
                    </a:lnTo>
                    <a:close/>
                    <a:moveTo>
                      <a:pt x="105" y="730"/>
                    </a:moveTo>
                    <a:lnTo>
                      <a:pt x="106" y="735"/>
                    </a:lnTo>
                    <a:lnTo>
                      <a:pt x="95" y="736"/>
                    </a:lnTo>
                    <a:lnTo>
                      <a:pt x="94" y="731"/>
                    </a:lnTo>
                    <a:lnTo>
                      <a:pt x="105" y="730"/>
                    </a:lnTo>
                    <a:close/>
                    <a:moveTo>
                      <a:pt x="102" y="704"/>
                    </a:moveTo>
                    <a:lnTo>
                      <a:pt x="103" y="710"/>
                    </a:lnTo>
                    <a:lnTo>
                      <a:pt x="92" y="712"/>
                    </a:lnTo>
                    <a:lnTo>
                      <a:pt x="91" y="705"/>
                    </a:lnTo>
                    <a:lnTo>
                      <a:pt x="102" y="704"/>
                    </a:lnTo>
                    <a:close/>
                    <a:moveTo>
                      <a:pt x="98" y="679"/>
                    </a:moveTo>
                    <a:lnTo>
                      <a:pt x="99" y="686"/>
                    </a:lnTo>
                    <a:lnTo>
                      <a:pt x="89" y="687"/>
                    </a:lnTo>
                    <a:lnTo>
                      <a:pt x="88" y="680"/>
                    </a:lnTo>
                    <a:lnTo>
                      <a:pt x="98" y="679"/>
                    </a:lnTo>
                    <a:close/>
                    <a:moveTo>
                      <a:pt x="95" y="653"/>
                    </a:moveTo>
                    <a:lnTo>
                      <a:pt x="96" y="660"/>
                    </a:lnTo>
                    <a:lnTo>
                      <a:pt x="85" y="661"/>
                    </a:lnTo>
                    <a:lnTo>
                      <a:pt x="84" y="654"/>
                    </a:lnTo>
                    <a:lnTo>
                      <a:pt x="95" y="653"/>
                    </a:lnTo>
                    <a:close/>
                    <a:moveTo>
                      <a:pt x="92" y="629"/>
                    </a:moveTo>
                    <a:lnTo>
                      <a:pt x="93" y="635"/>
                    </a:lnTo>
                    <a:lnTo>
                      <a:pt x="82" y="636"/>
                    </a:lnTo>
                    <a:lnTo>
                      <a:pt x="81" y="630"/>
                    </a:lnTo>
                    <a:lnTo>
                      <a:pt x="92" y="629"/>
                    </a:lnTo>
                    <a:close/>
                    <a:moveTo>
                      <a:pt x="89" y="604"/>
                    </a:moveTo>
                    <a:lnTo>
                      <a:pt x="90" y="609"/>
                    </a:lnTo>
                    <a:lnTo>
                      <a:pt x="79" y="610"/>
                    </a:lnTo>
                    <a:lnTo>
                      <a:pt x="78" y="605"/>
                    </a:lnTo>
                    <a:lnTo>
                      <a:pt x="89" y="604"/>
                    </a:lnTo>
                    <a:close/>
                    <a:moveTo>
                      <a:pt x="85" y="578"/>
                    </a:moveTo>
                    <a:lnTo>
                      <a:pt x="86" y="584"/>
                    </a:lnTo>
                    <a:lnTo>
                      <a:pt x="76" y="586"/>
                    </a:lnTo>
                    <a:lnTo>
                      <a:pt x="75" y="579"/>
                    </a:lnTo>
                    <a:lnTo>
                      <a:pt x="85" y="578"/>
                    </a:lnTo>
                    <a:close/>
                    <a:moveTo>
                      <a:pt x="82" y="553"/>
                    </a:moveTo>
                    <a:lnTo>
                      <a:pt x="83" y="560"/>
                    </a:lnTo>
                    <a:lnTo>
                      <a:pt x="72" y="561"/>
                    </a:lnTo>
                    <a:lnTo>
                      <a:pt x="71" y="554"/>
                    </a:lnTo>
                    <a:lnTo>
                      <a:pt x="82" y="553"/>
                    </a:lnTo>
                    <a:close/>
                    <a:moveTo>
                      <a:pt x="79" y="527"/>
                    </a:moveTo>
                    <a:lnTo>
                      <a:pt x="80" y="534"/>
                    </a:lnTo>
                    <a:lnTo>
                      <a:pt x="69" y="535"/>
                    </a:lnTo>
                    <a:lnTo>
                      <a:pt x="68" y="528"/>
                    </a:lnTo>
                    <a:lnTo>
                      <a:pt x="79" y="527"/>
                    </a:lnTo>
                    <a:close/>
                    <a:moveTo>
                      <a:pt x="76" y="503"/>
                    </a:moveTo>
                    <a:lnTo>
                      <a:pt x="77" y="509"/>
                    </a:lnTo>
                    <a:lnTo>
                      <a:pt x="66" y="510"/>
                    </a:lnTo>
                    <a:lnTo>
                      <a:pt x="65" y="504"/>
                    </a:lnTo>
                    <a:lnTo>
                      <a:pt x="76" y="503"/>
                    </a:lnTo>
                    <a:close/>
                    <a:moveTo>
                      <a:pt x="72" y="478"/>
                    </a:moveTo>
                    <a:lnTo>
                      <a:pt x="74" y="484"/>
                    </a:lnTo>
                    <a:lnTo>
                      <a:pt x="63" y="485"/>
                    </a:lnTo>
                    <a:lnTo>
                      <a:pt x="62" y="479"/>
                    </a:lnTo>
                    <a:lnTo>
                      <a:pt x="72" y="478"/>
                    </a:lnTo>
                    <a:close/>
                    <a:moveTo>
                      <a:pt x="69" y="452"/>
                    </a:moveTo>
                    <a:lnTo>
                      <a:pt x="70" y="458"/>
                    </a:lnTo>
                    <a:lnTo>
                      <a:pt x="60" y="459"/>
                    </a:lnTo>
                    <a:lnTo>
                      <a:pt x="59" y="453"/>
                    </a:lnTo>
                    <a:lnTo>
                      <a:pt x="69" y="452"/>
                    </a:lnTo>
                    <a:close/>
                    <a:moveTo>
                      <a:pt x="66" y="427"/>
                    </a:moveTo>
                    <a:lnTo>
                      <a:pt x="67" y="434"/>
                    </a:lnTo>
                    <a:lnTo>
                      <a:pt x="56" y="435"/>
                    </a:lnTo>
                    <a:lnTo>
                      <a:pt x="55" y="428"/>
                    </a:lnTo>
                    <a:lnTo>
                      <a:pt x="66" y="427"/>
                    </a:lnTo>
                    <a:close/>
                    <a:moveTo>
                      <a:pt x="63" y="402"/>
                    </a:moveTo>
                    <a:lnTo>
                      <a:pt x="64" y="408"/>
                    </a:lnTo>
                    <a:lnTo>
                      <a:pt x="53" y="409"/>
                    </a:lnTo>
                    <a:lnTo>
                      <a:pt x="52" y="403"/>
                    </a:lnTo>
                    <a:lnTo>
                      <a:pt x="63" y="402"/>
                    </a:lnTo>
                    <a:close/>
                    <a:moveTo>
                      <a:pt x="60" y="377"/>
                    </a:moveTo>
                    <a:lnTo>
                      <a:pt x="61" y="383"/>
                    </a:lnTo>
                    <a:lnTo>
                      <a:pt x="50" y="384"/>
                    </a:lnTo>
                    <a:lnTo>
                      <a:pt x="49" y="378"/>
                    </a:lnTo>
                    <a:lnTo>
                      <a:pt x="60" y="377"/>
                    </a:lnTo>
                    <a:close/>
                    <a:moveTo>
                      <a:pt x="56" y="352"/>
                    </a:moveTo>
                    <a:lnTo>
                      <a:pt x="57" y="358"/>
                    </a:lnTo>
                    <a:lnTo>
                      <a:pt x="47" y="359"/>
                    </a:lnTo>
                    <a:lnTo>
                      <a:pt x="46" y="353"/>
                    </a:lnTo>
                    <a:lnTo>
                      <a:pt x="56" y="352"/>
                    </a:lnTo>
                    <a:close/>
                    <a:moveTo>
                      <a:pt x="53" y="326"/>
                    </a:moveTo>
                    <a:lnTo>
                      <a:pt x="54" y="332"/>
                    </a:lnTo>
                    <a:lnTo>
                      <a:pt x="43" y="333"/>
                    </a:lnTo>
                    <a:lnTo>
                      <a:pt x="42" y="327"/>
                    </a:lnTo>
                    <a:lnTo>
                      <a:pt x="53" y="326"/>
                    </a:lnTo>
                    <a:close/>
                    <a:moveTo>
                      <a:pt x="50" y="301"/>
                    </a:moveTo>
                    <a:lnTo>
                      <a:pt x="51" y="308"/>
                    </a:lnTo>
                    <a:lnTo>
                      <a:pt x="40" y="309"/>
                    </a:lnTo>
                    <a:lnTo>
                      <a:pt x="39" y="302"/>
                    </a:lnTo>
                    <a:lnTo>
                      <a:pt x="50" y="301"/>
                    </a:lnTo>
                    <a:close/>
                    <a:moveTo>
                      <a:pt x="47" y="276"/>
                    </a:moveTo>
                    <a:lnTo>
                      <a:pt x="48" y="283"/>
                    </a:lnTo>
                    <a:lnTo>
                      <a:pt x="37" y="284"/>
                    </a:lnTo>
                    <a:lnTo>
                      <a:pt x="36" y="277"/>
                    </a:lnTo>
                    <a:lnTo>
                      <a:pt x="47" y="276"/>
                    </a:lnTo>
                    <a:close/>
                    <a:moveTo>
                      <a:pt x="43" y="251"/>
                    </a:moveTo>
                    <a:lnTo>
                      <a:pt x="45" y="257"/>
                    </a:lnTo>
                    <a:lnTo>
                      <a:pt x="34" y="258"/>
                    </a:lnTo>
                    <a:lnTo>
                      <a:pt x="33" y="252"/>
                    </a:lnTo>
                    <a:lnTo>
                      <a:pt x="43" y="251"/>
                    </a:lnTo>
                    <a:close/>
                    <a:moveTo>
                      <a:pt x="40" y="226"/>
                    </a:moveTo>
                    <a:lnTo>
                      <a:pt x="41" y="232"/>
                    </a:lnTo>
                    <a:lnTo>
                      <a:pt x="31" y="233"/>
                    </a:lnTo>
                    <a:lnTo>
                      <a:pt x="29" y="227"/>
                    </a:lnTo>
                    <a:lnTo>
                      <a:pt x="40" y="226"/>
                    </a:lnTo>
                    <a:close/>
                    <a:moveTo>
                      <a:pt x="37" y="201"/>
                    </a:moveTo>
                    <a:lnTo>
                      <a:pt x="38" y="206"/>
                    </a:lnTo>
                    <a:lnTo>
                      <a:pt x="27" y="207"/>
                    </a:lnTo>
                    <a:lnTo>
                      <a:pt x="26" y="202"/>
                    </a:lnTo>
                    <a:lnTo>
                      <a:pt x="37" y="201"/>
                    </a:lnTo>
                    <a:close/>
                    <a:moveTo>
                      <a:pt x="34" y="175"/>
                    </a:moveTo>
                    <a:lnTo>
                      <a:pt x="35" y="182"/>
                    </a:lnTo>
                    <a:lnTo>
                      <a:pt x="24" y="183"/>
                    </a:lnTo>
                    <a:lnTo>
                      <a:pt x="23" y="176"/>
                    </a:lnTo>
                    <a:lnTo>
                      <a:pt x="34" y="175"/>
                    </a:lnTo>
                    <a:close/>
                    <a:moveTo>
                      <a:pt x="31" y="150"/>
                    </a:moveTo>
                    <a:lnTo>
                      <a:pt x="32" y="157"/>
                    </a:lnTo>
                    <a:lnTo>
                      <a:pt x="21" y="158"/>
                    </a:lnTo>
                    <a:lnTo>
                      <a:pt x="20" y="151"/>
                    </a:lnTo>
                    <a:lnTo>
                      <a:pt x="31" y="150"/>
                    </a:lnTo>
                    <a:close/>
                    <a:moveTo>
                      <a:pt x="27" y="125"/>
                    </a:moveTo>
                    <a:lnTo>
                      <a:pt x="28" y="131"/>
                    </a:lnTo>
                    <a:lnTo>
                      <a:pt x="18" y="132"/>
                    </a:lnTo>
                    <a:lnTo>
                      <a:pt x="17" y="126"/>
                    </a:lnTo>
                    <a:lnTo>
                      <a:pt x="27" y="125"/>
                    </a:lnTo>
                    <a:close/>
                    <a:moveTo>
                      <a:pt x="24" y="100"/>
                    </a:moveTo>
                    <a:lnTo>
                      <a:pt x="25" y="106"/>
                    </a:lnTo>
                    <a:lnTo>
                      <a:pt x="14" y="107"/>
                    </a:lnTo>
                    <a:lnTo>
                      <a:pt x="13" y="101"/>
                    </a:lnTo>
                    <a:lnTo>
                      <a:pt x="24" y="100"/>
                    </a:lnTo>
                    <a:close/>
                    <a:moveTo>
                      <a:pt x="21" y="75"/>
                    </a:moveTo>
                    <a:lnTo>
                      <a:pt x="22" y="81"/>
                    </a:lnTo>
                    <a:lnTo>
                      <a:pt x="11" y="83"/>
                    </a:lnTo>
                    <a:lnTo>
                      <a:pt x="10" y="76"/>
                    </a:lnTo>
                    <a:lnTo>
                      <a:pt x="21" y="75"/>
                    </a:lnTo>
                    <a:close/>
                    <a:moveTo>
                      <a:pt x="18" y="49"/>
                    </a:moveTo>
                    <a:lnTo>
                      <a:pt x="19" y="56"/>
                    </a:lnTo>
                    <a:lnTo>
                      <a:pt x="8" y="57"/>
                    </a:lnTo>
                    <a:lnTo>
                      <a:pt x="7" y="50"/>
                    </a:lnTo>
                    <a:lnTo>
                      <a:pt x="18" y="49"/>
                    </a:lnTo>
                    <a:close/>
                    <a:moveTo>
                      <a:pt x="14" y="24"/>
                    </a:moveTo>
                    <a:lnTo>
                      <a:pt x="15" y="31"/>
                    </a:lnTo>
                    <a:lnTo>
                      <a:pt x="5" y="32"/>
                    </a:lnTo>
                    <a:lnTo>
                      <a:pt x="4" y="25"/>
                    </a:lnTo>
                    <a:lnTo>
                      <a:pt x="14" y="24"/>
                    </a:lnTo>
                    <a:close/>
                    <a:moveTo>
                      <a:pt x="11" y="0"/>
                    </a:moveTo>
                    <a:lnTo>
                      <a:pt x="12" y="5"/>
                    </a:lnTo>
                    <a:lnTo>
                      <a:pt x="2" y="6"/>
                    </a:lnTo>
                    <a:lnTo>
                      <a:pt x="0" y="1"/>
                    </a:lnTo>
                    <a:lnTo>
                      <a:pt x="11" y="0"/>
                    </a:lnTo>
                    <a:close/>
                  </a:path>
                </a:pathLst>
              </a:custGeom>
              <a:solidFill>
                <a:srgbClr val="E3607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60" name="Rectangle 410"/>
              <p:cNvSpPr>
                <a:spLocks noChangeArrowheads="1"/>
              </p:cNvSpPr>
              <p:nvPr/>
            </p:nvSpPr>
            <p:spPr bwMode="auto">
              <a:xfrm>
                <a:off x="3220" y="2748"/>
                <a:ext cx="10" cy="3"/>
              </a:xfrm>
              <a:prstGeom prst="rect">
                <a:avLst/>
              </a:prstGeom>
              <a:solidFill>
                <a:srgbClr val="E36071"/>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eaLnBrk="1" hangingPunct="1"/>
                <a:endParaRPr lang="es-ES" altLang="es-CL" dirty="0">
                  <a:solidFill>
                    <a:srgbClr val="333333"/>
                  </a:solidFill>
                  <a:latin typeface="Arial" pitchFamily="34" charset="0"/>
                </a:endParaRPr>
              </a:p>
            </p:txBody>
          </p:sp>
          <p:sp>
            <p:nvSpPr>
              <p:cNvPr id="2261" name="Freeform 411"/>
              <p:cNvSpPr>
                <a:spLocks/>
              </p:cNvSpPr>
              <p:nvPr/>
            </p:nvSpPr>
            <p:spPr bwMode="auto">
              <a:xfrm>
                <a:off x="2996" y="2342"/>
                <a:ext cx="10" cy="6"/>
              </a:xfrm>
              <a:custGeom>
                <a:avLst/>
                <a:gdLst>
                  <a:gd name="T0" fmla="*/ 8 w 10"/>
                  <a:gd name="T1" fmla="*/ 0 h 6"/>
                  <a:gd name="T2" fmla="*/ 10 w 10"/>
                  <a:gd name="T3" fmla="*/ 2 h 6"/>
                  <a:gd name="T4" fmla="*/ 1 w 10"/>
                  <a:gd name="T5" fmla="*/ 6 h 6"/>
                  <a:gd name="T6" fmla="*/ 0 w 10"/>
                  <a:gd name="T7" fmla="*/ 4 h 6"/>
                  <a:gd name="T8" fmla="*/ 8 w 10"/>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6">
                    <a:moveTo>
                      <a:pt x="8" y="0"/>
                    </a:moveTo>
                    <a:lnTo>
                      <a:pt x="10" y="2"/>
                    </a:lnTo>
                    <a:lnTo>
                      <a:pt x="1" y="6"/>
                    </a:lnTo>
                    <a:lnTo>
                      <a:pt x="0" y="4"/>
                    </a:lnTo>
                    <a:lnTo>
                      <a:pt x="8" y="0"/>
                    </a:lnTo>
                    <a:close/>
                  </a:path>
                </a:pathLst>
              </a:custGeom>
              <a:solidFill>
                <a:srgbClr val="5F8AC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62" name="Freeform 412"/>
              <p:cNvSpPr>
                <a:spLocks noEditPoints="1"/>
              </p:cNvSpPr>
              <p:nvPr/>
            </p:nvSpPr>
            <p:spPr bwMode="auto">
              <a:xfrm>
                <a:off x="3003" y="2359"/>
                <a:ext cx="179" cy="408"/>
              </a:xfrm>
              <a:custGeom>
                <a:avLst/>
                <a:gdLst>
                  <a:gd name="T0" fmla="*/ 179 w 179"/>
                  <a:gd name="T1" fmla="*/ 404 h 408"/>
                  <a:gd name="T2" fmla="*/ 167 w 179"/>
                  <a:gd name="T3" fmla="*/ 402 h 408"/>
                  <a:gd name="T4" fmla="*/ 167 w 179"/>
                  <a:gd name="T5" fmla="*/ 375 h 408"/>
                  <a:gd name="T6" fmla="*/ 160 w 179"/>
                  <a:gd name="T7" fmla="*/ 384 h 408"/>
                  <a:gd name="T8" fmla="*/ 167 w 179"/>
                  <a:gd name="T9" fmla="*/ 375 h 408"/>
                  <a:gd name="T10" fmla="*/ 160 w 179"/>
                  <a:gd name="T11" fmla="*/ 356 h 408"/>
                  <a:gd name="T12" fmla="*/ 147 w 179"/>
                  <a:gd name="T13" fmla="*/ 355 h 408"/>
                  <a:gd name="T14" fmla="*/ 147 w 179"/>
                  <a:gd name="T15" fmla="*/ 327 h 408"/>
                  <a:gd name="T16" fmla="*/ 140 w 179"/>
                  <a:gd name="T17" fmla="*/ 338 h 408"/>
                  <a:gd name="T18" fmla="*/ 147 w 179"/>
                  <a:gd name="T19" fmla="*/ 327 h 408"/>
                  <a:gd name="T20" fmla="*/ 139 w 179"/>
                  <a:gd name="T21" fmla="*/ 310 h 408"/>
                  <a:gd name="T22" fmla="*/ 127 w 179"/>
                  <a:gd name="T23" fmla="*/ 309 h 408"/>
                  <a:gd name="T24" fmla="*/ 127 w 179"/>
                  <a:gd name="T25" fmla="*/ 281 h 408"/>
                  <a:gd name="T26" fmla="*/ 120 w 179"/>
                  <a:gd name="T27" fmla="*/ 291 h 408"/>
                  <a:gd name="T28" fmla="*/ 127 w 179"/>
                  <a:gd name="T29" fmla="*/ 281 h 408"/>
                  <a:gd name="T30" fmla="*/ 120 w 179"/>
                  <a:gd name="T31" fmla="*/ 263 h 408"/>
                  <a:gd name="T32" fmla="*/ 108 w 179"/>
                  <a:gd name="T33" fmla="*/ 262 h 408"/>
                  <a:gd name="T34" fmla="*/ 108 w 179"/>
                  <a:gd name="T35" fmla="*/ 234 h 408"/>
                  <a:gd name="T36" fmla="*/ 100 w 179"/>
                  <a:gd name="T37" fmla="*/ 244 h 408"/>
                  <a:gd name="T38" fmla="*/ 108 w 179"/>
                  <a:gd name="T39" fmla="*/ 234 h 408"/>
                  <a:gd name="T40" fmla="*/ 100 w 179"/>
                  <a:gd name="T41" fmla="*/ 216 h 408"/>
                  <a:gd name="T42" fmla="*/ 89 w 179"/>
                  <a:gd name="T43" fmla="*/ 215 h 408"/>
                  <a:gd name="T44" fmla="*/ 89 w 179"/>
                  <a:gd name="T45" fmla="*/ 187 h 408"/>
                  <a:gd name="T46" fmla="*/ 81 w 179"/>
                  <a:gd name="T47" fmla="*/ 197 h 408"/>
                  <a:gd name="T48" fmla="*/ 89 w 179"/>
                  <a:gd name="T49" fmla="*/ 187 h 408"/>
                  <a:gd name="T50" fmla="*/ 81 w 179"/>
                  <a:gd name="T51" fmla="*/ 170 h 408"/>
                  <a:gd name="T52" fmla="*/ 68 w 179"/>
                  <a:gd name="T53" fmla="*/ 168 h 408"/>
                  <a:gd name="T54" fmla="*/ 68 w 179"/>
                  <a:gd name="T55" fmla="*/ 140 h 408"/>
                  <a:gd name="T56" fmla="*/ 62 w 179"/>
                  <a:gd name="T57" fmla="*/ 151 h 408"/>
                  <a:gd name="T58" fmla="*/ 68 w 179"/>
                  <a:gd name="T59" fmla="*/ 140 h 408"/>
                  <a:gd name="T60" fmla="*/ 61 w 179"/>
                  <a:gd name="T61" fmla="*/ 123 h 408"/>
                  <a:gd name="T62" fmla="*/ 49 w 179"/>
                  <a:gd name="T63" fmla="*/ 122 h 408"/>
                  <a:gd name="T64" fmla="*/ 49 w 179"/>
                  <a:gd name="T65" fmla="*/ 94 h 408"/>
                  <a:gd name="T66" fmla="*/ 41 w 179"/>
                  <a:gd name="T67" fmla="*/ 103 h 408"/>
                  <a:gd name="T68" fmla="*/ 49 w 179"/>
                  <a:gd name="T69" fmla="*/ 94 h 408"/>
                  <a:gd name="T70" fmla="*/ 41 w 179"/>
                  <a:gd name="T71" fmla="*/ 76 h 408"/>
                  <a:gd name="T72" fmla="*/ 29 w 179"/>
                  <a:gd name="T73" fmla="*/ 74 h 408"/>
                  <a:gd name="T74" fmla="*/ 29 w 179"/>
                  <a:gd name="T75" fmla="*/ 46 h 408"/>
                  <a:gd name="T76" fmla="*/ 22 w 179"/>
                  <a:gd name="T77" fmla="*/ 57 h 408"/>
                  <a:gd name="T78" fmla="*/ 29 w 179"/>
                  <a:gd name="T79" fmla="*/ 46 h 408"/>
                  <a:gd name="T80" fmla="*/ 22 w 179"/>
                  <a:gd name="T81" fmla="*/ 29 h 408"/>
                  <a:gd name="T82" fmla="*/ 10 w 179"/>
                  <a:gd name="T83" fmla="*/ 28 h 408"/>
                  <a:gd name="T84" fmla="*/ 10 w 179"/>
                  <a:gd name="T85" fmla="*/ 0 h 408"/>
                  <a:gd name="T86" fmla="*/ 3 w 179"/>
                  <a:gd name="T87" fmla="*/ 10 h 408"/>
                  <a:gd name="T88" fmla="*/ 10 w 179"/>
                  <a:gd name="T89" fmla="*/ 0 h 40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79" h="408">
                    <a:moveTo>
                      <a:pt x="177" y="397"/>
                    </a:moveTo>
                    <a:lnTo>
                      <a:pt x="179" y="404"/>
                    </a:lnTo>
                    <a:lnTo>
                      <a:pt x="169" y="408"/>
                    </a:lnTo>
                    <a:lnTo>
                      <a:pt x="167" y="402"/>
                    </a:lnTo>
                    <a:lnTo>
                      <a:pt x="177" y="397"/>
                    </a:lnTo>
                    <a:close/>
                    <a:moveTo>
                      <a:pt x="167" y="375"/>
                    </a:moveTo>
                    <a:lnTo>
                      <a:pt x="169" y="380"/>
                    </a:lnTo>
                    <a:lnTo>
                      <a:pt x="160" y="384"/>
                    </a:lnTo>
                    <a:lnTo>
                      <a:pt x="157" y="379"/>
                    </a:lnTo>
                    <a:lnTo>
                      <a:pt x="167" y="375"/>
                    </a:lnTo>
                    <a:close/>
                    <a:moveTo>
                      <a:pt x="156" y="351"/>
                    </a:moveTo>
                    <a:lnTo>
                      <a:pt x="160" y="356"/>
                    </a:lnTo>
                    <a:lnTo>
                      <a:pt x="150" y="361"/>
                    </a:lnTo>
                    <a:lnTo>
                      <a:pt x="147" y="355"/>
                    </a:lnTo>
                    <a:lnTo>
                      <a:pt x="156" y="351"/>
                    </a:lnTo>
                    <a:close/>
                    <a:moveTo>
                      <a:pt x="147" y="327"/>
                    </a:moveTo>
                    <a:lnTo>
                      <a:pt x="150" y="334"/>
                    </a:lnTo>
                    <a:lnTo>
                      <a:pt x="140" y="338"/>
                    </a:lnTo>
                    <a:lnTo>
                      <a:pt x="137" y="332"/>
                    </a:lnTo>
                    <a:lnTo>
                      <a:pt x="147" y="327"/>
                    </a:lnTo>
                    <a:close/>
                    <a:moveTo>
                      <a:pt x="137" y="305"/>
                    </a:moveTo>
                    <a:lnTo>
                      <a:pt x="139" y="310"/>
                    </a:lnTo>
                    <a:lnTo>
                      <a:pt x="129" y="314"/>
                    </a:lnTo>
                    <a:lnTo>
                      <a:pt x="127" y="309"/>
                    </a:lnTo>
                    <a:lnTo>
                      <a:pt x="137" y="305"/>
                    </a:lnTo>
                    <a:close/>
                    <a:moveTo>
                      <a:pt x="127" y="281"/>
                    </a:moveTo>
                    <a:lnTo>
                      <a:pt x="129" y="286"/>
                    </a:lnTo>
                    <a:lnTo>
                      <a:pt x="120" y="291"/>
                    </a:lnTo>
                    <a:lnTo>
                      <a:pt x="118" y="285"/>
                    </a:lnTo>
                    <a:lnTo>
                      <a:pt x="127" y="281"/>
                    </a:lnTo>
                    <a:close/>
                    <a:moveTo>
                      <a:pt x="118" y="257"/>
                    </a:moveTo>
                    <a:lnTo>
                      <a:pt x="120" y="263"/>
                    </a:lnTo>
                    <a:lnTo>
                      <a:pt x="110" y="267"/>
                    </a:lnTo>
                    <a:lnTo>
                      <a:pt x="108" y="262"/>
                    </a:lnTo>
                    <a:lnTo>
                      <a:pt x="118" y="257"/>
                    </a:lnTo>
                    <a:close/>
                    <a:moveTo>
                      <a:pt x="108" y="234"/>
                    </a:moveTo>
                    <a:lnTo>
                      <a:pt x="110" y="240"/>
                    </a:lnTo>
                    <a:lnTo>
                      <a:pt x="100" y="244"/>
                    </a:lnTo>
                    <a:lnTo>
                      <a:pt x="98" y="238"/>
                    </a:lnTo>
                    <a:lnTo>
                      <a:pt x="108" y="234"/>
                    </a:lnTo>
                    <a:close/>
                    <a:moveTo>
                      <a:pt x="98" y="211"/>
                    </a:moveTo>
                    <a:lnTo>
                      <a:pt x="100" y="216"/>
                    </a:lnTo>
                    <a:lnTo>
                      <a:pt x="91" y="221"/>
                    </a:lnTo>
                    <a:lnTo>
                      <a:pt x="89" y="215"/>
                    </a:lnTo>
                    <a:lnTo>
                      <a:pt x="98" y="211"/>
                    </a:lnTo>
                    <a:close/>
                    <a:moveTo>
                      <a:pt x="89" y="187"/>
                    </a:moveTo>
                    <a:lnTo>
                      <a:pt x="91" y="193"/>
                    </a:lnTo>
                    <a:lnTo>
                      <a:pt x="81" y="197"/>
                    </a:lnTo>
                    <a:lnTo>
                      <a:pt x="79" y="192"/>
                    </a:lnTo>
                    <a:lnTo>
                      <a:pt x="89" y="187"/>
                    </a:lnTo>
                    <a:close/>
                    <a:moveTo>
                      <a:pt x="78" y="164"/>
                    </a:moveTo>
                    <a:lnTo>
                      <a:pt x="81" y="170"/>
                    </a:lnTo>
                    <a:lnTo>
                      <a:pt x="71" y="174"/>
                    </a:lnTo>
                    <a:lnTo>
                      <a:pt x="68" y="168"/>
                    </a:lnTo>
                    <a:lnTo>
                      <a:pt x="78" y="164"/>
                    </a:lnTo>
                    <a:close/>
                    <a:moveTo>
                      <a:pt x="68" y="140"/>
                    </a:moveTo>
                    <a:lnTo>
                      <a:pt x="71" y="146"/>
                    </a:lnTo>
                    <a:lnTo>
                      <a:pt x="62" y="151"/>
                    </a:lnTo>
                    <a:lnTo>
                      <a:pt x="58" y="144"/>
                    </a:lnTo>
                    <a:lnTo>
                      <a:pt x="68" y="140"/>
                    </a:lnTo>
                    <a:close/>
                    <a:moveTo>
                      <a:pt x="58" y="117"/>
                    </a:moveTo>
                    <a:lnTo>
                      <a:pt x="61" y="123"/>
                    </a:lnTo>
                    <a:lnTo>
                      <a:pt x="51" y="127"/>
                    </a:lnTo>
                    <a:lnTo>
                      <a:pt x="49" y="122"/>
                    </a:lnTo>
                    <a:lnTo>
                      <a:pt x="58" y="117"/>
                    </a:lnTo>
                    <a:close/>
                    <a:moveTo>
                      <a:pt x="49" y="94"/>
                    </a:moveTo>
                    <a:lnTo>
                      <a:pt x="51" y="99"/>
                    </a:lnTo>
                    <a:lnTo>
                      <a:pt x="41" y="103"/>
                    </a:lnTo>
                    <a:lnTo>
                      <a:pt x="39" y="98"/>
                    </a:lnTo>
                    <a:lnTo>
                      <a:pt x="49" y="94"/>
                    </a:lnTo>
                    <a:close/>
                    <a:moveTo>
                      <a:pt x="39" y="70"/>
                    </a:moveTo>
                    <a:lnTo>
                      <a:pt x="41" y="76"/>
                    </a:lnTo>
                    <a:lnTo>
                      <a:pt x="32" y="81"/>
                    </a:lnTo>
                    <a:lnTo>
                      <a:pt x="29" y="74"/>
                    </a:lnTo>
                    <a:lnTo>
                      <a:pt x="39" y="70"/>
                    </a:lnTo>
                    <a:close/>
                    <a:moveTo>
                      <a:pt x="29" y="46"/>
                    </a:moveTo>
                    <a:lnTo>
                      <a:pt x="32" y="53"/>
                    </a:lnTo>
                    <a:lnTo>
                      <a:pt x="22" y="57"/>
                    </a:lnTo>
                    <a:lnTo>
                      <a:pt x="20" y="51"/>
                    </a:lnTo>
                    <a:lnTo>
                      <a:pt x="29" y="46"/>
                    </a:lnTo>
                    <a:close/>
                    <a:moveTo>
                      <a:pt x="20" y="24"/>
                    </a:moveTo>
                    <a:lnTo>
                      <a:pt x="22" y="29"/>
                    </a:lnTo>
                    <a:lnTo>
                      <a:pt x="12" y="33"/>
                    </a:lnTo>
                    <a:lnTo>
                      <a:pt x="10" y="28"/>
                    </a:lnTo>
                    <a:lnTo>
                      <a:pt x="20" y="24"/>
                    </a:lnTo>
                    <a:close/>
                    <a:moveTo>
                      <a:pt x="10" y="0"/>
                    </a:moveTo>
                    <a:lnTo>
                      <a:pt x="12" y="5"/>
                    </a:lnTo>
                    <a:lnTo>
                      <a:pt x="3" y="10"/>
                    </a:lnTo>
                    <a:lnTo>
                      <a:pt x="0" y="4"/>
                    </a:lnTo>
                    <a:lnTo>
                      <a:pt x="10" y="0"/>
                    </a:lnTo>
                    <a:close/>
                  </a:path>
                </a:pathLst>
              </a:custGeom>
              <a:solidFill>
                <a:srgbClr val="5F8AC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63" name="Rectangle 413"/>
              <p:cNvSpPr>
                <a:spLocks noChangeArrowheads="1"/>
              </p:cNvSpPr>
              <p:nvPr/>
            </p:nvSpPr>
            <p:spPr bwMode="auto">
              <a:xfrm>
                <a:off x="3182" y="2785"/>
                <a:ext cx="11" cy="4"/>
              </a:xfrm>
              <a:prstGeom prst="rect">
                <a:avLst/>
              </a:prstGeom>
              <a:solidFill>
                <a:srgbClr val="5F8AC2"/>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eaLnBrk="1" hangingPunct="1"/>
                <a:endParaRPr lang="es-ES" altLang="es-CL" dirty="0">
                  <a:solidFill>
                    <a:srgbClr val="333333"/>
                  </a:solidFill>
                  <a:latin typeface="Arial" pitchFamily="34" charset="0"/>
                </a:endParaRPr>
              </a:p>
            </p:txBody>
          </p:sp>
          <p:sp>
            <p:nvSpPr>
              <p:cNvPr id="2264" name="Freeform 414"/>
              <p:cNvSpPr>
                <a:spLocks/>
              </p:cNvSpPr>
              <p:nvPr/>
            </p:nvSpPr>
            <p:spPr bwMode="auto">
              <a:xfrm>
                <a:off x="2867" y="2182"/>
                <a:ext cx="174" cy="175"/>
              </a:xfrm>
              <a:custGeom>
                <a:avLst/>
                <a:gdLst>
                  <a:gd name="T0" fmla="*/ 87 w 174"/>
                  <a:gd name="T1" fmla="*/ 0 h 175"/>
                  <a:gd name="T2" fmla="*/ 111 w 174"/>
                  <a:gd name="T3" fmla="*/ 3 h 175"/>
                  <a:gd name="T4" fmla="*/ 131 w 174"/>
                  <a:gd name="T5" fmla="*/ 12 h 175"/>
                  <a:gd name="T6" fmla="*/ 148 w 174"/>
                  <a:gd name="T7" fmla="*/ 25 h 175"/>
                  <a:gd name="T8" fmla="*/ 162 w 174"/>
                  <a:gd name="T9" fmla="*/ 43 h 175"/>
                  <a:gd name="T10" fmla="*/ 171 w 174"/>
                  <a:gd name="T11" fmla="*/ 64 h 175"/>
                  <a:gd name="T12" fmla="*/ 174 w 174"/>
                  <a:gd name="T13" fmla="*/ 87 h 175"/>
                  <a:gd name="T14" fmla="*/ 171 w 174"/>
                  <a:gd name="T15" fmla="*/ 110 h 175"/>
                  <a:gd name="T16" fmla="*/ 162 w 174"/>
                  <a:gd name="T17" fmla="*/ 132 h 175"/>
                  <a:gd name="T18" fmla="*/ 148 w 174"/>
                  <a:gd name="T19" fmla="*/ 149 h 175"/>
                  <a:gd name="T20" fmla="*/ 131 w 174"/>
                  <a:gd name="T21" fmla="*/ 163 h 175"/>
                  <a:gd name="T22" fmla="*/ 111 w 174"/>
                  <a:gd name="T23" fmla="*/ 172 h 175"/>
                  <a:gd name="T24" fmla="*/ 87 w 174"/>
                  <a:gd name="T25" fmla="*/ 175 h 175"/>
                  <a:gd name="T26" fmla="*/ 63 w 174"/>
                  <a:gd name="T27" fmla="*/ 172 h 175"/>
                  <a:gd name="T28" fmla="*/ 43 w 174"/>
                  <a:gd name="T29" fmla="*/ 163 h 175"/>
                  <a:gd name="T30" fmla="*/ 26 w 174"/>
                  <a:gd name="T31" fmla="*/ 149 h 175"/>
                  <a:gd name="T32" fmla="*/ 12 w 174"/>
                  <a:gd name="T33" fmla="*/ 132 h 175"/>
                  <a:gd name="T34" fmla="*/ 3 w 174"/>
                  <a:gd name="T35" fmla="*/ 110 h 175"/>
                  <a:gd name="T36" fmla="*/ 0 w 174"/>
                  <a:gd name="T37" fmla="*/ 87 h 175"/>
                  <a:gd name="T38" fmla="*/ 3 w 174"/>
                  <a:gd name="T39" fmla="*/ 64 h 175"/>
                  <a:gd name="T40" fmla="*/ 12 w 174"/>
                  <a:gd name="T41" fmla="*/ 43 h 175"/>
                  <a:gd name="T42" fmla="*/ 26 w 174"/>
                  <a:gd name="T43" fmla="*/ 25 h 175"/>
                  <a:gd name="T44" fmla="*/ 43 w 174"/>
                  <a:gd name="T45" fmla="*/ 12 h 175"/>
                  <a:gd name="T46" fmla="*/ 63 w 174"/>
                  <a:gd name="T47" fmla="*/ 3 h 175"/>
                  <a:gd name="T48" fmla="*/ 87 w 174"/>
                  <a:gd name="T49" fmla="*/ 0 h 17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74" h="175">
                    <a:moveTo>
                      <a:pt x="87" y="0"/>
                    </a:moveTo>
                    <a:lnTo>
                      <a:pt x="111" y="3"/>
                    </a:lnTo>
                    <a:lnTo>
                      <a:pt x="131" y="12"/>
                    </a:lnTo>
                    <a:lnTo>
                      <a:pt x="148" y="25"/>
                    </a:lnTo>
                    <a:lnTo>
                      <a:pt x="162" y="43"/>
                    </a:lnTo>
                    <a:lnTo>
                      <a:pt x="171" y="64"/>
                    </a:lnTo>
                    <a:lnTo>
                      <a:pt x="174" y="87"/>
                    </a:lnTo>
                    <a:lnTo>
                      <a:pt x="171" y="110"/>
                    </a:lnTo>
                    <a:lnTo>
                      <a:pt x="162" y="132"/>
                    </a:lnTo>
                    <a:lnTo>
                      <a:pt x="148" y="149"/>
                    </a:lnTo>
                    <a:lnTo>
                      <a:pt x="131" y="163"/>
                    </a:lnTo>
                    <a:lnTo>
                      <a:pt x="111" y="172"/>
                    </a:lnTo>
                    <a:lnTo>
                      <a:pt x="87" y="175"/>
                    </a:lnTo>
                    <a:lnTo>
                      <a:pt x="63" y="172"/>
                    </a:lnTo>
                    <a:lnTo>
                      <a:pt x="43" y="163"/>
                    </a:lnTo>
                    <a:lnTo>
                      <a:pt x="26" y="149"/>
                    </a:lnTo>
                    <a:lnTo>
                      <a:pt x="12" y="132"/>
                    </a:lnTo>
                    <a:lnTo>
                      <a:pt x="3" y="110"/>
                    </a:lnTo>
                    <a:lnTo>
                      <a:pt x="0" y="87"/>
                    </a:lnTo>
                    <a:lnTo>
                      <a:pt x="3" y="64"/>
                    </a:lnTo>
                    <a:lnTo>
                      <a:pt x="12" y="43"/>
                    </a:lnTo>
                    <a:lnTo>
                      <a:pt x="26" y="25"/>
                    </a:lnTo>
                    <a:lnTo>
                      <a:pt x="43" y="12"/>
                    </a:lnTo>
                    <a:lnTo>
                      <a:pt x="63" y="3"/>
                    </a:lnTo>
                    <a:lnTo>
                      <a:pt x="87" y="0"/>
                    </a:lnTo>
                    <a:close/>
                  </a:path>
                </a:pathLst>
              </a:custGeom>
              <a:solidFill>
                <a:srgbClr val="29426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65" name="Freeform 415"/>
              <p:cNvSpPr>
                <a:spLocks noEditPoints="1"/>
              </p:cNvSpPr>
              <p:nvPr/>
            </p:nvSpPr>
            <p:spPr bwMode="auto">
              <a:xfrm>
                <a:off x="2861" y="2176"/>
                <a:ext cx="186" cy="185"/>
              </a:xfrm>
              <a:custGeom>
                <a:avLst/>
                <a:gdLst>
                  <a:gd name="T0" fmla="*/ 94 w 186"/>
                  <a:gd name="T1" fmla="*/ 9 h 185"/>
                  <a:gd name="T2" fmla="*/ 72 w 186"/>
                  <a:gd name="T3" fmla="*/ 13 h 185"/>
                  <a:gd name="T4" fmla="*/ 53 w 186"/>
                  <a:gd name="T5" fmla="*/ 21 h 185"/>
                  <a:gd name="T6" fmla="*/ 36 w 186"/>
                  <a:gd name="T7" fmla="*/ 34 h 185"/>
                  <a:gd name="T8" fmla="*/ 23 w 186"/>
                  <a:gd name="T9" fmla="*/ 50 h 185"/>
                  <a:gd name="T10" fmla="*/ 14 w 186"/>
                  <a:gd name="T11" fmla="*/ 70 h 185"/>
                  <a:gd name="T12" fmla="*/ 12 w 186"/>
                  <a:gd name="T13" fmla="*/ 91 h 185"/>
                  <a:gd name="T14" fmla="*/ 14 w 186"/>
                  <a:gd name="T15" fmla="*/ 114 h 185"/>
                  <a:gd name="T16" fmla="*/ 23 w 186"/>
                  <a:gd name="T17" fmla="*/ 133 h 185"/>
                  <a:gd name="T18" fmla="*/ 36 w 186"/>
                  <a:gd name="T19" fmla="*/ 151 h 185"/>
                  <a:gd name="T20" fmla="*/ 53 w 186"/>
                  <a:gd name="T21" fmla="*/ 164 h 185"/>
                  <a:gd name="T22" fmla="*/ 72 w 186"/>
                  <a:gd name="T23" fmla="*/ 172 h 185"/>
                  <a:gd name="T24" fmla="*/ 94 w 186"/>
                  <a:gd name="T25" fmla="*/ 174 h 185"/>
                  <a:gd name="T26" fmla="*/ 110 w 186"/>
                  <a:gd name="T27" fmla="*/ 173 h 185"/>
                  <a:gd name="T28" fmla="*/ 126 w 186"/>
                  <a:gd name="T29" fmla="*/ 169 h 185"/>
                  <a:gd name="T30" fmla="*/ 139 w 186"/>
                  <a:gd name="T31" fmla="*/ 161 h 185"/>
                  <a:gd name="T32" fmla="*/ 151 w 186"/>
                  <a:gd name="T33" fmla="*/ 151 h 185"/>
                  <a:gd name="T34" fmla="*/ 165 w 186"/>
                  <a:gd name="T35" fmla="*/ 133 h 185"/>
                  <a:gd name="T36" fmla="*/ 174 w 186"/>
                  <a:gd name="T37" fmla="*/ 114 h 185"/>
                  <a:gd name="T38" fmla="*/ 177 w 186"/>
                  <a:gd name="T39" fmla="*/ 91 h 185"/>
                  <a:gd name="T40" fmla="*/ 174 w 186"/>
                  <a:gd name="T41" fmla="*/ 70 h 185"/>
                  <a:gd name="T42" fmla="*/ 165 w 186"/>
                  <a:gd name="T43" fmla="*/ 50 h 185"/>
                  <a:gd name="T44" fmla="*/ 151 w 186"/>
                  <a:gd name="T45" fmla="*/ 34 h 185"/>
                  <a:gd name="T46" fmla="*/ 135 w 186"/>
                  <a:gd name="T47" fmla="*/ 21 h 185"/>
                  <a:gd name="T48" fmla="*/ 116 w 186"/>
                  <a:gd name="T49" fmla="*/ 13 h 185"/>
                  <a:gd name="T50" fmla="*/ 94 w 186"/>
                  <a:gd name="T51" fmla="*/ 9 h 185"/>
                  <a:gd name="T52" fmla="*/ 94 w 186"/>
                  <a:gd name="T53" fmla="*/ 0 h 185"/>
                  <a:gd name="T54" fmla="*/ 112 w 186"/>
                  <a:gd name="T55" fmla="*/ 2 h 185"/>
                  <a:gd name="T56" fmla="*/ 129 w 186"/>
                  <a:gd name="T57" fmla="*/ 6 h 185"/>
                  <a:gd name="T58" fmla="*/ 146 w 186"/>
                  <a:gd name="T59" fmla="*/ 15 h 185"/>
                  <a:gd name="T60" fmla="*/ 160 w 186"/>
                  <a:gd name="T61" fmla="*/ 27 h 185"/>
                  <a:gd name="T62" fmla="*/ 171 w 186"/>
                  <a:gd name="T63" fmla="*/ 41 h 185"/>
                  <a:gd name="T64" fmla="*/ 179 w 186"/>
                  <a:gd name="T65" fmla="*/ 57 h 185"/>
                  <a:gd name="T66" fmla="*/ 184 w 186"/>
                  <a:gd name="T67" fmla="*/ 74 h 185"/>
                  <a:gd name="T68" fmla="*/ 186 w 186"/>
                  <a:gd name="T69" fmla="*/ 91 h 185"/>
                  <a:gd name="T70" fmla="*/ 183 w 186"/>
                  <a:gd name="T71" fmla="*/ 116 h 185"/>
                  <a:gd name="T72" fmla="*/ 174 w 186"/>
                  <a:gd name="T73" fmla="*/ 138 h 185"/>
                  <a:gd name="T74" fmla="*/ 160 w 186"/>
                  <a:gd name="T75" fmla="*/ 157 h 185"/>
                  <a:gd name="T76" fmla="*/ 146 w 186"/>
                  <a:gd name="T77" fmla="*/ 170 h 185"/>
                  <a:gd name="T78" fmla="*/ 129 w 186"/>
                  <a:gd name="T79" fmla="*/ 179 h 185"/>
                  <a:gd name="T80" fmla="*/ 112 w 186"/>
                  <a:gd name="T81" fmla="*/ 184 h 185"/>
                  <a:gd name="T82" fmla="*/ 94 w 186"/>
                  <a:gd name="T83" fmla="*/ 185 h 185"/>
                  <a:gd name="T84" fmla="*/ 76 w 186"/>
                  <a:gd name="T85" fmla="*/ 184 h 185"/>
                  <a:gd name="T86" fmla="*/ 59 w 186"/>
                  <a:gd name="T87" fmla="*/ 179 h 185"/>
                  <a:gd name="T88" fmla="*/ 43 w 186"/>
                  <a:gd name="T89" fmla="*/ 170 h 185"/>
                  <a:gd name="T90" fmla="*/ 29 w 186"/>
                  <a:gd name="T91" fmla="*/ 157 h 185"/>
                  <a:gd name="T92" fmla="*/ 17 w 186"/>
                  <a:gd name="T93" fmla="*/ 143 h 185"/>
                  <a:gd name="T94" fmla="*/ 8 w 186"/>
                  <a:gd name="T95" fmla="*/ 127 h 185"/>
                  <a:gd name="T96" fmla="*/ 3 w 186"/>
                  <a:gd name="T97" fmla="*/ 111 h 185"/>
                  <a:gd name="T98" fmla="*/ 0 w 186"/>
                  <a:gd name="T99" fmla="*/ 91 h 185"/>
                  <a:gd name="T100" fmla="*/ 3 w 186"/>
                  <a:gd name="T101" fmla="*/ 74 h 185"/>
                  <a:gd name="T102" fmla="*/ 8 w 186"/>
                  <a:gd name="T103" fmla="*/ 57 h 185"/>
                  <a:gd name="T104" fmla="*/ 17 w 186"/>
                  <a:gd name="T105" fmla="*/ 41 h 185"/>
                  <a:gd name="T106" fmla="*/ 29 w 186"/>
                  <a:gd name="T107" fmla="*/ 27 h 185"/>
                  <a:gd name="T108" fmla="*/ 49 w 186"/>
                  <a:gd name="T109" fmla="*/ 12 h 185"/>
                  <a:gd name="T110" fmla="*/ 70 w 186"/>
                  <a:gd name="T111" fmla="*/ 3 h 185"/>
                  <a:gd name="T112" fmla="*/ 94 w 186"/>
                  <a:gd name="T113" fmla="*/ 0 h 1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86" h="185">
                    <a:moveTo>
                      <a:pt x="94" y="9"/>
                    </a:moveTo>
                    <a:lnTo>
                      <a:pt x="72" y="13"/>
                    </a:lnTo>
                    <a:lnTo>
                      <a:pt x="53" y="21"/>
                    </a:lnTo>
                    <a:lnTo>
                      <a:pt x="36" y="34"/>
                    </a:lnTo>
                    <a:lnTo>
                      <a:pt x="23" y="50"/>
                    </a:lnTo>
                    <a:lnTo>
                      <a:pt x="14" y="70"/>
                    </a:lnTo>
                    <a:lnTo>
                      <a:pt x="12" y="91"/>
                    </a:lnTo>
                    <a:lnTo>
                      <a:pt x="14" y="114"/>
                    </a:lnTo>
                    <a:lnTo>
                      <a:pt x="23" y="133"/>
                    </a:lnTo>
                    <a:lnTo>
                      <a:pt x="36" y="151"/>
                    </a:lnTo>
                    <a:lnTo>
                      <a:pt x="53" y="164"/>
                    </a:lnTo>
                    <a:lnTo>
                      <a:pt x="72" y="172"/>
                    </a:lnTo>
                    <a:lnTo>
                      <a:pt x="94" y="174"/>
                    </a:lnTo>
                    <a:lnTo>
                      <a:pt x="110" y="173"/>
                    </a:lnTo>
                    <a:lnTo>
                      <a:pt x="126" y="169"/>
                    </a:lnTo>
                    <a:lnTo>
                      <a:pt x="139" y="161"/>
                    </a:lnTo>
                    <a:lnTo>
                      <a:pt x="151" y="151"/>
                    </a:lnTo>
                    <a:lnTo>
                      <a:pt x="165" y="133"/>
                    </a:lnTo>
                    <a:lnTo>
                      <a:pt x="174" y="114"/>
                    </a:lnTo>
                    <a:lnTo>
                      <a:pt x="177" y="91"/>
                    </a:lnTo>
                    <a:lnTo>
                      <a:pt x="174" y="70"/>
                    </a:lnTo>
                    <a:lnTo>
                      <a:pt x="165" y="50"/>
                    </a:lnTo>
                    <a:lnTo>
                      <a:pt x="151" y="34"/>
                    </a:lnTo>
                    <a:lnTo>
                      <a:pt x="135" y="21"/>
                    </a:lnTo>
                    <a:lnTo>
                      <a:pt x="116" y="13"/>
                    </a:lnTo>
                    <a:lnTo>
                      <a:pt x="94" y="9"/>
                    </a:lnTo>
                    <a:close/>
                    <a:moveTo>
                      <a:pt x="94" y="0"/>
                    </a:moveTo>
                    <a:lnTo>
                      <a:pt x="112" y="2"/>
                    </a:lnTo>
                    <a:lnTo>
                      <a:pt x="129" y="6"/>
                    </a:lnTo>
                    <a:lnTo>
                      <a:pt x="146" y="15"/>
                    </a:lnTo>
                    <a:lnTo>
                      <a:pt x="160" y="27"/>
                    </a:lnTo>
                    <a:lnTo>
                      <a:pt x="171" y="41"/>
                    </a:lnTo>
                    <a:lnTo>
                      <a:pt x="179" y="57"/>
                    </a:lnTo>
                    <a:lnTo>
                      <a:pt x="184" y="74"/>
                    </a:lnTo>
                    <a:lnTo>
                      <a:pt x="186" y="91"/>
                    </a:lnTo>
                    <a:lnTo>
                      <a:pt x="183" y="116"/>
                    </a:lnTo>
                    <a:lnTo>
                      <a:pt x="174" y="138"/>
                    </a:lnTo>
                    <a:lnTo>
                      <a:pt x="160" y="157"/>
                    </a:lnTo>
                    <a:lnTo>
                      <a:pt x="146" y="170"/>
                    </a:lnTo>
                    <a:lnTo>
                      <a:pt x="129" y="179"/>
                    </a:lnTo>
                    <a:lnTo>
                      <a:pt x="112" y="184"/>
                    </a:lnTo>
                    <a:lnTo>
                      <a:pt x="94" y="185"/>
                    </a:lnTo>
                    <a:lnTo>
                      <a:pt x="76" y="184"/>
                    </a:lnTo>
                    <a:lnTo>
                      <a:pt x="59" y="179"/>
                    </a:lnTo>
                    <a:lnTo>
                      <a:pt x="43" y="170"/>
                    </a:lnTo>
                    <a:lnTo>
                      <a:pt x="29" y="157"/>
                    </a:lnTo>
                    <a:lnTo>
                      <a:pt x="17" y="143"/>
                    </a:lnTo>
                    <a:lnTo>
                      <a:pt x="8" y="127"/>
                    </a:lnTo>
                    <a:lnTo>
                      <a:pt x="3" y="111"/>
                    </a:lnTo>
                    <a:lnTo>
                      <a:pt x="0" y="91"/>
                    </a:lnTo>
                    <a:lnTo>
                      <a:pt x="3" y="74"/>
                    </a:lnTo>
                    <a:lnTo>
                      <a:pt x="8" y="57"/>
                    </a:lnTo>
                    <a:lnTo>
                      <a:pt x="17" y="41"/>
                    </a:lnTo>
                    <a:lnTo>
                      <a:pt x="29" y="27"/>
                    </a:lnTo>
                    <a:lnTo>
                      <a:pt x="49" y="12"/>
                    </a:lnTo>
                    <a:lnTo>
                      <a:pt x="70" y="3"/>
                    </a:lnTo>
                    <a:lnTo>
                      <a:pt x="94" y="0"/>
                    </a:lnTo>
                    <a:close/>
                  </a:path>
                </a:pathLst>
              </a:custGeom>
              <a:solidFill>
                <a:srgbClr val="5F8AC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66" name="Freeform 416"/>
              <p:cNvSpPr>
                <a:spLocks/>
              </p:cNvSpPr>
              <p:nvPr/>
            </p:nvSpPr>
            <p:spPr bwMode="auto">
              <a:xfrm>
                <a:off x="2926" y="2216"/>
                <a:ext cx="54" cy="100"/>
              </a:xfrm>
              <a:custGeom>
                <a:avLst/>
                <a:gdLst>
                  <a:gd name="T0" fmla="*/ 29 w 54"/>
                  <a:gd name="T1" fmla="*/ 1 h 100"/>
                  <a:gd name="T2" fmla="*/ 35 w 54"/>
                  <a:gd name="T3" fmla="*/ 13 h 100"/>
                  <a:gd name="T4" fmla="*/ 43 w 54"/>
                  <a:gd name="T5" fmla="*/ 27 h 100"/>
                  <a:gd name="T6" fmla="*/ 43 w 54"/>
                  <a:gd name="T7" fmla="*/ 39 h 100"/>
                  <a:gd name="T8" fmla="*/ 34 w 54"/>
                  <a:gd name="T9" fmla="*/ 55 h 100"/>
                  <a:gd name="T10" fmla="*/ 28 w 54"/>
                  <a:gd name="T11" fmla="*/ 64 h 100"/>
                  <a:gd name="T12" fmla="*/ 21 w 54"/>
                  <a:gd name="T13" fmla="*/ 75 h 100"/>
                  <a:gd name="T14" fmla="*/ 20 w 54"/>
                  <a:gd name="T15" fmla="*/ 84 h 100"/>
                  <a:gd name="T16" fmla="*/ 20 w 54"/>
                  <a:gd name="T17" fmla="*/ 86 h 100"/>
                  <a:gd name="T18" fmla="*/ 23 w 54"/>
                  <a:gd name="T19" fmla="*/ 88 h 100"/>
                  <a:gd name="T20" fmla="*/ 26 w 54"/>
                  <a:gd name="T21" fmla="*/ 88 h 100"/>
                  <a:gd name="T22" fmla="*/ 31 w 54"/>
                  <a:gd name="T23" fmla="*/ 85 h 100"/>
                  <a:gd name="T24" fmla="*/ 35 w 54"/>
                  <a:gd name="T25" fmla="*/ 78 h 100"/>
                  <a:gd name="T26" fmla="*/ 44 w 54"/>
                  <a:gd name="T27" fmla="*/ 65 h 100"/>
                  <a:gd name="T28" fmla="*/ 48 w 54"/>
                  <a:gd name="T29" fmla="*/ 41 h 100"/>
                  <a:gd name="T30" fmla="*/ 52 w 54"/>
                  <a:gd name="T31" fmla="*/ 49 h 100"/>
                  <a:gd name="T32" fmla="*/ 53 w 54"/>
                  <a:gd name="T33" fmla="*/ 70 h 100"/>
                  <a:gd name="T34" fmla="*/ 40 w 54"/>
                  <a:gd name="T35" fmla="*/ 93 h 100"/>
                  <a:gd name="T36" fmla="*/ 27 w 54"/>
                  <a:gd name="T37" fmla="*/ 100 h 100"/>
                  <a:gd name="T38" fmla="*/ 20 w 54"/>
                  <a:gd name="T39" fmla="*/ 98 h 100"/>
                  <a:gd name="T40" fmla="*/ 19 w 54"/>
                  <a:gd name="T41" fmla="*/ 96 h 100"/>
                  <a:gd name="T42" fmla="*/ 17 w 54"/>
                  <a:gd name="T43" fmla="*/ 92 h 100"/>
                  <a:gd name="T44" fmla="*/ 14 w 54"/>
                  <a:gd name="T45" fmla="*/ 87 h 100"/>
                  <a:gd name="T46" fmla="*/ 12 w 54"/>
                  <a:gd name="T47" fmla="*/ 80 h 100"/>
                  <a:gd name="T48" fmla="*/ 16 w 54"/>
                  <a:gd name="T49" fmla="*/ 61 h 100"/>
                  <a:gd name="T50" fmla="*/ 23 w 54"/>
                  <a:gd name="T51" fmla="*/ 49 h 100"/>
                  <a:gd name="T52" fmla="*/ 30 w 54"/>
                  <a:gd name="T53" fmla="*/ 35 h 100"/>
                  <a:gd name="T54" fmla="*/ 32 w 54"/>
                  <a:gd name="T55" fmla="*/ 21 h 100"/>
                  <a:gd name="T56" fmla="*/ 28 w 54"/>
                  <a:gd name="T57" fmla="*/ 30 h 100"/>
                  <a:gd name="T58" fmla="*/ 20 w 54"/>
                  <a:gd name="T59" fmla="*/ 43 h 100"/>
                  <a:gd name="T60" fmla="*/ 10 w 54"/>
                  <a:gd name="T61" fmla="*/ 60 h 100"/>
                  <a:gd name="T62" fmla="*/ 7 w 54"/>
                  <a:gd name="T63" fmla="*/ 80 h 100"/>
                  <a:gd name="T64" fmla="*/ 3 w 54"/>
                  <a:gd name="T65" fmla="*/ 73 h 100"/>
                  <a:gd name="T66" fmla="*/ 1 w 54"/>
                  <a:gd name="T67" fmla="*/ 55 h 100"/>
                  <a:gd name="T68" fmla="*/ 11 w 54"/>
                  <a:gd name="T69" fmla="*/ 35 h 100"/>
                  <a:gd name="T70" fmla="*/ 17 w 54"/>
                  <a:gd name="T71" fmla="*/ 28 h 100"/>
                  <a:gd name="T72" fmla="*/ 24 w 54"/>
                  <a:gd name="T73" fmla="*/ 14 h 100"/>
                  <a:gd name="T74" fmla="*/ 28 w 54"/>
                  <a:gd name="T75" fmla="*/ 0 h 1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4" h="100">
                    <a:moveTo>
                      <a:pt x="28" y="0"/>
                    </a:moveTo>
                    <a:lnTo>
                      <a:pt x="29" y="1"/>
                    </a:lnTo>
                    <a:lnTo>
                      <a:pt x="32" y="6"/>
                    </a:lnTo>
                    <a:lnTo>
                      <a:pt x="35" y="13"/>
                    </a:lnTo>
                    <a:lnTo>
                      <a:pt x="40" y="20"/>
                    </a:lnTo>
                    <a:lnTo>
                      <a:pt x="43" y="27"/>
                    </a:lnTo>
                    <a:lnTo>
                      <a:pt x="45" y="33"/>
                    </a:lnTo>
                    <a:lnTo>
                      <a:pt x="43" y="39"/>
                    </a:lnTo>
                    <a:lnTo>
                      <a:pt x="40" y="47"/>
                    </a:lnTo>
                    <a:lnTo>
                      <a:pt x="34" y="55"/>
                    </a:lnTo>
                    <a:lnTo>
                      <a:pt x="30" y="61"/>
                    </a:lnTo>
                    <a:lnTo>
                      <a:pt x="28" y="64"/>
                    </a:lnTo>
                    <a:lnTo>
                      <a:pt x="25" y="69"/>
                    </a:lnTo>
                    <a:lnTo>
                      <a:pt x="21" y="75"/>
                    </a:lnTo>
                    <a:lnTo>
                      <a:pt x="19" y="80"/>
                    </a:lnTo>
                    <a:lnTo>
                      <a:pt x="20" y="84"/>
                    </a:lnTo>
                    <a:lnTo>
                      <a:pt x="20" y="85"/>
                    </a:lnTo>
                    <a:lnTo>
                      <a:pt x="20" y="86"/>
                    </a:lnTo>
                    <a:lnTo>
                      <a:pt x="21" y="87"/>
                    </a:lnTo>
                    <a:lnTo>
                      <a:pt x="23" y="88"/>
                    </a:lnTo>
                    <a:lnTo>
                      <a:pt x="25" y="89"/>
                    </a:lnTo>
                    <a:lnTo>
                      <a:pt x="26" y="88"/>
                    </a:lnTo>
                    <a:lnTo>
                      <a:pt x="28" y="87"/>
                    </a:lnTo>
                    <a:lnTo>
                      <a:pt x="31" y="85"/>
                    </a:lnTo>
                    <a:lnTo>
                      <a:pt x="34" y="80"/>
                    </a:lnTo>
                    <a:lnTo>
                      <a:pt x="35" y="78"/>
                    </a:lnTo>
                    <a:lnTo>
                      <a:pt x="40" y="73"/>
                    </a:lnTo>
                    <a:lnTo>
                      <a:pt x="44" y="65"/>
                    </a:lnTo>
                    <a:lnTo>
                      <a:pt x="47" y="55"/>
                    </a:lnTo>
                    <a:lnTo>
                      <a:pt x="48" y="41"/>
                    </a:lnTo>
                    <a:lnTo>
                      <a:pt x="49" y="43"/>
                    </a:lnTo>
                    <a:lnTo>
                      <a:pt x="52" y="49"/>
                    </a:lnTo>
                    <a:lnTo>
                      <a:pt x="54" y="58"/>
                    </a:lnTo>
                    <a:lnTo>
                      <a:pt x="53" y="70"/>
                    </a:lnTo>
                    <a:lnTo>
                      <a:pt x="48" y="84"/>
                    </a:lnTo>
                    <a:lnTo>
                      <a:pt x="40" y="93"/>
                    </a:lnTo>
                    <a:lnTo>
                      <a:pt x="32" y="99"/>
                    </a:lnTo>
                    <a:lnTo>
                      <a:pt x="27" y="100"/>
                    </a:lnTo>
                    <a:lnTo>
                      <a:pt x="23" y="99"/>
                    </a:lnTo>
                    <a:lnTo>
                      <a:pt x="20" y="98"/>
                    </a:lnTo>
                    <a:lnTo>
                      <a:pt x="20" y="97"/>
                    </a:lnTo>
                    <a:lnTo>
                      <a:pt x="19" y="96"/>
                    </a:lnTo>
                    <a:lnTo>
                      <a:pt x="18" y="94"/>
                    </a:lnTo>
                    <a:lnTo>
                      <a:pt x="17" y="92"/>
                    </a:lnTo>
                    <a:lnTo>
                      <a:pt x="15" y="90"/>
                    </a:lnTo>
                    <a:lnTo>
                      <a:pt x="14" y="87"/>
                    </a:lnTo>
                    <a:lnTo>
                      <a:pt x="13" y="84"/>
                    </a:lnTo>
                    <a:lnTo>
                      <a:pt x="12" y="80"/>
                    </a:lnTo>
                    <a:lnTo>
                      <a:pt x="13" y="71"/>
                    </a:lnTo>
                    <a:lnTo>
                      <a:pt x="16" y="61"/>
                    </a:lnTo>
                    <a:lnTo>
                      <a:pt x="20" y="53"/>
                    </a:lnTo>
                    <a:lnTo>
                      <a:pt x="23" y="49"/>
                    </a:lnTo>
                    <a:lnTo>
                      <a:pt x="27" y="43"/>
                    </a:lnTo>
                    <a:lnTo>
                      <a:pt x="30" y="35"/>
                    </a:lnTo>
                    <a:lnTo>
                      <a:pt x="32" y="28"/>
                    </a:lnTo>
                    <a:lnTo>
                      <a:pt x="32" y="21"/>
                    </a:lnTo>
                    <a:lnTo>
                      <a:pt x="31" y="24"/>
                    </a:lnTo>
                    <a:lnTo>
                      <a:pt x="28" y="30"/>
                    </a:lnTo>
                    <a:lnTo>
                      <a:pt x="24" y="36"/>
                    </a:lnTo>
                    <a:lnTo>
                      <a:pt x="20" y="43"/>
                    </a:lnTo>
                    <a:lnTo>
                      <a:pt x="15" y="50"/>
                    </a:lnTo>
                    <a:lnTo>
                      <a:pt x="10" y="60"/>
                    </a:lnTo>
                    <a:lnTo>
                      <a:pt x="6" y="71"/>
                    </a:lnTo>
                    <a:lnTo>
                      <a:pt x="7" y="80"/>
                    </a:lnTo>
                    <a:lnTo>
                      <a:pt x="5" y="78"/>
                    </a:lnTo>
                    <a:lnTo>
                      <a:pt x="3" y="73"/>
                    </a:lnTo>
                    <a:lnTo>
                      <a:pt x="0" y="64"/>
                    </a:lnTo>
                    <a:lnTo>
                      <a:pt x="1" y="55"/>
                    </a:lnTo>
                    <a:lnTo>
                      <a:pt x="6" y="44"/>
                    </a:lnTo>
                    <a:lnTo>
                      <a:pt x="11" y="35"/>
                    </a:lnTo>
                    <a:lnTo>
                      <a:pt x="15" y="31"/>
                    </a:lnTo>
                    <a:lnTo>
                      <a:pt x="17" y="28"/>
                    </a:lnTo>
                    <a:lnTo>
                      <a:pt x="20" y="21"/>
                    </a:lnTo>
                    <a:lnTo>
                      <a:pt x="24" y="14"/>
                    </a:lnTo>
                    <a:lnTo>
                      <a:pt x="27" y="6"/>
                    </a:lnTo>
                    <a:lnTo>
                      <a:pt x="28" y="0"/>
                    </a:lnTo>
                    <a:close/>
                  </a:path>
                </a:pathLst>
              </a:custGeom>
              <a:solidFill>
                <a:srgbClr val="5F8AC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67" name="Freeform 417"/>
              <p:cNvSpPr>
                <a:spLocks/>
              </p:cNvSpPr>
              <p:nvPr/>
            </p:nvSpPr>
            <p:spPr bwMode="auto">
              <a:xfrm>
                <a:off x="3155" y="2732"/>
                <a:ext cx="342" cy="341"/>
              </a:xfrm>
              <a:custGeom>
                <a:avLst/>
                <a:gdLst>
                  <a:gd name="T0" fmla="*/ 171 w 342"/>
                  <a:gd name="T1" fmla="*/ 0 h 341"/>
                  <a:gd name="T2" fmla="*/ 201 w 342"/>
                  <a:gd name="T3" fmla="*/ 3 h 341"/>
                  <a:gd name="T4" fmla="*/ 230 w 342"/>
                  <a:gd name="T5" fmla="*/ 10 h 341"/>
                  <a:gd name="T6" fmla="*/ 257 w 342"/>
                  <a:gd name="T7" fmla="*/ 23 h 341"/>
                  <a:gd name="T8" fmla="*/ 281 w 342"/>
                  <a:gd name="T9" fmla="*/ 39 h 341"/>
                  <a:gd name="T10" fmla="*/ 302 w 342"/>
                  <a:gd name="T11" fmla="*/ 60 h 341"/>
                  <a:gd name="T12" fmla="*/ 318 w 342"/>
                  <a:gd name="T13" fmla="*/ 85 h 341"/>
                  <a:gd name="T14" fmla="*/ 331 w 342"/>
                  <a:gd name="T15" fmla="*/ 110 h 341"/>
                  <a:gd name="T16" fmla="*/ 340 w 342"/>
                  <a:gd name="T17" fmla="*/ 140 h 341"/>
                  <a:gd name="T18" fmla="*/ 342 w 342"/>
                  <a:gd name="T19" fmla="*/ 171 h 341"/>
                  <a:gd name="T20" fmla="*/ 340 w 342"/>
                  <a:gd name="T21" fmla="*/ 201 h 341"/>
                  <a:gd name="T22" fmla="*/ 331 w 342"/>
                  <a:gd name="T23" fmla="*/ 230 h 341"/>
                  <a:gd name="T24" fmla="*/ 318 w 342"/>
                  <a:gd name="T25" fmla="*/ 257 h 341"/>
                  <a:gd name="T26" fmla="*/ 302 w 342"/>
                  <a:gd name="T27" fmla="*/ 281 h 341"/>
                  <a:gd name="T28" fmla="*/ 281 w 342"/>
                  <a:gd name="T29" fmla="*/ 301 h 341"/>
                  <a:gd name="T30" fmla="*/ 257 w 342"/>
                  <a:gd name="T31" fmla="*/ 317 h 341"/>
                  <a:gd name="T32" fmla="*/ 230 w 342"/>
                  <a:gd name="T33" fmla="*/ 330 h 341"/>
                  <a:gd name="T34" fmla="*/ 201 w 342"/>
                  <a:gd name="T35" fmla="*/ 338 h 341"/>
                  <a:gd name="T36" fmla="*/ 171 w 342"/>
                  <a:gd name="T37" fmla="*/ 341 h 341"/>
                  <a:gd name="T38" fmla="*/ 140 w 342"/>
                  <a:gd name="T39" fmla="*/ 338 h 341"/>
                  <a:gd name="T40" fmla="*/ 111 w 342"/>
                  <a:gd name="T41" fmla="*/ 330 h 341"/>
                  <a:gd name="T42" fmla="*/ 85 w 342"/>
                  <a:gd name="T43" fmla="*/ 317 h 341"/>
                  <a:gd name="T44" fmla="*/ 60 w 342"/>
                  <a:gd name="T45" fmla="*/ 301 h 341"/>
                  <a:gd name="T46" fmla="*/ 40 w 342"/>
                  <a:gd name="T47" fmla="*/ 281 h 341"/>
                  <a:gd name="T48" fmla="*/ 24 w 342"/>
                  <a:gd name="T49" fmla="*/ 257 h 341"/>
                  <a:gd name="T50" fmla="*/ 11 w 342"/>
                  <a:gd name="T51" fmla="*/ 230 h 341"/>
                  <a:gd name="T52" fmla="*/ 3 w 342"/>
                  <a:gd name="T53" fmla="*/ 201 h 341"/>
                  <a:gd name="T54" fmla="*/ 0 w 342"/>
                  <a:gd name="T55" fmla="*/ 171 h 341"/>
                  <a:gd name="T56" fmla="*/ 3 w 342"/>
                  <a:gd name="T57" fmla="*/ 140 h 341"/>
                  <a:gd name="T58" fmla="*/ 11 w 342"/>
                  <a:gd name="T59" fmla="*/ 110 h 341"/>
                  <a:gd name="T60" fmla="*/ 24 w 342"/>
                  <a:gd name="T61" fmla="*/ 85 h 341"/>
                  <a:gd name="T62" fmla="*/ 40 w 342"/>
                  <a:gd name="T63" fmla="*/ 60 h 341"/>
                  <a:gd name="T64" fmla="*/ 60 w 342"/>
                  <a:gd name="T65" fmla="*/ 39 h 341"/>
                  <a:gd name="T66" fmla="*/ 85 w 342"/>
                  <a:gd name="T67" fmla="*/ 23 h 341"/>
                  <a:gd name="T68" fmla="*/ 111 w 342"/>
                  <a:gd name="T69" fmla="*/ 10 h 341"/>
                  <a:gd name="T70" fmla="*/ 140 w 342"/>
                  <a:gd name="T71" fmla="*/ 3 h 341"/>
                  <a:gd name="T72" fmla="*/ 171 w 342"/>
                  <a:gd name="T73" fmla="*/ 0 h 34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42" h="341">
                    <a:moveTo>
                      <a:pt x="171" y="0"/>
                    </a:moveTo>
                    <a:lnTo>
                      <a:pt x="201" y="3"/>
                    </a:lnTo>
                    <a:lnTo>
                      <a:pt x="230" y="10"/>
                    </a:lnTo>
                    <a:lnTo>
                      <a:pt x="257" y="23"/>
                    </a:lnTo>
                    <a:lnTo>
                      <a:pt x="281" y="39"/>
                    </a:lnTo>
                    <a:lnTo>
                      <a:pt x="302" y="60"/>
                    </a:lnTo>
                    <a:lnTo>
                      <a:pt x="318" y="85"/>
                    </a:lnTo>
                    <a:lnTo>
                      <a:pt x="331" y="110"/>
                    </a:lnTo>
                    <a:lnTo>
                      <a:pt x="340" y="140"/>
                    </a:lnTo>
                    <a:lnTo>
                      <a:pt x="342" y="171"/>
                    </a:lnTo>
                    <a:lnTo>
                      <a:pt x="340" y="201"/>
                    </a:lnTo>
                    <a:lnTo>
                      <a:pt x="331" y="230"/>
                    </a:lnTo>
                    <a:lnTo>
                      <a:pt x="318" y="257"/>
                    </a:lnTo>
                    <a:lnTo>
                      <a:pt x="302" y="281"/>
                    </a:lnTo>
                    <a:lnTo>
                      <a:pt x="281" y="301"/>
                    </a:lnTo>
                    <a:lnTo>
                      <a:pt x="257" y="317"/>
                    </a:lnTo>
                    <a:lnTo>
                      <a:pt x="230" y="330"/>
                    </a:lnTo>
                    <a:lnTo>
                      <a:pt x="201" y="338"/>
                    </a:lnTo>
                    <a:lnTo>
                      <a:pt x="171" y="341"/>
                    </a:lnTo>
                    <a:lnTo>
                      <a:pt x="140" y="338"/>
                    </a:lnTo>
                    <a:lnTo>
                      <a:pt x="111" y="330"/>
                    </a:lnTo>
                    <a:lnTo>
                      <a:pt x="85" y="317"/>
                    </a:lnTo>
                    <a:lnTo>
                      <a:pt x="60" y="301"/>
                    </a:lnTo>
                    <a:lnTo>
                      <a:pt x="40" y="281"/>
                    </a:lnTo>
                    <a:lnTo>
                      <a:pt x="24" y="257"/>
                    </a:lnTo>
                    <a:lnTo>
                      <a:pt x="11" y="230"/>
                    </a:lnTo>
                    <a:lnTo>
                      <a:pt x="3" y="201"/>
                    </a:lnTo>
                    <a:lnTo>
                      <a:pt x="0" y="171"/>
                    </a:lnTo>
                    <a:lnTo>
                      <a:pt x="3" y="140"/>
                    </a:lnTo>
                    <a:lnTo>
                      <a:pt x="11" y="110"/>
                    </a:lnTo>
                    <a:lnTo>
                      <a:pt x="24" y="85"/>
                    </a:lnTo>
                    <a:lnTo>
                      <a:pt x="40" y="60"/>
                    </a:lnTo>
                    <a:lnTo>
                      <a:pt x="60" y="39"/>
                    </a:lnTo>
                    <a:lnTo>
                      <a:pt x="85" y="23"/>
                    </a:lnTo>
                    <a:lnTo>
                      <a:pt x="111" y="10"/>
                    </a:lnTo>
                    <a:lnTo>
                      <a:pt x="140" y="3"/>
                    </a:lnTo>
                    <a:lnTo>
                      <a:pt x="171" y="0"/>
                    </a:lnTo>
                    <a:close/>
                  </a:path>
                </a:pathLst>
              </a:custGeom>
              <a:solidFill>
                <a:srgbClr val="29426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68" name="Freeform 418"/>
              <p:cNvSpPr>
                <a:spLocks/>
              </p:cNvSpPr>
              <p:nvPr/>
            </p:nvSpPr>
            <p:spPr bwMode="auto">
              <a:xfrm>
                <a:off x="3284" y="2826"/>
                <a:ext cx="109" cy="170"/>
              </a:xfrm>
              <a:custGeom>
                <a:avLst/>
                <a:gdLst>
                  <a:gd name="T0" fmla="*/ 31 w 109"/>
                  <a:gd name="T1" fmla="*/ 0 h 170"/>
                  <a:gd name="T2" fmla="*/ 96 w 109"/>
                  <a:gd name="T3" fmla="*/ 0 h 170"/>
                  <a:gd name="T4" fmla="*/ 62 w 109"/>
                  <a:gd name="T5" fmla="*/ 60 h 170"/>
                  <a:gd name="T6" fmla="*/ 109 w 109"/>
                  <a:gd name="T7" fmla="*/ 60 h 170"/>
                  <a:gd name="T8" fmla="*/ 0 w 109"/>
                  <a:gd name="T9" fmla="*/ 170 h 170"/>
                  <a:gd name="T10" fmla="*/ 31 w 109"/>
                  <a:gd name="T11" fmla="*/ 76 h 170"/>
                  <a:gd name="T12" fmla="*/ 0 w 109"/>
                  <a:gd name="T13" fmla="*/ 76 h 170"/>
                  <a:gd name="T14" fmla="*/ 31 w 109"/>
                  <a:gd name="T15" fmla="*/ 0 h 17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09" h="170">
                    <a:moveTo>
                      <a:pt x="31" y="0"/>
                    </a:moveTo>
                    <a:lnTo>
                      <a:pt x="96" y="0"/>
                    </a:lnTo>
                    <a:lnTo>
                      <a:pt x="62" y="60"/>
                    </a:lnTo>
                    <a:lnTo>
                      <a:pt x="109" y="60"/>
                    </a:lnTo>
                    <a:lnTo>
                      <a:pt x="0" y="170"/>
                    </a:lnTo>
                    <a:lnTo>
                      <a:pt x="31" y="76"/>
                    </a:lnTo>
                    <a:lnTo>
                      <a:pt x="0" y="76"/>
                    </a:lnTo>
                    <a:lnTo>
                      <a:pt x="31"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69" name="Freeform 419"/>
              <p:cNvSpPr>
                <a:spLocks noEditPoints="1"/>
              </p:cNvSpPr>
              <p:nvPr/>
            </p:nvSpPr>
            <p:spPr bwMode="auto">
              <a:xfrm>
                <a:off x="3145" y="2719"/>
                <a:ext cx="364" cy="364"/>
              </a:xfrm>
              <a:custGeom>
                <a:avLst/>
                <a:gdLst>
                  <a:gd name="T0" fmla="*/ 157 w 364"/>
                  <a:gd name="T1" fmla="*/ 22 h 364"/>
                  <a:gd name="T2" fmla="*/ 109 w 364"/>
                  <a:gd name="T3" fmla="*/ 38 h 364"/>
                  <a:gd name="T4" fmla="*/ 68 w 364"/>
                  <a:gd name="T5" fmla="*/ 67 h 364"/>
                  <a:gd name="T6" fmla="*/ 39 w 364"/>
                  <a:gd name="T7" fmla="*/ 108 h 364"/>
                  <a:gd name="T8" fmla="*/ 24 w 364"/>
                  <a:gd name="T9" fmla="*/ 156 h 364"/>
                  <a:gd name="T10" fmla="*/ 24 w 364"/>
                  <a:gd name="T11" fmla="*/ 206 h 364"/>
                  <a:gd name="T12" fmla="*/ 39 w 364"/>
                  <a:gd name="T13" fmla="*/ 254 h 364"/>
                  <a:gd name="T14" fmla="*/ 68 w 364"/>
                  <a:gd name="T15" fmla="*/ 295 h 364"/>
                  <a:gd name="T16" fmla="*/ 109 w 364"/>
                  <a:gd name="T17" fmla="*/ 325 h 364"/>
                  <a:gd name="T18" fmla="*/ 157 w 364"/>
                  <a:gd name="T19" fmla="*/ 341 h 364"/>
                  <a:gd name="T20" fmla="*/ 214 w 364"/>
                  <a:gd name="T21" fmla="*/ 340 h 364"/>
                  <a:gd name="T22" fmla="*/ 271 w 364"/>
                  <a:gd name="T23" fmla="*/ 315 h 364"/>
                  <a:gd name="T24" fmla="*/ 313 w 364"/>
                  <a:gd name="T25" fmla="*/ 275 h 364"/>
                  <a:gd name="T26" fmla="*/ 336 w 364"/>
                  <a:gd name="T27" fmla="*/ 231 h 364"/>
                  <a:gd name="T28" fmla="*/ 343 w 364"/>
                  <a:gd name="T29" fmla="*/ 181 h 364"/>
                  <a:gd name="T30" fmla="*/ 336 w 364"/>
                  <a:gd name="T31" fmla="*/ 131 h 364"/>
                  <a:gd name="T32" fmla="*/ 313 w 364"/>
                  <a:gd name="T33" fmla="*/ 87 h 364"/>
                  <a:gd name="T34" fmla="*/ 271 w 364"/>
                  <a:gd name="T35" fmla="*/ 48 h 364"/>
                  <a:gd name="T36" fmla="*/ 214 w 364"/>
                  <a:gd name="T37" fmla="*/ 23 h 364"/>
                  <a:gd name="T38" fmla="*/ 182 w 364"/>
                  <a:gd name="T39" fmla="*/ 0 h 364"/>
                  <a:gd name="T40" fmla="*/ 238 w 364"/>
                  <a:gd name="T41" fmla="*/ 8 h 364"/>
                  <a:gd name="T42" fmla="*/ 289 w 364"/>
                  <a:gd name="T43" fmla="*/ 34 h 364"/>
                  <a:gd name="T44" fmla="*/ 331 w 364"/>
                  <a:gd name="T45" fmla="*/ 74 h 364"/>
                  <a:gd name="T46" fmla="*/ 355 w 364"/>
                  <a:gd name="T47" fmla="*/ 125 h 364"/>
                  <a:gd name="T48" fmla="*/ 364 w 364"/>
                  <a:gd name="T49" fmla="*/ 181 h 364"/>
                  <a:gd name="T50" fmla="*/ 355 w 364"/>
                  <a:gd name="T51" fmla="*/ 238 h 364"/>
                  <a:gd name="T52" fmla="*/ 331 w 364"/>
                  <a:gd name="T53" fmla="*/ 288 h 364"/>
                  <a:gd name="T54" fmla="*/ 289 w 364"/>
                  <a:gd name="T55" fmla="*/ 328 h 364"/>
                  <a:gd name="T56" fmla="*/ 238 w 364"/>
                  <a:gd name="T57" fmla="*/ 354 h 364"/>
                  <a:gd name="T58" fmla="*/ 182 w 364"/>
                  <a:gd name="T59" fmla="*/ 364 h 364"/>
                  <a:gd name="T60" fmla="*/ 126 w 364"/>
                  <a:gd name="T61" fmla="*/ 354 h 364"/>
                  <a:gd name="T62" fmla="*/ 77 w 364"/>
                  <a:gd name="T63" fmla="*/ 328 h 364"/>
                  <a:gd name="T64" fmla="*/ 36 w 364"/>
                  <a:gd name="T65" fmla="*/ 288 h 364"/>
                  <a:gd name="T66" fmla="*/ 9 w 364"/>
                  <a:gd name="T67" fmla="*/ 238 h 364"/>
                  <a:gd name="T68" fmla="*/ 0 w 364"/>
                  <a:gd name="T69" fmla="*/ 181 h 364"/>
                  <a:gd name="T70" fmla="*/ 9 w 364"/>
                  <a:gd name="T71" fmla="*/ 125 h 364"/>
                  <a:gd name="T72" fmla="*/ 36 w 364"/>
                  <a:gd name="T73" fmla="*/ 74 h 364"/>
                  <a:gd name="T74" fmla="*/ 77 w 364"/>
                  <a:gd name="T75" fmla="*/ 34 h 364"/>
                  <a:gd name="T76" fmla="*/ 126 w 364"/>
                  <a:gd name="T77" fmla="*/ 8 h 364"/>
                  <a:gd name="T78" fmla="*/ 182 w 364"/>
                  <a:gd name="T79" fmla="*/ 0 h 36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64" h="364">
                    <a:moveTo>
                      <a:pt x="182" y="20"/>
                    </a:moveTo>
                    <a:lnTo>
                      <a:pt x="157" y="22"/>
                    </a:lnTo>
                    <a:lnTo>
                      <a:pt x="133" y="29"/>
                    </a:lnTo>
                    <a:lnTo>
                      <a:pt x="109" y="38"/>
                    </a:lnTo>
                    <a:lnTo>
                      <a:pt x="87" y="51"/>
                    </a:lnTo>
                    <a:lnTo>
                      <a:pt x="68" y="67"/>
                    </a:lnTo>
                    <a:lnTo>
                      <a:pt x="52" y="87"/>
                    </a:lnTo>
                    <a:lnTo>
                      <a:pt x="39" y="108"/>
                    </a:lnTo>
                    <a:lnTo>
                      <a:pt x="30" y="131"/>
                    </a:lnTo>
                    <a:lnTo>
                      <a:pt x="24" y="156"/>
                    </a:lnTo>
                    <a:lnTo>
                      <a:pt x="23" y="181"/>
                    </a:lnTo>
                    <a:lnTo>
                      <a:pt x="24" y="206"/>
                    </a:lnTo>
                    <a:lnTo>
                      <a:pt x="30" y="231"/>
                    </a:lnTo>
                    <a:lnTo>
                      <a:pt x="39" y="254"/>
                    </a:lnTo>
                    <a:lnTo>
                      <a:pt x="52" y="275"/>
                    </a:lnTo>
                    <a:lnTo>
                      <a:pt x="68" y="295"/>
                    </a:lnTo>
                    <a:lnTo>
                      <a:pt x="87" y="312"/>
                    </a:lnTo>
                    <a:lnTo>
                      <a:pt x="109" y="325"/>
                    </a:lnTo>
                    <a:lnTo>
                      <a:pt x="133" y="335"/>
                    </a:lnTo>
                    <a:lnTo>
                      <a:pt x="157" y="341"/>
                    </a:lnTo>
                    <a:lnTo>
                      <a:pt x="182" y="343"/>
                    </a:lnTo>
                    <a:lnTo>
                      <a:pt x="214" y="340"/>
                    </a:lnTo>
                    <a:lnTo>
                      <a:pt x="243" y="330"/>
                    </a:lnTo>
                    <a:lnTo>
                      <a:pt x="271" y="315"/>
                    </a:lnTo>
                    <a:lnTo>
                      <a:pt x="297" y="295"/>
                    </a:lnTo>
                    <a:lnTo>
                      <a:pt x="313" y="275"/>
                    </a:lnTo>
                    <a:lnTo>
                      <a:pt x="326" y="254"/>
                    </a:lnTo>
                    <a:lnTo>
                      <a:pt x="336" y="231"/>
                    </a:lnTo>
                    <a:lnTo>
                      <a:pt x="341" y="206"/>
                    </a:lnTo>
                    <a:lnTo>
                      <a:pt x="343" y="181"/>
                    </a:lnTo>
                    <a:lnTo>
                      <a:pt x="341" y="156"/>
                    </a:lnTo>
                    <a:lnTo>
                      <a:pt x="336" y="131"/>
                    </a:lnTo>
                    <a:lnTo>
                      <a:pt x="326" y="108"/>
                    </a:lnTo>
                    <a:lnTo>
                      <a:pt x="313" y="87"/>
                    </a:lnTo>
                    <a:lnTo>
                      <a:pt x="297" y="67"/>
                    </a:lnTo>
                    <a:lnTo>
                      <a:pt x="271" y="48"/>
                    </a:lnTo>
                    <a:lnTo>
                      <a:pt x="243" y="33"/>
                    </a:lnTo>
                    <a:lnTo>
                      <a:pt x="214" y="23"/>
                    </a:lnTo>
                    <a:lnTo>
                      <a:pt x="182" y="20"/>
                    </a:lnTo>
                    <a:close/>
                    <a:moveTo>
                      <a:pt x="182" y="0"/>
                    </a:moveTo>
                    <a:lnTo>
                      <a:pt x="211" y="2"/>
                    </a:lnTo>
                    <a:lnTo>
                      <a:pt x="238" y="8"/>
                    </a:lnTo>
                    <a:lnTo>
                      <a:pt x="265" y="19"/>
                    </a:lnTo>
                    <a:lnTo>
                      <a:pt x="289" y="34"/>
                    </a:lnTo>
                    <a:lnTo>
                      <a:pt x="311" y="52"/>
                    </a:lnTo>
                    <a:lnTo>
                      <a:pt x="331" y="74"/>
                    </a:lnTo>
                    <a:lnTo>
                      <a:pt x="345" y="99"/>
                    </a:lnTo>
                    <a:lnTo>
                      <a:pt x="355" y="125"/>
                    </a:lnTo>
                    <a:lnTo>
                      <a:pt x="362" y="153"/>
                    </a:lnTo>
                    <a:lnTo>
                      <a:pt x="364" y="181"/>
                    </a:lnTo>
                    <a:lnTo>
                      <a:pt x="362" y="210"/>
                    </a:lnTo>
                    <a:lnTo>
                      <a:pt x="355" y="238"/>
                    </a:lnTo>
                    <a:lnTo>
                      <a:pt x="345" y="263"/>
                    </a:lnTo>
                    <a:lnTo>
                      <a:pt x="331" y="288"/>
                    </a:lnTo>
                    <a:lnTo>
                      <a:pt x="311" y="310"/>
                    </a:lnTo>
                    <a:lnTo>
                      <a:pt x="289" y="328"/>
                    </a:lnTo>
                    <a:lnTo>
                      <a:pt x="265" y="343"/>
                    </a:lnTo>
                    <a:lnTo>
                      <a:pt x="238" y="354"/>
                    </a:lnTo>
                    <a:lnTo>
                      <a:pt x="211" y="360"/>
                    </a:lnTo>
                    <a:lnTo>
                      <a:pt x="182" y="364"/>
                    </a:lnTo>
                    <a:lnTo>
                      <a:pt x="154" y="360"/>
                    </a:lnTo>
                    <a:lnTo>
                      <a:pt x="126" y="354"/>
                    </a:lnTo>
                    <a:lnTo>
                      <a:pt x="100" y="343"/>
                    </a:lnTo>
                    <a:lnTo>
                      <a:pt x="77" y="328"/>
                    </a:lnTo>
                    <a:lnTo>
                      <a:pt x="54" y="310"/>
                    </a:lnTo>
                    <a:lnTo>
                      <a:pt x="36" y="288"/>
                    </a:lnTo>
                    <a:lnTo>
                      <a:pt x="21" y="263"/>
                    </a:lnTo>
                    <a:lnTo>
                      <a:pt x="9" y="238"/>
                    </a:lnTo>
                    <a:lnTo>
                      <a:pt x="3" y="210"/>
                    </a:lnTo>
                    <a:lnTo>
                      <a:pt x="0" y="181"/>
                    </a:lnTo>
                    <a:lnTo>
                      <a:pt x="3" y="153"/>
                    </a:lnTo>
                    <a:lnTo>
                      <a:pt x="9" y="125"/>
                    </a:lnTo>
                    <a:lnTo>
                      <a:pt x="21" y="99"/>
                    </a:lnTo>
                    <a:lnTo>
                      <a:pt x="36" y="74"/>
                    </a:lnTo>
                    <a:lnTo>
                      <a:pt x="54" y="52"/>
                    </a:lnTo>
                    <a:lnTo>
                      <a:pt x="77" y="34"/>
                    </a:lnTo>
                    <a:lnTo>
                      <a:pt x="100" y="19"/>
                    </a:lnTo>
                    <a:lnTo>
                      <a:pt x="126" y="8"/>
                    </a:lnTo>
                    <a:lnTo>
                      <a:pt x="154" y="2"/>
                    </a:lnTo>
                    <a:lnTo>
                      <a:pt x="182"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70" name="Freeform 420"/>
              <p:cNvSpPr>
                <a:spLocks/>
              </p:cNvSpPr>
              <p:nvPr/>
            </p:nvSpPr>
            <p:spPr bwMode="auto">
              <a:xfrm>
                <a:off x="1600" y="3354"/>
                <a:ext cx="341" cy="343"/>
              </a:xfrm>
              <a:custGeom>
                <a:avLst/>
                <a:gdLst>
                  <a:gd name="T0" fmla="*/ 170 w 341"/>
                  <a:gd name="T1" fmla="*/ 0 h 343"/>
                  <a:gd name="T2" fmla="*/ 200 w 341"/>
                  <a:gd name="T3" fmla="*/ 2 h 343"/>
                  <a:gd name="T4" fmla="*/ 229 w 341"/>
                  <a:gd name="T5" fmla="*/ 11 h 343"/>
                  <a:gd name="T6" fmla="*/ 256 w 341"/>
                  <a:gd name="T7" fmla="*/ 23 h 343"/>
                  <a:gd name="T8" fmla="*/ 280 w 341"/>
                  <a:gd name="T9" fmla="*/ 40 h 343"/>
                  <a:gd name="T10" fmla="*/ 301 w 341"/>
                  <a:gd name="T11" fmla="*/ 60 h 343"/>
                  <a:gd name="T12" fmla="*/ 317 w 341"/>
                  <a:gd name="T13" fmla="*/ 84 h 343"/>
                  <a:gd name="T14" fmla="*/ 330 w 341"/>
                  <a:gd name="T15" fmla="*/ 111 h 343"/>
                  <a:gd name="T16" fmla="*/ 338 w 341"/>
                  <a:gd name="T17" fmla="*/ 140 h 343"/>
                  <a:gd name="T18" fmla="*/ 341 w 341"/>
                  <a:gd name="T19" fmla="*/ 171 h 343"/>
                  <a:gd name="T20" fmla="*/ 338 w 341"/>
                  <a:gd name="T21" fmla="*/ 201 h 343"/>
                  <a:gd name="T22" fmla="*/ 330 w 341"/>
                  <a:gd name="T23" fmla="*/ 231 h 343"/>
                  <a:gd name="T24" fmla="*/ 317 w 341"/>
                  <a:gd name="T25" fmla="*/ 257 h 343"/>
                  <a:gd name="T26" fmla="*/ 301 w 341"/>
                  <a:gd name="T27" fmla="*/ 281 h 343"/>
                  <a:gd name="T28" fmla="*/ 280 w 341"/>
                  <a:gd name="T29" fmla="*/ 302 h 343"/>
                  <a:gd name="T30" fmla="*/ 256 w 341"/>
                  <a:gd name="T31" fmla="*/ 319 h 343"/>
                  <a:gd name="T32" fmla="*/ 229 w 341"/>
                  <a:gd name="T33" fmla="*/ 332 h 343"/>
                  <a:gd name="T34" fmla="*/ 200 w 341"/>
                  <a:gd name="T35" fmla="*/ 340 h 343"/>
                  <a:gd name="T36" fmla="*/ 170 w 341"/>
                  <a:gd name="T37" fmla="*/ 343 h 343"/>
                  <a:gd name="T38" fmla="*/ 139 w 341"/>
                  <a:gd name="T39" fmla="*/ 340 h 343"/>
                  <a:gd name="T40" fmla="*/ 111 w 341"/>
                  <a:gd name="T41" fmla="*/ 332 h 343"/>
                  <a:gd name="T42" fmla="*/ 84 w 341"/>
                  <a:gd name="T43" fmla="*/ 319 h 343"/>
                  <a:gd name="T44" fmla="*/ 60 w 341"/>
                  <a:gd name="T45" fmla="*/ 302 h 343"/>
                  <a:gd name="T46" fmla="*/ 40 w 341"/>
                  <a:gd name="T47" fmla="*/ 281 h 343"/>
                  <a:gd name="T48" fmla="*/ 24 w 341"/>
                  <a:gd name="T49" fmla="*/ 257 h 343"/>
                  <a:gd name="T50" fmla="*/ 11 w 341"/>
                  <a:gd name="T51" fmla="*/ 231 h 343"/>
                  <a:gd name="T52" fmla="*/ 3 w 341"/>
                  <a:gd name="T53" fmla="*/ 201 h 343"/>
                  <a:gd name="T54" fmla="*/ 0 w 341"/>
                  <a:gd name="T55" fmla="*/ 171 h 343"/>
                  <a:gd name="T56" fmla="*/ 3 w 341"/>
                  <a:gd name="T57" fmla="*/ 140 h 343"/>
                  <a:gd name="T58" fmla="*/ 11 w 341"/>
                  <a:gd name="T59" fmla="*/ 111 h 343"/>
                  <a:gd name="T60" fmla="*/ 24 w 341"/>
                  <a:gd name="T61" fmla="*/ 84 h 343"/>
                  <a:gd name="T62" fmla="*/ 40 w 341"/>
                  <a:gd name="T63" fmla="*/ 60 h 343"/>
                  <a:gd name="T64" fmla="*/ 60 w 341"/>
                  <a:gd name="T65" fmla="*/ 40 h 343"/>
                  <a:gd name="T66" fmla="*/ 84 w 341"/>
                  <a:gd name="T67" fmla="*/ 23 h 343"/>
                  <a:gd name="T68" fmla="*/ 111 w 341"/>
                  <a:gd name="T69" fmla="*/ 11 h 343"/>
                  <a:gd name="T70" fmla="*/ 139 w 341"/>
                  <a:gd name="T71" fmla="*/ 2 h 343"/>
                  <a:gd name="T72" fmla="*/ 170 w 341"/>
                  <a:gd name="T73" fmla="*/ 0 h 34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41" h="343">
                    <a:moveTo>
                      <a:pt x="170" y="0"/>
                    </a:moveTo>
                    <a:lnTo>
                      <a:pt x="200" y="2"/>
                    </a:lnTo>
                    <a:lnTo>
                      <a:pt x="229" y="11"/>
                    </a:lnTo>
                    <a:lnTo>
                      <a:pt x="256" y="23"/>
                    </a:lnTo>
                    <a:lnTo>
                      <a:pt x="280" y="40"/>
                    </a:lnTo>
                    <a:lnTo>
                      <a:pt x="301" y="60"/>
                    </a:lnTo>
                    <a:lnTo>
                      <a:pt x="317" y="84"/>
                    </a:lnTo>
                    <a:lnTo>
                      <a:pt x="330" y="111"/>
                    </a:lnTo>
                    <a:lnTo>
                      <a:pt x="338" y="140"/>
                    </a:lnTo>
                    <a:lnTo>
                      <a:pt x="341" y="171"/>
                    </a:lnTo>
                    <a:lnTo>
                      <a:pt x="338" y="201"/>
                    </a:lnTo>
                    <a:lnTo>
                      <a:pt x="330" y="231"/>
                    </a:lnTo>
                    <a:lnTo>
                      <a:pt x="317" y="257"/>
                    </a:lnTo>
                    <a:lnTo>
                      <a:pt x="301" y="281"/>
                    </a:lnTo>
                    <a:lnTo>
                      <a:pt x="280" y="302"/>
                    </a:lnTo>
                    <a:lnTo>
                      <a:pt x="256" y="319"/>
                    </a:lnTo>
                    <a:lnTo>
                      <a:pt x="229" y="332"/>
                    </a:lnTo>
                    <a:lnTo>
                      <a:pt x="200" y="340"/>
                    </a:lnTo>
                    <a:lnTo>
                      <a:pt x="170" y="343"/>
                    </a:lnTo>
                    <a:lnTo>
                      <a:pt x="139" y="340"/>
                    </a:lnTo>
                    <a:lnTo>
                      <a:pt x="111" y="332"/>
                    </a:lnTo>
                    <a:lnTo>
                      <a:pt x="84" y="319"/>
                    </a:lnTo>
                    <a:lnTo>
                      <a:pt x="60" y="302"/>
                    </a:lnTo>
                    <a:lnTo>
                      <a:pt x="40" y="281"/>
                    </a:lnTo>
                    <a:lnTo>
                      <a:pt x="24" y="257"/>
                    </a:lnTo>
                    <a:lnTo>
                      <a:pt x="11" y="231"/>
                    </a:lnTo>
                    <a:lnTo>
                      <a:pt x="3" y="201"/>
                    </a:lnTo>
                    <a:lnTo>
                      <a:pt x="0" y="171"/>
                    </a:lnTo>
                    <a:lnTo>
                      <a:pt x="3" y="140"/>
                    </a:lnTo>
                    <a:lnTo>
                      <a:pt x="11" y="111"/>
                    </a:lnTo>
                    <a:lnTo>
                      <a:pt x="24" y="84"/>
                    </a:lnTo>
                    <a:lnTo>
                      <a:pt x="40" y="60"/>
                    </a:lnTo>
                    <a:lnTo>
                      <a:pt x="60" y="40"/>
                    </a:lnTo>
                    <a:lnTo>
                      <a:pt x="84" y="23"/>
                    </a:lnTo>
                    <a:lnTo>
                      <a:pt x="111" y="11"/>
                    </a:lnTo>
                    <a:lnTo>
                      <a:pt x="139" y="2"/>
                    </a:lnTo>
                    <a:lnTo>
                      <a:pt x="170" y="0"/>
                    </a:lnTo>
                    <a:close/>
                  </a:path>
                </a:pathLst>
              </a:custGeom>
              <a:solidFill>
                <a:srgbClr val="29426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71" name="Freeform 421"/>
              <p:cNvSpPr>
                <a:spLocks noEditPoints="1"/>
              </p:cNvSpPr>
              <p:nvPr/>
            </p:nvSpPr>
            <p:spPr bwMode="auto">
              <a:xfrm>
                <a:off x="1589" y="3344"/>
                <a:ext cx="362" cy="362"/>
              </a:xfrm>
              <a:custGeom>
                <a:avLst/>
                <a:gdLst>
                  <a:gd name="T0" fmla="*/ 149 w 362"/>
                  <a:gd name="T1" fmla="*/ 24 h 362"/>
                  <a:gd name="T2" fmla="*/ 93 w 362"/>
                  <a:gd name="T3" fmla="*/ 48 h 362"/>
                  <a:gd name="T4" fmla="*/ 52 w 362"/>
                  <a:gd name="T5" fmla="*/ 88 h 362"/>
                  <a:gd name="T6" fmla="*/ 29 w 362"/>
                  <a:gd name="T7" fmla="*/ 132 h 362"/>
                  <a:gd name="T8" fmla="*/ 22 w 362"/>
                  <a:gd name="T9" fmla="*/ 181 h 362"/>
                  <a:gd name="T10" fmla="*/ 29 w 362"/>
                  <a:gd name="T11" fmla="*/ 231 h 362"/>
                  <a:gd name="T12" fmla="*/ 52 w 362"/>
                  <a:gd name="T13" fmla="*/ 275 h 362"/>
                  <a:gd name="T14" fmla="*/ 93 w 362"/>
                  <a:gd name="T15" fmla="*/ 314 h 362"/>
                  <a:gd name="T16" fmla="*/ 149 w 362"/>
                  <a:gd name="T17" fmla="*/ 339 h 362"/>
                  <a:gd name="T18" fmla="*/ 206 w 362"/>
                  <a:gd name="T19" fmla="*/ 340 h 362"/>
                  <a:gd name="T20" fmla="*/ 254 w 362"/>
                  <a:gd name="T21" fmla="*/ 323 h 362"/>
                  <a:gd name="T22" fmla="*/ 295 w 362"/>
                  <a:gd name="T23" fmla="*/ 294 h 362"/>
                  <a:gd name="T24" fmla="*/ 324 w 362"/>
                  <a:gd name="T25" fmla="*/ 253 h 362"/>
                  <a:gd name="T26" fmla="*/ 339 w 362"/>
                  <a:gd name="T27" fmla="*/ 206 h 362"/>
                  <a:gd name="T28" fmla="*/ 339 w 362"/>
                  <a:gd name="T29" fmla="*/ 155 h 362"/>
                  <a:gd name="T30" fmla="*/ 324 w 362"/>
                  <a:gd name="T31" fmla="*/ 109 h 362"/>
                  <a:gd name="T32" fmla="*/ 295 w 362"/>
                  <a:gd name="T33" fmla="*/ 68 h 362"/>
                  <a:gd name="T34" fmla="*/ 254 w 362"/>
                  <a:gd name="T35" fmla="*/ 39 h 362"/>
                  <a:gd name="T36" fmla="*/ 206 w 362"/>
                  <a:gd name="T37" fmla="*/ 23 h 362"/>
                  <a:gd name="T38" fmla="*/ 181 w 362"/>
                  <a:gd name="T39" fmla="*/ 0 h 362"/>
                  <a:gd name="T40" fmla="*/ 237 w 362"/>
                  <a:gd name="T41" fmla="*/ 9 h 362"/>
                  <a:gd name="T42" fmla="*/ 287 w 362"/>
                  <a:gd name="T43" fmla="*/ 35 h 362"/>
                  <a:gd name="T44" fmla="*/ 327 w 362"/>
                  <a:gd name="T45" fmla="*/ 75 h 362"/>
                  <a:gd name="T46" fmla="*/ 352 w 362"/>
                  <a:gd name="T47" fmla="*/ 125 h 362"/>
                  <a:gd name="T48" fmla="*/ 362 w 362"/>
                  <a:gd name="T49" fmla="*/ 181 h 362"/>
                  <a:gd name="T50" fmla="*/ 352 w 362"/>
                  <a:gd name="T51" fmla="*/ 237 h 362"/>
                  <a:gd name="T52" fmla="*/ 327 w 362"/>
                  <a:gd name="T53" fmla="*/ 287 h 362"/>
                  <a:gd name="T54" fmla="*/ 287 w 362"/>
                  <a:gd name="T55" fmla="*/ 328 h 362"/>
                  <a:gd name="T56" fmla="*/ 237 w 362"/>
                  <a:gd name="T57" fmla="*/ 354 h 362"/>
                  <a:gd name="T58" fmla="*/ 181 w 362"/>
                  <a:gd name="T59" fmla="*/ 362 h 362"/>
                  <a:gd name="T60" fmla="*/ 125 w 362"/>
                  <a:gd name="T61" fmla="*/ 354 h 362"/>
                  <a:gd name="T62" fmla="*/ 75 w 362"/>
                  <a:gd name="T63" fmla="*/ 328 h 362"/>
                  <a:gd name="T64" fmla="*/ 35 w 362"/>
                  <a:gd name="T65" fmla="*/ 287 h 362"/>
                  <a:gd name="T66" fmla="*/ 9 w 362"/>
                  <a:gd name="T67" fmla="*/ 237 h 362"/>
                  <a:gd name="T68" fmla="*/ 0 w 362"/>
                  <a:gd name="T69" fmla="*/ 181 h 362"/>
                  <a:gd name="T70" fmla="*/ 9 w 362"/>
                  <a:gd name="T71" fmla="*/ 125 h 362"/>
                  <a:gd name="T72" fmla="*/ 35 w 362"/>
                  <a:gd name="T73" fmla="*/ 75 h 362"/>
                  <a:gd name="T74" fmla="*/ 75 w 362"/>
                  <a:gd name="T75" fmla="*/ 35 h 362"/>
                  <a:gd name="T76" fmla="*/ 125 w 362"/>
                  <a:gd name="T77" fmla="*/ 9 h 362"/>
                  <a:gd name="T78" fmla="*/ 181 w 362"/>
                  <a:gd name="T79" fmla="*/ 0 h 36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62" h="362">
                    <a:moveTo>
                      <a:pt x="181" y="21"/>
                    </a:moveTo>
                    <a:lnTo>
                      <a:pt x="149" y="24"/>
                    </a:lnTo>
                    <a:lnTo>
                      <a:pt x="120" y="34"/>
                    </a:lnTo>
                    <a:lnTo>
                      <a:pt x="93" y="48"/>
                    </a:lnTo>
                    <a:lnTo>
                      <a:pt x="68" y="68"/>
                    </a:lnTo>
                    <a:lnTo>
                      <a:pt x="52" y="88"/>
                    </a:lnTo>
                    <a:lnTo>
                      <a:pt x="39" y="109"/>
                    </a:lnTo>
                    <a:lnTo>
                      <a:pt x="29" y="132"/>
                    </a:lnTo>
                    <a:lnTo>
                      <a:pt x="24" y="155"/>
                    </a:lnTo>
                    <a:lnTo>
                      <a:pt x="22" y="181"/>
                    </a:lnTo>
                    <a:lnTo>
                      <a:pt x="24" y="206"/>
                    </a:lnTo>
                    <a:lnTo>
                      <a:pt x="29" y="231"/>
                    </a:lnTo>
                    <a:lnTo>
                      <a:pt x="39" y="253"/>
                    </a:lnTo>
                    <a:lnTo>
                      <a:pt x="52" y="275"/>
                    </a:lnTo>
                    <a:lnTo>
                      <a:pt x="68" y="294"/>
                    </a:lnTo>
                    <a:lnTo>
                      <a:pt x="93" y="314"/>
                    </a:lnTo>
                    <a:lnTo>
                      <a:pt x="120" y="329"/>
                    </a:lnTo>
                    <a:lnTo>
                      <a:pt x="149" y="339"/>
                    </a:lnTo>
                    <a:lnTo>
                      <a:pt x="181" y="342"/>
                    </a:lnTo>
                    <a:lnTo>
                      <a:pt x="206" y="340"/>
                    </a:lnTo>
                    <a:lnTo>
                      <a:pt x="230" y="333"/>
                    </a:lnTo>
                    <a:lnTo>
                      <a:pt x="254" y="323"/>
                    </a:lnTo>
                    <a:lnTo>
                      <a:pt x="275" y="311"/>
                    </a:lnTo>
                    <a:lnTo>
                      <a:pt x="295" y="294"/>
                    </a:lnTo>
                    <a:lnTo>
                      <a:pt x="311" y="275"/>
                    </a:lnTo>
                    <a:lnTo>
                      <a:pt x="324" y="253"/>
                    </a:lnTo>
                    <a:lnTo>
                      <a:pt x="332" y="231"/>
                    </a:lnTo>
                    <a:lnTo>
                      <a:pt x="339" y="206"/>
                    </a:lnTo>
                    <a:lnTo>
                      <a:pt x="340" y="181"/>
                    </a:lnTo>
                    <a:lnTo>
                      <a:pt x="339" y="155"/>
                    </a:lnTo>
                    <a:lnTo>
                      <a:pt x="332" y="132"/>
                    </a:lnTo>
                    <a:lnTo>
                      <a:pt x="324" y="109"/>
                    </a:lnTo>
                    <a:lnTo>
                      <a:pt x="311" y="88"/>
                    </a:lnTo>
                    <a:lnTo>
                      <a:pt x="295" y="68"/>
                    </a:lnTo>
                    <a:lnTo>
                      <a:pt x="275" y="52"/>
                    </a:lnTo>
                    <a:lnTo>
                      <a:pt x="254" y="39"/>
                    </a:lnTo>
                    <a:lnTo>
                      <a:pt x="230" y="29"/>
                    </a:lnTo>
                    <a:lnTo>
                      <a:pt x="206" y="23"/>
                    </a:lnTo>
                    <a:lnTo>
                      <a:pt x="181" y="21"/>
                    </a:lnTo>
                    <a:close/>
                    <a:moveTo>
                      <a:pt x="181" y="0"/>
                    </a:moveTo>
                    <a:lnTo>
                      <a:pt x="210" y="3"/>
                    </a:lnTo>
                    <a:lnTo>
                      <a:pt x="237" y="9"/>
                    </a:lnTo>
                    <a:lnTo>
                      <a:pt x="263" y="20"/>
                    </a:lnTo>
                    <a:lnTo>
                      <a:pt x="287" y="35"/>
                    </a:lnTo>
                    <a:lnTo>
                      <a:pt x="309" y="53"/>
                    </a:lnTo>
                    <a:lnTo>
                      <a:pt x="327" y="75"/>
                    </a:lnTo>
                    <a:lnTo>
                      <a:pt x="342" y="98"/>
                    </a:lnTo>
                    <a:lnTo>
                      <a:pt x="352" y="125"/>
                    </a:lnTo>
                    <a:lnTo>
                      <a:pt x="359" y="152"/>
                    </a:lnTo>
                    <a:lnTo>
                      <a:pt x="362" y="181"/>
                    </a:lnTo>
                    <a:lnTo>
                      <a:pt x="359" y="209"/>
                    </a:lnTo>
                    <a:lnTo>
                      <a:pt x="352" y="237"/>
                    </a:lnTo>
                    <a:lnTo>
                      <a:pt x="342" y="263"/>
                    </a:lnTo>
                    <a:lnTo>
                      <a:pt x="327" y="287"/>
                    </a:lnTo>
                    <a:lnTo>
                      <a:pt x="309" y="308"/>
                    </a:lnTo>
                    <a:lnTo>
                      <a:pt x="287" y="328"/>
                    </a:lnTo>
                    <a:lnTo>
                      <a:pt x="263" y="342"/>
                    </a:lnTo>
                    <a:lnTo>
                      <a:pt x="237" y="354"/>
                    </a:lnTo>
                    <a:lnTo>
                      <a:pt x="210" y="360"/>
                    </a:lnTo>
                    <a:lnTo>
                      <a:pt x="181" y="362"/>
                    </a:lnTo>
                    <a:lnTo>
                      <a:pt x="152" y="360"/>
                    </a:lnTo>
                    <a:lnTo>
                      <a:pt x="125" y="354"/>
                    </a:lnTo>
                    <a:lnTo>
                      <a:pt x="99" y="342"/>
                    </a:lnTo>
                    <a:lnTo>
                      <a:pt x="75" y="328"/>
                    </a:lnTo>
                    <a:lnTo>
                      <a:pt x="54" y="308"/>
                    </a:lnTo>
                    <a:lnTo>
                      <a:pt x="35" y="287"/>
                    </a:lnTo>
                    <a:lnTo>
                      <a:pt x="20" y="263"/>
                    </a:lnTo>
                    <a:lnTo>
                      <a:pt x="9" y="237"/>
                    </a:lnTo>
                    <a:lnTo>
                      <a:pt x="2" y="209"/>
                    </a:lnTo>
                    <a:lnTo>
                      <a:pt x="0" y="181"/>
                    </a:lnTo>
                    <a:lnTo>
                      <a:pt x="2" y="152"/>
                    </a:lnTo>
                    <a:lnTo>
                      <a:pt x="9" y="125"/>
                    </a:lnTo>
                    <a:lnTo>
                      <a:pt x="20" y="98"/>
                    </a:lnTo>
                    <a:lnTo>
                      <a:pt x="35" y="75"/>
                    </a:lnTo>
                    <a:lnTo>
                      <a:pt x="54" y="53"/>
                    </a:lnTo>
                    <a:lnTo>
                      <a:pt x="75" y="35"/>
                    </a:lnTo>
                    <a:lnTo>
                      <a:pt x="99" y="20"/>
                    </a:lnTo>
                    <a:lnTo>
                      <a:pt x="125" y="9"/>
                    </a:lnTo>
                    <a:lnTo>
                      <a:pt x="152" y="3"/>
                    </a:lnTo>
                    <a:lnTo>
                      <a:pt x="181"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72" name="Freeform 422"/>
              <p:cNvSpPr>
                <a:spLocks/>
              </p:cNvSpPr>
              <p:nvPr/>
            </p:nvSpPr>
            <p:spPr bwMode="auto">
              <a:xfrm>
                <a:off x="1798" y="3499"/>
                <a:ext cx="48" cy="76"/>
              </a:xfrm>
              <a:custGeom>
                <a:avLst/>
                <a:gdLst>
                  <a:gd name="T0" fmla="*/ 30 w 48"/>
                  <a:gd name="T1" fmla="*/ 0 h 76"/>
                  <a:gd name="T2" fmla="*/ 35 w 48"/>
                  <a:gd name="T3" fmla="*/ 9 h 76"/>
                  <a:gd name="T4" fmla="*/ 41 w 48"/>
                  <a:gd name="T5" fmla="*/ 18 h 76"/>
                  <a:gd name="T6" fmla="*/ 45 w 48"/>
                  <a:gd name="T7" fmla="*/ 26 h 76"/>
                  <a:gd name="T8" fmla="*/ 48 w 48"/>
                  <a:gd name="T9" fmla="*/ 35 h 76"/>
                  <a:gd name="T10" fmla="*/ 47 w 48"/>
                  <a:gd name="T11" fmla="*/ 44 h 76"/>
                  <a:gd name="T12" fmla="*/ 41 w 48"/>
                  <a:gd name="T13" fmla="*/ 54 h 76"/>
                  <a:gd name="T14" fmla="*/ 33 w 48"/>
                  <a:gd name="T15" fmla="*/ 66 h 76"/>
                  <a:gd name="T16" fmla="*/ 29 w 48"/>
                  <a:gd name="T17" fmla="*/ 76 h 76"/>
                  <a:gd name="T18" fmla="*/ 27 w 48"/>
                  <a:gd name="T19" fmla="*/ 64 h 76"/>
                  <a:gd name="T20" fmla="*/ 21 w 48"/>
                  <a:gd name="T21" fmla="*/ 53 h 76"/>
                  <a:gd name="T22" fmla="*/ 15 w 48"/>
                  <a:gd name="T23" fmla="*/ 44 h 76"/>
                  <a:gd name="T24" fmla="*/ 7 w 48"/>
                  <a:gd name="T25" fmla="*/ 31 h 76"/>
                  <a:gd name="T26" fmla="*/ 0 w 48"/>
                  <a:gd name="T27" fmla="*/ 19 h 76"/>
                  <a:gd name="T28" fmla="*/ 15 w 48"/>
                  <a:gd name="T29" fmla="*/ 9 h 76"/>
                  <a:gd name="T30" fmla="*/ 30 w 48"/>
                  <a:gd name="T31" fmla="*/ 0 h 7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8" h="76">
                    <a:moveTo>
                      <a:pt x="30" y="0"/>
                    </a:moveTo>
                    <a:lnTo>
                      <a:pt x="35" y="9"/>
                    </a:lnTo>
                    <a:lnTo>
                      <a:pt x="41" y="18"/>
                    </a:lnTo>
                    <a:lnTo>
                      <a:pt x="45" y="26"/>
                    </a:lnTo>
                    <a:lnTo>
                      <a:pt x="48" y="35"/>
                    </a:lnTo>
                    <a:lnTo>
                      <a:pt x="47" y="44"/>
                    </a:lnTo>
                    <a:lnTo>
                      <a:pt x="41" y="54"/>
                    </a:lnTo>
                    <a:lnTo>
                      <a:pt x="33" y="66"/>
                    </a:lnTo>
                    <a:lnTo>
                      <a:pt x="29" y="76"/>
                    </a:lnTo>
                    <a:lnTo>
                      <a:pt x="27" y="64"/>
                    </a:lnTo>
                    <a:lnTo>
                      <a:pt x="21" y="53"/>
                    </a:lnTo>
                    <a:lnTo>
                      <a:pt x="15" y="44"/>
                    </a:lnTo>
                    <a:lnTo>
                      <a:pt x="7" y="31"/>
                    </a:lnTo>
                    <a:lnTo>
                      <a:pt x="0" y="19"/>
                    </a:lnTo>
                    <a:lnTo>
                      <a:pt x="15" y="9"/>
                    </a:lnTo>
                    <a:lnTo>
                      <a:pt x="30"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73" name="Freeform 423"/>
              <p:cNvSpPr>
                <a:spLocks/>
              </p:cNvSpPr>
              <p:nvPr/>
            </p:nvSpPr>
            <p:spPr bwMode="auto">
              <a:xfrm>
                <a:off x="1771" y="3551"/>
                <a:ext cx="50" cy="54"/>
              </a:xfrm>
              <a:custGeom>
                <a:avLst/>
                <a:gdLst>
                  <a:gd name="T0" fmla="*/ 16 w 50"/>
                  <a:gd name="T1" fmla="*/ 0 h 54"/>
                  <a:gd name="T2" fmla="*/ 16 w 50"/>
                  <a:gd name="T3" fmla="*/ 9 h 54"/>
                  <a:gd name="T4" fmla="*/ 30 w 50"/>
                  <a:gd name="T5" fmla="*/ 9 h 54"/>
                  <a:gd name="T6" fmla="*/ 44 w 50"/>
                  <a:gd name="T7" fmla="*/ 8 h 54"/>
                  <a:gd name="T8" fmla="*/ 48 w 50"/>
                  <a:gd name="T9" fmla="*/ 14 h 54"/>
                  <a:gd name="T10" fmla="*/ 50 w 50"/>
                  <a:gd name="T11" fmla="*/ 22 h 54"/>
                  <a:gd name="T12" fmla="*/ 49 w 50"/>
                  <a:gd name="T13" fmla="*/ 28 h 54"/>
                  <a:gd name="T14" fmla="*/ 46 w 50"/>
                  <a:gd name="T15" fmla="*/ 36 h 54"/>
                  <a:gd name="T16" fmla="*/ 40 w 50"/>
                  <a:gd name="T17" fmla="*/ 42 h 54"/>
                  <a:gd name="T18" fmla="*/ 31 w 50"/>
                  <a:gd name="T19" fmla="*/ 44 h 54"/>
                  <a:gd name="T20" fmla="*/ 24 w 50"/>
                  <a:gd name="T21" fmla="*/ 44 h 54"/>
                  <a:gd name="T22" fmla="*/ 16 w 50"/>
                  <a:gd name="T23" fmla="*/ 44 h 54"/>
                  <a:gd name="T24" fmla="*/ 15 w 50"/>
                  <a:gd name="T25" fmla="*/ 46 h 54"/>
                  <a:gd name="T26" fmla="*/ 15 w 50"/>
                  <a:gd name="T27" fmla="*/ 51 h 54"/>
                  <a:gd name="T28" fmla="*/ 14 w 50"/>
                  <a:gd name="T29" fmla="*/ 54 h 54"/>
                  <a:gd name="T30" fmla="*/ 7 w 50"/>
                  <a:gd name="T31" fmla="*/ 39 h 54"/>
                  <a:gd name="T32" fmla="*/ 0 w 50"/>
                  <a:gd name="T33" fmla="*/ 26 h 54"/>
                  <a:gd name="T34" fmla="*/ 7 w 50"/>
                  <a:gd name="T35" fmla="*/ 13 h 54"/>
                  <a:gd name="T36" fmla="*/ 16 w 50"/>
                  <a:gd name="T37" fmla="*/ 0 h 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0" h="54">
                    <a:moveTo>
                      <a:pt x="16" y="0"/>
                    </a:moveTo>
                    <a:lnTo>
                      <a:pt x="16" y="9"/>
                    </a:lnTo>
                    <a:lnTo>
                      <a:pt x="30" y="9"/>
                    </a:lnTo>
                    <a:lnTo>
                      <a:pt x="44" y="8"/>
                    </a:lnTo>
                    <a:lnTo>
                      <a:pt x="48" y="14"/>
                    </a:lnTo>
                    <a:lnTo>
                      <a:pt x="50" y="22"/>
                    </a:lnTo>
                    <a:lnTo>
                      <a:pt x="49" y="28"/>
                    </a:lnTo>
                    <a:lnTo>
                      <a:pt x="46" y="36"/>
                    </a:lnTo>
                    <a:lnTo>
                      <a:pt x="40" y="42"/>
                    </a:lnTo>
                    <a:lnTo>
                      <a:pt x="31" y="44"/>
                    </a:lnTo>
                    <a:lnTo>
                      <a:pt x="24" y="44"/>
                    </a:lnTo>
                    <a:lnTo>
                      <a:pt x="16" y="44"/>
                    </a:lnTo>
                    <a:lnTo>
                      <a:pt x="15" y="46"/>
                    </a:lnTo>
                    <a:lnTo>
                      <a:pt x="15" y="51"/>
                    </a:lnTo>
                    <a:lnTo>
                      <a:pt x="14" y="54"/>
                    </a:lnTo>
                    <a:lnTo>
                      <a:pt x="7" y="39"/>
                    </a:lnTo>
                    <a:lnTo>
                      <a:pt x="0" y="26"/>
                    </a:lnTo>
                    <a:lnTo>
                      <a:pt x="7" y="13"/>
                    </a:lnTo>
                    <a:lnTo>
                      <a:pt x="16"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74" name="Freeform 424"/>
              <p:cNvSpPr>
                <a:spLocks/>
              </p:cNvSpPr>
              <p:nvPr/>
            </p:nvSpPr>
            <p:spPr bwMode="auto">
              <a:xfrm>
                <a:off x="1709" y="3559"/>
                <a:ext cx="49" cy="36"/>
              </a:xfrm>
              <a:custGeom>
                <a:avLst/>
                <a:gdLst>
                  <a:gd name="T0" fmla="*/ 48 w 49"/>
                  <a:gd name="T1" fmla="*/ 0 h 36"/>
                  <a:gd name="T2" fmla="*/ 49 w 49"/>
                  <a:gd name="T3" fmla="*/ 18 h 36"/>
                  <a:gd name="T4" fmla="*/ 49 w 49"/>
                  <a:gd name="T5" fmla="*/ 36 h 36"/>
                  <a:gd name="T6" fmla="*/ 37 w 49"/>
                  <a:gd name="T7" fmla="*/ 35 h 36"/>
                  <a:gd name="T8" fmla="*/ 24 w 49"/>
                  <a:gd name="T9" fmla="*/ 36 h 36"/>
                  <a:gd name="T10" fmla="*/ 11 w 49"/>
                  <a:gd name="T11" fmla="*/ 34 h 36"/>
                  <a:gd name="T12" fmla="*/ 9 w 49"/>
                  <a:gd name="T13" fmla="*/ 34 h 36"/>
                  <a:gd name="T14" fmla="*/ 8 w 49"/>
                  <a:gd name="T15" fmla="*/ 33 h 36"/>
                  <a:gd name="T16" fmla="*/ 7 w 49"/>
                  <a:gd name="T17" fmla="*/ 33 h 36"/>
                  <a:gd name="T18" fmla="*/ 1 w 49"/>
                  <a:gd name="T19" fmla="*/ 23 h 36"/>
                  <a:gd name="T20" fmla="*/ 0 w 49"/>
                  <a:gd name="T21" fmla="*/ 13 h 36"/>
                  <a:gd name="T22" fmla="*/ 4 w 49"/>
                  <a:gd name="T23" fmla="*/ 1 h 36"/>
                  <a:gd name="T24" fmla="*/ 26 w 49"/>
                  <a:gd name="T25" fmla="*/ 1 h 36"/>
                  <a:gd name="T26" fmla="*/ 48 w 49"/>
                  <a:gd name="T27" fmla="*/ 0 h 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9" h="36">
                    <a:moveTo>
                      <a:pt x="48" y="0"/>
                    </a:moveTo>
                    <a:lnTo>
                      <a:pt x="49" y="18"/>
                    </a:lnTo>
                    <a:lnTo>
                      <a:pt x="49" y="36"/>
                    </a:lnTo>
                    <a:lnTo>
                      <a:pt x="37" y="35"/>
                    </a:lnTo>
                    <a:lnTo>
                      <a:pt x="24" y="36"/>
                    </a:lnTo>
                    <a:lnTo>
                      <a:pt x="11" y="34"/>
                    </a:lnTo>
                    <a:lnTo>
                      <a:pt x="9" y="34"/>
                    </a:lnTo>
                    <a:lnTo>
                      <a:pt x="8" y="33"/>
                    </a:lnTo>
                    <a:lnTo>
                      <a:pt x="7" y="33"/>
                    </a:lnTo>
                    <a:lnTo>
                      <a:pt x="1" y="23"/>
                    </a:lnTo>
                    <a:lnTo>
                      <a:pt x="0" y="13"/>
                    </a:lnTo>
                    <a:lnTo>
                      <a:pt x="4" y="1"/>
                    </a:lnTo>
                    <a:lnTo>
                      <a:pt x="26" y="1"/>
                    </a:lnTo>
                    <a:lnTo>
                      <a:pt x="48"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75" name="Freeform 425"/>
              <p:cNvSpPr>
                <a:spLocks/>
              </p:cNvSpPr>
              <p:nvPr/>
            </p:nvSpPr>
            <p:spPr bwMode="auto">
              <a:xfrm>
                <a:off x="1710" y="3454"/>
                <a:ext cx="51" cy="51"/>
              </a:xfrm>
              <a:custGeom>
                <a:avLst/>
                <a:gdLst>
                  <a:gd name="T0" fmla="*/ 27 w 51"/>
                  <a:gd name="T1" fmla="*/ 0 h 51"/>
                  <a:gd name="T2" fmla="*/ 34 w 51"/>
                  <a:gd name="T3" fmla="*/ 0 h 51"/>
                  <a:gd name="T4" fmla="*/ 42 w 51"/>
                  <a:gd name="T5" fmla="*/ 2 h 51"/>
                  <a:gd name="T6" fmla="*/ 48 w 51"/>
                  <a:gd name="T7" fmla="*/ 8 h 51"/>
                  <a:gd name="T8" fmla="*/ 51 w 51"/>
                  <a:gd name="T9" fmla="*/ 14 h 51"/>
                  <a:gd name="T10" fmla="*/ 40 w 51"/>
                  <a:gd name="T11" fmla="*/ 33 h 51"/>
                  <a:gd name="T12" fmla="*/ 30 w 51"/>
                  <a:gd name="T13" fmla="*/ 51 h 51"/>
                  <a:gd name="T14" fmla="*/ 15 w 51"/>
                  <a:gd name="T15" fmla="*/ 42 h 51"/>
                  <a:gd name="T16" fmla="*/ 0 w 51"/>
                  <a:gd name="T17" fmla="*/ 34 h 51"/>
                  <a:gd name="T18" fmla="*/ 5 w 51"/>
                  <a:gd name="T19" fmla="*/ 22 h 51"/>
                  <a:gd name="T20" fmla="*/ 11 w 51"/>
                  <a:gd name="T21" fmla="*/ 12 h 51"/>
                  <a:gd name="T22" fmla="*/ 18 w 51"/>
                  <a:gd name="T23" fmla="*/ 3 h 51"/>
                  <a:gd name="T24" fmla="*/ 27 w 51"/>
                  <a:gd name="T25" fmla="*/ 0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1" h="51">
                    <a:moveTo>
                      <a:pt x="27" y="0"/>
                    </a:moveTo>
                    <a:lnTo>
                      <a:pt x="34" y="0"/>
                    </a:lnTo>
                    <a:lnTo>
                      <a:pt x="42" y="2"/>
                    </a:lnTo>
                    <a:lnTo>
                      <a:pt x="48" y="8"/>
                    </a:lnTo>
                    <a:lnTo>
                      <a:pt x="51" y="14"/>
                    </a:lnTo>
                    <a:lnTo>
                      <a:pt x="40" y="33"/>
                    </a:lnTo>
                    <a:lnTo>
                      <a:pt x="30" y="51"/>
                    </a:lnTo>
                    <a:lnTo>
                      <a:pt x="15" y="42"/>
                    </a:lnTo>
                    <a:lnTo>
                      <a:pt x="0" y="34"/>
                    </a:lnTo>
                    <a:lnTo>
                      <a:pt x="5" y="22"/>
                    </a:lnTo>
                    <a:lnTo>
                      <a:pt x="11" y="12"/>
                    </a:lnTo>
                    <a:lnTo>
                      <a:pt x="18" y="3"/>
                    </a:lnTo>
                    <a:lnTo>
                      <a:pt x="27"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76" name="Freeform 426"/>
              <p:cNvSpPr>
                <a:spLocks/>
              </p:cNvSpPr>
              <p:nvPr/>
            </p:nvSpPr>
            <p:spPr bwMode="auto">
              <a:xfrm>
                <a:off x="1683" y="3506"/>
                <a:ext cx="50" cy="71"/>
              </a:xfrm>
              <a:custGeom>
                <a:avLst/>
                <a:gdLst>
                  <a:gd name="T0" fmla="*/ 0 w 50"/>
                  <a:gd name="T1" fmla="*/ 0 h 71"/>
                  <a:gd name="T2" fmla="*/ 16 w 50"/>
                  <a:gd name="T3" fmla="*/ 1 h 71"/>
                  <a:gd name="T4" fmla="*/ 34 w 50"/>
                  <a:gd name="T5" fmla="*/ 2 h 71"/>
                  <a:gd name="T6" fmla="*/ 40 w 50"/>
                  <a:gd name="T7" fmla="*/ 12 h 71"/>
                  <a:gd name="T8" fmla="*/ 46 w 50"/>
                  <a:gd name="T9" fmla="*/ 23 h 71"/>
                  <a:gd name="T10" fmla="*/ 50 w 50"/>
                  <a:gd name="T11" fmla="*/ 32 h 71"/>
                  <a:gd name="T12" fmla="*/ 47 w 50"/>
                  <a:gd name="T13" fmla="*/ 29 h 71"/>
                  <a:gd name="T14" fmla="*/ 44 w 50"/>
                  <a:gd name="T15" fmla="*/ 27 h 71"/>
                  <a:gd name="T16" fmla="*/ 41 w 50"/>
                  <a:gd name="T17" fmla="*/ 26 h 71"/>
                  <a:gd name="T18" fmla="*/ 35 w 50"/>
                  <a:gd name="T19" fmla="*/ 35 h 71"/>
                  <a:gd name="T20" fmla="*/ 29 w 50"/>
                  <a:gd name="T21" fmla="*/ 45 h 71"/>
                  <a:gd name="T22" fmla="*/ 23 w 50"/>
                  <a:gd name="T23" fmla="*/ 55 h 71"/>
                  <a:gd name="T24" fmla="*/ 20 w 50"/>
                  <a:gd name="T25" fmla="*/ 65 h 71"/>
                  <a:gd name="T26" fmla="*/ 20 w 50"/>
                  <a:gd name="T27" fmla="*/ 71 h 71"/>
                  <a:gd name="T28" fmla="*/ 14 w 50"/>
                  <a:gd name="T29" fmla="*/ 60 h 71"/>
                  <a:gd name="T30" fmla="*/ 6 w 50"/>
                  <a:gd name="T31" fmla="*/ 47 h 71"/>
                  <a:gd name="T32" fmla="*/ 1 w 50"/>
                  <a:gd name="T33" fmla="*/ 35 h 71"/>
                  <a:gd name="T34" fmla="*/ 0 w 50"/>
                  <a:gd name="T35" fmla="*/ 27 h 71"/>
                  <a:gd name="T36" fmla="*/ 3 w 50"/>
                  <a:gd name="T37" fmla="*/ 18 h 71"/>
                  <a:gd name="T38" fmla="*/ 9 w 50"/>
                  <a:gd name="T39" fmla="*/ 9 h 71"/>
                  <a:gd name="T40" fmla="*/ 5 w 50"/>
                  <a:gd name="T41" fmla="*/ 5 h 71"/>
                  <a:gd name="T42" fmla="*/ 3 w 50"/>
                  <a:gd name="T43" fmla="*/ 3 h 71"/>
                  <a:gd name="T44" fmla="*/ 0 w 50"/>
                  <a:gd name="T45" fmla="*/ 2 h 71"/>
                  <a:gd name="T46" fmla="*/ 0 w 50"/>
                  <a:gd name="T47" fmla="*/ 0 h 7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50" h="71">
                    <a:moveTo>
                      <a:pt x="0" y="0"/>
                    </a:moveTo>
                    <a:lnTo>
                      <a:pt x="16" y="1"/>
                    </a:lnTo>
                    <a:lnTo>
                      <a:pt x="34" y="2"/>
                    </a:lnTo>
                    <a:lnTo>
                      <a:pt x="40" y="12"/>
                    </a:lnTo>
                    <a:lnTo>
                      <a:pt x="46" y="23"/>
                    </a:lnTo>
                    <a:lnTo>
                      <a:pt x="50" y="32"/>
                    </a:lnTo>
                    <a:lnTo>
                      <a:pt x="47" y="29"/>
                    </a:lnTo>
                    <a:lnTo>
                      <a:pt x="44" y="27"/>
                    </a:lnTo>
                    <a:lnTo>
                      <a:pt x="41" y="26"/>
                    </a:lnTo>
                    <a:lnTo>
                      <a:pt x="35" y="35"/>
                    </a:lnTo>
                    <a:lnTo>
                      <a:pt x="29" y="45"/>
                    </a:lnTo>
                    <a:lnTo>
                      <a:pt x="23" y="55"/>
                    </a:lnTo>
                    <a:lnTo>
                      <a:pt x="20" y="65"/>
                    </a:lnTo>
                    <a:lnTo>
                      <a:pt x="20" y="71"/>
                    </a:lnTo>
                    <a:lnTo>
                      <a:pt x="14" y="60"/>
                    </a:lnTo>
                    <a:lnTo>
                      <a:pt x="6" y="47"/>
                    </a:lnTo>
                    <a:lnTo>
                      <a:pt x="1" y="35"/>
                    </a:lnTo>
                    <a:lnTo>
                      <a:pt x="0" y="27"/>
                    </a:lnTo>
                    <a:lnTo>
                      <a:pt x="3" y="18"/>
                    </a:lnTo>
                    <a:lnTo>
                      <a:pt x="9" y="9"/>
                    </a:lnTo>
                    <a:lnTo>
                      <a:pt x="5" y="5"/>
                    </a:lnTo>
                    <a:lnTo>
                      <a:pt x="3" y="3"/>
                    </a:lnTo>
                    <a:lnTo>
                      <a:pt x="0" y="2"/>
                    </a:lnTo>
                    <a:lnTo>
                      <a:pt x="0"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77" name="Freeform 427"/>
              <p:cNvSpPr>
                <a:spLocks/>
              </p:cNvSpPr>
              <p:nvPr/>
            </p:nvSpPr>
            <p:spPr bwMode="auto">
              <a:xfrm>
                <a:off x="1750" y="3449"/>
                <a:ext cx="71" cy="47"/>
              </a:xfrm>
              <a:custGeom>
                <a:avLst/>
                <a:gdLst>
                  <a:gd name="T0" fmla="*/ 0 w 71"/>
                  <a:gd name="T1" fmla="*/ 0 h 47"/>
                  <a:gd name="T2" fmla="*/ 23 w 71"/>
                  <a:gd name="T3" fmla="*/ 0 h 47"/>
                  <a:gd name="T4" fmla="*/ 33 w 71"/>
                  <a:gd name="T5" fmla="*/ 0 h 47"/>
                  <a:gd name="T6" fmla="*/ 44 w 71"/>
                  <a:gd name="T7" fmla="*/ 2 h 47"/>
                  <a:gd name="T8" fmla="*/ 51 w 71"/>
                  <a:gd name="T9" fmla="*/ 5 h 47"/>
                  <a:gd name="T10" fmla="*/ 55 w 71"/>
                  <a:gd name="T11" fmla="*/ 11 h 47"/>
                  <a:gd name="T12" fmla="*/ 59 w 71"/>
                  <a:gd name="T13" fmla="*/ 17 h 47"/>
                  <a:gd name="T14" fmla="*/ 63 w 71"/>
                  <a:gd name="T15" fmla="*/ 22 h 47"/>
                  <a:gd name="T16" fmla="*/ 67 w 71"/>
                  <a:gd name="T17" fmla="*/ 20 h 47"/>
                  <a:gd name="T18" fmla="*/ 71 w 71"/>
                  <a:gd name="T19" fmla="*/ 17 h 47"/>
                  <a:gd name="T20" fmla="*/ 64 w 71"/>
                  <a:gd name="T21" fmla="*/ 32 h 47"/>
                  <a:gd name="T22" fmla="*/ 54 w 71"/>
                  <a:gd name="T23" fmla="*/ 47 h 47"/>
                  <a:gd name="T24" fmla="*/ 38 w 71"/>
                  <a:gd name="T25" fmla="*/ 47 h 47"/>
                  <a:gd name="T26" fmla="*/ 21 w 71"/>
                  <a:gd name="T27" fmla="*/ 47 h 47"/>
                  <a:gd name="T28" fmla="*/ 23 w 71"/>
                  <a:gd name="T29" fmla="*/ 45 h 47"/>
                  <a:gd name="T30" fmla="*/ 25 w 71"/>
                  <a:gd name="T31" fmla="*/ 44 h 47"/>
                  <a:gd name="T32" fmla="*/ 28 w 71"/>
                  <a:gd name="T33" fmla="*/ 43 h 47"/>
                  <a:gd name="T34" fmla="*/ 31 w 71"/>
                  <a:gd name="T35" fmla="*/ 42 h 47"/>
                  <a:gd name="T36" fmla="*/ 20 w 71"/>
                  <a:gd name="T37" fmla="*/ 22 h 47"/>
                  <a:gd name="T38" fmla="*/ 14 w 71"/>
                  <a:gd name="T39" fmla="*/ 14 h 47"/>
                  <a:gd name="T40" fmla="*/ 9 w 71"/>
                  <a:gd name="T41" fmla="*/ 6 h 47"/>
                  <a:gd name="T42" fmla="*/ 0 w 71"/>
                  <a:gd name="T43" fmla="*/ 0 h 4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71" h="47">
                    <a:moveTo>
                      <a:pt x="0" y="0"/>
                    </a:moveTo>
                    <a:lnTo>
                      <a:pt x="23" y="0"/>
                    </a:lnTo>
                    <a:lnTo>
                      <a:pt x="33" y="0"/>
                    </a:lnTo>
                    <a:lnTo>
                      <a:pt x="44" y="2"/>
                    </a:lnTo>
                    <a:lnTo>
                      <a:pt x="51" y="5"/>
                    </a:lnTo>
                    <a:lnTo>
                      <a:pt x="55" y="11"/>
                    </a:lnTo>
                    <a:lnTo>
                      <a:pt x="59" y="17"/>
                    </a:lnTo>
                    <a:lnTo>
                      <a:pt x="63" y="22"/>
                    </a:lnTo>
                    <a:lnTo>
                      <a:pt x="67" y="20"/>
                    </a:lnTo>
                    <a:lnTo>
                      <a:pt x="71" y="17"/>
                    </a:lnTo>
                    <a:lnTo>
                      <a:pt x="64" y="32"/>
                    </a:lnTo>
                    <a:lnTo>
                      <a:pt x="54" y="47"/>
                    </a:lnTo>
                    <a:lnTo>
                      <a:pt x="38" y="47"/>
                    </a:lnTo>
                    <a:lnTo>
                      <a:pt x="21" y="47"/>
                    </a:lnTo>
                    <a:lnTo>
                      <a:pt x="23" y="45"/>
                    </a:lnTo>
                    <a:lnTo>
                      <a:pt x="25" y="44"/>
                    </a:lnTo>
                    <a:lnTo>
                      <a:pt x="28" y="43"/>
                    </a:lnTo>
                    <a:lnTo>
                      <a:pt x="31" y="42"/>
                    </a:lnTo>
                    <a:lnTo>
                      <a:pt x="20" y="22"/>
                    </a:lnTo>
                    <a:lnTo>
                      <a:pt x="14" y="14"/>
                    </a:lnTo>
                    <a:lnTo>
                      <a:pt x="9" y="6"/>
                    </a:lnTo>
                    <a:lnTo>
                      <a:pt x="0"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78" name="Freeform 428"/>
              <p:cNvSpPr>
                <a:spLocks/>
              </p:cNvSpPr>
              <p:nvPr/>
            </p:nvSpPr>
            <p:spPr bwMode="auto">
              <a:xfrm>
                <a:off x="2556" y="2377"/>
                <a:ext cx="174" cy="175"/>
              </a:xfrm>
              <a:custGeom>
                <a:avLst/>
                <a:gdLst>
                  <a:gd name="T0" fmla="*/ 87 w 174"/>
                  <a:gd name="T1" fmla="*/ 0 h 175"/>
                  <a:gd name="T2" fmla="*/ 110 w 174"/>
                  <a:gd name="T3" fmla="*/ 3 h 175"/>
                  <a:gd name="T4" fmla="*/ 131 w 174"/>
                  <a:gd name="T5" fmla="*/ 12 h 175"/>
                  <a:gd name="T6" fmla="*/ 148 w 174"/>
                  <a:gd name="T7" fmla="*/ 26 h 175"/>
                  <a:gd name="T8" fmla="*/ 162 w 174"/>
                  <a:gd name="T9" fmla="*/ 43 h 175"/>
                  <a:gd name="T10" fmla="*/ 171 w 174"/>
                  <a:gd name="T11" fmla="*/ 64 h 175"/>
                  <a:gd name="T12" fmla="*/ 174 w 174"/>
                  <a:gd name="T13" fmla="*/ 87 h 175"/>
                  <a:gd name="T14" fmla="*/ 171 w 174"/>
                  <a:gd name="T15" fmla="*/ 111 h 175"/>
                  <a:gd name="T16" fmla="*/ 162 w 174"/>
                  <a:gd name="T17" fmla="*/ 132 h 175"/>
                  <a:gd name="T18" fmla="*/ 148 w 174"/>
                  <a:gd name="T19" fmla="*/ 149 h 175"/>
                  <a:gd name="T20" fmla="*/ 131 w 174"/>
                  <a:gd name="T21" fmla="*/ 163 h 175"/>
                  <a:gd name="T22" fmla="*/ 110 w 174"/>
                  <a:gd name="T23" fmla="*/ 171 h 175"/>
                  <a:gd name="T24" fmla="*/ 87 w 174"/>
                  <a:gd name="T25" fmla="*/ 175 h 175"/>
                  <a:gd name="T26" fmla="*/ 63 w 174"/>
                  <a:gd name="T27" fmla="*/ 171 h 175"/>
                  <a:gd name="T28" fmla="*/ 43 w 174"/>
                  <a:gd name="T29" fmla="*/ 163 h 175"/>
                  <a:gd name="T30" fmla="*/ 25 w 174"/>
                  <a:gd name="T31" fmla="*/ 149 h 175"/>
                  <a:gd name="T32" fmla="*/ 12 w 174"/>
                  <a:gd name="T33" fmla="*/ 132 h 175"/>
                  <a:gd name="T34" fmla="*/ 3 w 174"/>
                  <a:gd name="T35" fmla="*/ 111 h 175"/>
                  <a:gd name="T36" fmla="*/ 0 w 174"/>
                  <a:gd name="T37" fmla="*/ 87 h 175"/>
                  <a:gd name="T38" fmla="*/ 3 w 174"/>
                  <a:gd name="T39" fmla="*/ 64 h 175"/>
                  <a:gd name="T40" fmla="*/ 12 w 174"/>
                  <a:gd name="T41" fmla="*/ 43 h 175"/>
                  <a:gd name="T42" fmla="*/ 25 w 174"/>
                  <a:gd name="T43" fmla="*/ 26 h 175"/>
                  <a:gd name="T44" fmla="*/ 43 w 174"/>
                  <a:gd name="T45" fmla="*/ 12 h 175"/>
                  <a:gd name="T46" fmla="*/ 63 w 174"/>
                  <a:gd name="T47" fmla="*/ 3 h 175"/>
                  <a:gd name="T48" fmla="*/ 87 w 174"/>
                  <a:gd name="T49" fmla="*/ 0 h 17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74" h="175">
                    <a:moveTo>
                      <a:pt x="87" y="0"/>
                    </a:moveTo>
                    <a:lnTo>
                      <a:pt x="110" y="3"/>
                    </a:lnTo>
                    <a:lnTo>
                      <a:pt x="131" y="12"/>
                    </a:lnTo>
                    <a:lnTo>
                      <a:pt x="148" y="26"/>
                    </a:lnTo>
                    <a:lnTo>
                      <a:pt x="162" y="43"/>
                    </a:lnTo>
                    <a:lnTo>
                      <a:pt x="171" y="64"/>
                    </a:lnTo>
                    <a:lnTo>
                      <a:pt x="174" y="87"/>
                    </a:lnTo>
                    <a:lnTo>
                      <a:pt x="171" y="111"/>
                    </a:lnTo>
                    <a:lnTo>
                      <a:pt x="162" y="132"/>
                    </a:lnTo>
                    <a:lnTo>
                      <a:pt x="148" y="149"/>
                    </a:lnTo>
                    <a:lnTo>
                      <a:pt x="131" y="163"/>
                    </a:lnTo>
                    <a:lnTo>
                      <a:pt x="110" y="171"/>
                    </a:lnTo>
                    <a:lnTo>
                      <a:pt x="87" y="175"/>
                    </a:lnTo>
                    <a:lnTo>
                      <a:pt x="63" y="171"/>
                    </a:lnTo>
                    <a:lnTo>
                      <a:pt x="43" y="163"/>
                    </a:lnTo>
                    <a:lnTo>
                      <a:pt x="25" y="149"/>
                    </a:lnTo>
                    <a:lnTo>
                      <a:pt x="12" y="132"/>
                    </a:lnTo>
                    <a:lnTo>
                      <a:pt x="3" y="111"/>
                    </a:lnTo>
                    <a:lnTo>
                      <a:pt x="0" y="87"/>
                    </a:lnTo>
                    <a:lnTo>
                      <a:pt x="3" y="64"/>
                    </a:lnTo>
                    <a:lnTo>
                      <a:pt x="12" y="43"/>
                    </a:lnTo>
                    <a:lnTo>
                      <a:pt x="25" y="26"/>
                    </a:lnTo>
                    <a:lnTo>
                      <a:pt x="43" y="12"/>
                    </a:lnTo>
                    <a:lnTo>
                      <a:pt x="63" y="3"/>
                    </a:lnTo>
                    <a:lnTo>
                      <a:pt x="87" y="0"/>
                    </a:lnTo>
                    <a:close/>
                  </a:path>
                </a:pathLst>
              </a:custGeom>
              <a:solidFill>
                <a:srgbClr val="29426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79" name="Freeform 429"/>
              <p:cNvSpPr>
                <a:spLocks noEditPoints="1"/>
              </p:cNvSpPr>
              <p:nvPr/>
            </p:nvSpPr>
            <p:spPr bwMode="auto">
              <a:xfrm>
                <a:off x="2551" y="2370"/>
                <a:ext cx="186" cy="185"/>
              </a:xfrm>
              <a:custGeom>
                <a:avLst/>
                <a:gdLst>
                  <a:gd name="T0" fmla="*/ 92 w 186"/>
                  <a:gd name="T1" fmla="*/ 10 h 185"/>
                  <a:gd name="T2" fmla="*/ 71 w 186"/>
                  <a:gd name="T3" fmla="*/ 14 h 185"/>
                  <a:gd name="T4" fmla="*/ 51 w 186"/>
                  <a:gd name="T5" fmla="*/ 22 h 185"/>
                  <a:gd name="T6" fmla="*/ 35 w 186"/>
                  <a:gd name="T7" fmla="*/ 34 h 185"/>
                  <a:gd name="T8" fmla="*/ 21 w 186"/>
                  <a:gd name="T9" fmla="*/ 51 h 185"/>
                  <a:gd name="T10" fmla="*/ 13 w 186"/>
                  <a:gd name="T11" fmla="*/ 72 h 185"/>
                  <a:gd name="T12" fmla="*/ 9 w 186"/>
                  <a:gd name="T13" fmla="*/ 93 h 185"/>
                  <a:gd name="T14" fmla="*/ 13 w 186"/>
                  <a:gd name="T15" fmla="*/ 115 h 185"/>
                  <a:gd name="T16" fmla="*/ 21 w 186"/>
                  <a:gd name="T17" fmla="*/ 134 h 185"/>
                  <a:gd name="T18" fmla="*/ 35 w 186"/>
                  <a:gd name="T19" fmla="*/ 152 h 185"/>
                  <a:gd name="T20" fmla="*/ 51 w 186"/>
                  <a:gd name="T21" fmla="*/ 164 h 185"/>
                  <a:gd name="T22" fmla="*/ 71 w 186"/>
                  <a:gd name="T23" fmla="*/ 173 h 185"/>
                  <a:gd name="T24" fmla="*/ 92 w 186"/>
                  <a:gd name="T25" fmla="*/ 175 h 185"/>
                  <a:gd name="T26" fmla="*/ 114 w 186"/>
                  <a:gd name="T27" fmla="*/ 173 h 185"/>
                  <a:gd name="T28" fmla="*/ 133 w 186"/>
                  <a:gd name="T29" fmla="*/ 164 h 185"/>
                  <a:gd name="T30" fmla="*/ 150 w 186"/>
                  <a:gd name="T31" fmla="*/ 152 h 185"/>
                  <a:gd name="T32" fmla="*/ 164 w 186"/>
                  <a:gd name="T33" fmla="*/ 134 h 185"/>
                  <a:gd name="T34" fmla="*/ 172 w 186"/>
                  <a:gd name="T35" fmla="*/ 115 h 185"/>
                  <a:gd name="T36" fmla="*/ 174 w 186"/>
                  <a:gd name="T37" fmla="*/ 93 h 185"/>
                  <a:gd name="T38" fmla="*/ 172 w 186"/>
                  <a:gd name="T39" fmla="*/ 72 h 185"/>
                  <a:gd name="T40" fmla="*/ 164 w 186"/>
                  <a:gd name="T41" fmla="*/ 51 h 185"/>
                  <a:gd name="T42" fmla="*/ 150 w 186"/>
                  <a:gd name="T43" fmla="*/ 34 h 185"/>
                  <a:gd name="T44" fmla="*/ 133 w 186"/>
                  <a:gd name="T45" fmla="*/ 22 h 185"/>
                  <a:gd name="T46" fmla="*/ 114 w 186"/>
                  <a:gd name="T47" fmla="*/ 14 h 185"/>
                  <a:gd name="T48" fmla="*/ 92 w 186"/>
                  <a:gd name="T49" fmla="*/ 10 h 185"/>
                  <a:gd name="T50" fmla="*/ 92 w 186"/>
                  <a:gd name="T51" fmla="*/ 0 h 185"/>
                  <a:gd name="T52" fmla="*/ 117 w 186"/>
                  <a:gd name="T53" fmla="*/ 3 h 185"/>
                  <a:gd name="T54" fmla="*/ 139 w 186"/>
                  <a:gd name="T55" fmla="*/ 13 h 185"/>
                  <a:gd name="T56" fmla="*/ 159 w 186"/>
                  <a:gd name="T57" fmla="*/ 28 h 185"/>
                  <a:gd name="T58" fmla="*/ 174 w 186"/>
                  <a:gd name="T59" fmla="*/ 47 h 185"/>
                  <a:gd name="T60" fmla="*/ 182 w 186"/>
                  <a:gd name="T61" fmla="*/ 69 h 185"/>
                  <a:gd name="T62" fmla="*/ 186 w 186"/>
                  <a:gd name="T63" fmla="*/ 93 h 185"/>
                  <a:gd name="T64" fmla="*/ 182 w 186"/>
                  <a:gd name="T65" fmla="*/ 117 h 185"/>
                  <a:gd name="T66" fmla="*/ 174 w 186"/>
                  <a:gd name="T67" fmla="*/ 140 h 185"/>
                  <a:gd name="T68" fmla="*/ 159 w 186"/>
                  <a:gd name="T69" fmla="*/ 158 h 185"/>
                  <a:gd name="T70" fmla="*/ 145 w 186"/>
                  <a:gd name="T71" fmla="*/ 170 h 185"/>
                  <a:gd name="T72" fmla="*/ 129 w 186"/>
                  <a:gd name="T73" fmla="*/ 178 h 185"/>
                  <a:gd name="T74" fmla="*/ 110 w 186"/>
                  <a:gd name="T75" fmla="*/ 184 h 185"/>
                  <a:gd name="T76" fmla="*/ 92 w 186"/>
                  <a:gd name="T77" fmla="*/ 185 h 185"/>
                  <a:gd name="T78" fmla="*/ 74 w 186"/>
                  <a:gd name="T79" fmla="*/ 184 h 185"/>
                  <a:gd name="T80" fmla="*/ 57 w 186"/>
                  <a:gd name="T81" fmla="*/ 178 h 185"/>
                  <a:gd name="T82" fmla="*/ 42 w 186"/>
                  <a:gd name="T83" fmla="*/ 170 h 185"/>
                  <a:gd name="T84" fmla="*/ 28 w 186"/>
                  <a:gd name="T85" fmla="*/ 158 h 185"/>
                  <a:gd name="T86" fmla="*/ 13 w 186"/>
                  <a:gd name="T87" fmla="*/ 140 h 185"/>
                  <a:gd name="T88" fmla="*/ 3 w 186"/>
                  <a:gd name="T89" fmla="*/ 117 h 185"/>
                  <a:gd name="T90" fmla="*/ 0 w 186"/>
                  <a:gd name="T91" fmla="*/ 93 h 185"/>
                  <a:gd name="T92" fmla="*/ 3 w 186"/>
                  <a:gd name="T93" fmla="*/ 69 h 185"/>
                  <a:gd name="T94" fmla="*/ 13 w 186"/>
                  <a:gd name="T95" fmla="*/ 47 h 185"/>
                  <a:gd name="T96" fmla="*/ 28 w 186"/>
                  <a:gd name="T97" fmla="*/ 28 h 185"/>
                  <a:gd name="T98" fmla="*/ 46 w 186"/>
                  <a:gd name="T99" fmla="*/ 13 h 185"/>
                  <a:gd name="T100" fmla="*/ 68 w 186"/>
                  <a:gd name="T101" fmla="*/ 3 h 185"/>
                  <a:gd name="T102" fmla="*/ 92 w 186"/>
                  <a:gd name="T103" fmla="*/ 0 h 18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86" h="185">
                    <a:moveTo>
                      <a:pt x="92" y="10"/>
                    </a:moveTo>
                    <a:lnTo>
                      <a:pt x="71" y="14"/>
                    </a:lnTo>
                    <a:lnTo>
                      <a:pt x="51" y="22"/>
                    </a:lnTo>
                    <a:lnTo>
                      <a:pt x="35" y="34"/>
                    </a:lnTo>
                    <a:lnTo>
                      <a:pt x="21" y="51"/>
                    </a:lnTo>
                    <a:lnTo>
                      <a:pt x="13" y="72"/>
                    </a:lnTo>
                    <a:lnTo>
                      <a:pt x="9" y="93"/>
                    </a:lnTo>
                    <a:lnTo>
                      <a:pt x="13" y="115"/>
                    </a:lnTo>
                    <a:lnTo>
                      <a:pt x="21" y="134"/>
                    </a:lnTo>
                    <a:lnTo>
                      <a:pt x="35" y="152"/>
                    </a:lnTo>
                    <a:lnTo>
                      <a:pt x="51" y="164"/>
                    </a:lnTo>
                    <a:lnTo>
                      <a:pt x="71" y="173"/>
                    </a:lnTo>
                    <a:lnTo>
                      <a:pt x="92" y="175"/>
                    </a:lnTo>
                    <a:lnTo>
                      <a:pt x="114" y="173"/>
                    </a:lnTo>
                    <a:lnTo>
                      <a:pt x="133" y="164"/>
                    </a:lnTo>
                    <a:lnTo>
                      <a:pt x="150" y="152"/>
                    </a:lnTo>
                    <a:lnTo>
                      <a:pt x="164" y="134"/>
                    </a:lnTo>
                    <a:lnTo>
                      <a:pt x="172" y="115"/>
                    </a:lnTo>
                    <a:lnTo>
                      <a:pt x="174" y="93"/>
                    </a:lnTo>
                    <a:lnTo>
                      <a:pt x="172" y="72"/>
                    </a:lnTo>
                    <a:lnTo>
                      <a:pt x="164" y="51"/>
                    </a:lnTo>
                    <a:lnTo>
                      <a:pt x="150" y="34"/>
                    </a:lnTo>
                    <a:lnTo>
                      <a:pt x="133" y="22"/>
                    </a:lnTo>
                    <a:lnTo>
                      <a:pt x="114" y="14"/>
                    </a:lnTo>
                    <a:lnTo>
                      <a:pt x="92" y="10"/>
                    </a:lnTo>
                    <a:close/>
                    <a:moveTo>
                      <a:pt x="92" y="0"/>
                    </a:moveTo>
                    <a:lnTo>
                      <a:pt x="117" y="3"/>
                    </a:lnTo>
                    <a:lnTo>
                      <a:pt x="139" y="13"/>
                    </a:lnTo>
                    <a:lnTo>
                      <a:pt x="159" y="28"/>
                    </a:lnTo>
                    <a:lnTo>
                      <a:pt x="174" y="47"/>
                    </a:lnTo>
                    <a:lnTo>
                      <a:pt x="182" y="69"/>
                    </a:lnTo>
                    <a:lnTo>
                      <a:pt x="186" y="93"/>
                    </a:lnTo>
                    <a:lnTo>
                      <a:pt x="182" y="117"/>
                    </a:lnTo>
                    <a:lnTo>
                      <a:pt x="174" y="140"/>
                    </a:lnTo>
                    <a:lnTo>
                      <a:pt x="159" y="158"/>
                    </a:lnTo>
                    <a:lnTo>
                      <a:pt x="145" y="170"/>
                    </a:lnTo>
                    <a:lnTo>
                      <a:pt x="129" y="178"/>
                    </a:lnTo>
                    <a:lnTo>
                      <a:pt x="110" y="184"/>
                    </a:lnTo>
                    <a:lnTo>
                      <a:pt x="92" y="185"/>
                    </a:lnTo>
                    <a:lnTo>
                      <a:pt x="74" y="184"/>
                    </a:lnTo>
                    <a:lnTo>
                      <a:pt x="57" y="178"/>
                    </a:lnTo>
                    <a:lnTo>
                      <a:pt x="42" y="170"/>
                    </a:lnTo>
                    <a:lnTo>
                      <a:pt x="28" y="158"/>
                    </a:lnTo>
                    <a:lnTo>
                      <a:pt x="13" y="140"/>
                    </a:lnTo>
                    <a:lnTo>
                      <a:pt x="3" y="117"/>
                    </a:lnTo>
                    <a:lnTo>
                      <a:pt x="0" y="93"/>
                    </a:lnTo>
                    <a:lnTo>
                      <a:pt x="3" y="69"/>
                    </a:lnTo>
                    <a:lnTo>
                      <a:pt x="13" y="47"/>
                    </a:lnTo>
                    <a:lnTo>
                      <a:pt x="28" y="28"/>
                    </a:lnTo>
                    <a:lnTo>
                      <a:pt x="46" y="13"/>
                    </a:lnTo>
                    <a:lnTo>
                      <a:pt x="68" y="3"/>
                    </a:lnTo>
                    <a:lnTo>
                      <a:pt x="92"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80" name="Freeform 430"/>
              <p:cNvSpPr>
                <a:spLocks/>
              </p:cNvSpPr>
              <p:nvPr/>
            </p:nvSpPr>
            <p:spPr bwMode="auto">
              <a:xfrm>
                <a:off x="2614" y="2421"/>
                <a:ext cx="66" cy="79"/>
              </a:xfrm>
              <a:custGeom>
                <a:avLst/>
                <a:gdLst>
                  <a:gd name="T0" fmla="*/ 62 w 66"/>
                  <a:gd name="T1" fmla="*/ 0 h 79"/>
                  <a:gd name="T2" fmla="*/ 65 w 66"/>
                  <a:gd name="T3" fmla="*/ 3 h 79"/>
                  <a:gd name="T4" fmla="*/ 66 w 66"/>
                  <a:gd name="T5" fmla="*/ 6 h 79"/>
                  <a:gd name="T6" fmla="*/ 65 w 66"/>
                  <a:gd name="T7" fmla="*/ 9 h 79"/>
                  <a:gd name="T8" fmla="*/ 62 w 66"/>
                  <a:gd name="T9" fmla="*/ 10 h 79"/>
                  <a:gd name="T10" fmla="*/ 64 w 66"/>
                  <a:gd name="T11" fmla="*/ 25 h 79"/>
                  <a:gd name="T12" fmla="*/ 66 w 66"/>
                  <a:gd name="T13" fmla="*/ 29 h 79"/>
                  <a:gd name="T14" fmla="*/ 64 w 66"/>
                  <a:gd name="T15" fmla="*/ 33 h 79"/>
                  <a:gd name="T16" fmla="*/ 62 w 66"/>
                  <a:gd name="T17" fmla="*/ 47 h 79"/>
                  <a:gd name="T18" fmla="*/ 65 w 66"/>
                  <a:gd name="T19" fmla="*/ 50 h 79"/>
                  <a:gd name="T20" fmla="*/ 65 w 66"/>
                  <a:gd name="T21" fmla="*/ 54 h 79"/>
                  <a:gd name="T22" fmla="*/ 64 w 66"/>
                  <a:gd name="T23" fmla="*/ 56 h 79"/>
                  <a:gd name="T24" fmla="*/ 62 w 66"/>
                  <a:gd name="T25" fmla="*/ 69 h 79"/>
                  <a:gd name="T26" fmla="*/ 65 w 66"/>
                  <a:gd name="T27" fmla="*/ 71 h 79"/>
                  <a:gd name="T28" fmla="*/ 65 w 66"/>
                  <a:gd name="T29" fmla="*/ 76 h 79"/>
                  <a:gd name="T30" fmla="*/ 64 w 66"/>
                  <a:gd name="T31" fmla="*/ 78 h 79"/>
                  <a:gd name="T32" fmla="*/ 3 w 66"/>
                  <a:gd name="T33" fmla="*/ 79 h 79"/>
                  <a:gd name="T34" fmla="*/ 1 w 66"/>
                  <a:gd name="T35" fmla="*/ 78 h 79"/>
                  <a:gd name="T36" fmla="*/ 0 w 66"/>
                  <a:gd name="T37" fmla="*/ 74 h 79"/>
                  <a:gd name="T38" fmla="*/ 2 w 66"/>
                  <a:gd name="T39" fmla="*/ 69 h 79"/>
                  <a:gd name="T40" fmla="*/ 5 w 66"/>
                  <a:gd name="T41" fmla="*/ 69 h 79"/>
                  <a:gd name="T42" fmla="*/ 3 w 66"/>
                  <a:gd name="T43" fmla="*/ 56 h 79"/>
                  <a:gd name="T44" fmla="*/ 1 w 66"/>
                  <a:gd name="T45" fmla="*/ 55 h 79"/>
                  <a:gd name="T46" fmla="*/ 0 w 66"/>
                  <a:gd name="T47" fmla="*/ 52 h 79"/>
                  <a:gd name="T48" fmla="*/ 2 w 66"/>
                  <a:gd name="T49" fmla="*/ 48 h 79"/>
                  <a:gd name="T50" fmla="*/ 5 w 66"/>
                  <a:gd name="T51" fmla="*/ 47 h 79"/>
                  <a:gd name="T52" fmla="*/ 3 w 66"/>
                  <a:gd name="T53" fmla="*/ 33 h 79"/>
                  <a:gd name="T54" fmla="*/ 1 w 66"/>
                  <a:gd name="T55" fmla="*/ 31 h 79"/>
                  <a:gd name="T56" fmla="*/ 1 w 66"/>
                  <a:gd name="T57" fmla="*/ 27 h 79"/>
                  <a:gd name="T58" fmla="*/ 3 w 66"/>
                  <a:gd name="T59" fmla="*/ 25 h 79"/>
                  <a:gd name="T60" fmla="*/ 5 w 66"/>
                  <a:gd name="T61" fmla="*/ 10 h 79"/>
                  <a:gd name="T62" fmla="*/ 2 w 66"/>
                  <a:gd name="T63" fmla="*/ 10 h 79"/>
                  <a:gd name="T64" fmla="*/ 1 w 66"/>
                  <a:gd name="T65" fmla="*/ 8 h 79"/>
                  <a:gd name="T66" fmla="*/ 1 w 66"/>
                  <a:gd name="T67" fmla="*/ 5 h 79"/>
                  <a:gd name="T68" fmla="*/ 2 w 66"/>
                  <a:gd name="T69" fmla="*/ 1 h 7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66" h="79">
                    <a:moveTo>
                      <a:pt x="3" y="0"/>
                    </a:moveTo>
                    <a:lnTo>
                      <a:pt x="62" y="0"/>
                    </a:lnTo>
                    <a:lnTo>
                      <a:pt x="64" y="1"/>
                    </a:lnTo>
                    <a:lnTo>
                      <a:pt x="65" y="3"/>
                    </a:lnTo>
                    <a:lnTo>
                      <a:pt x="65" y="5"/>
                    </a:lnTo>
                    <a:lnTo>
                      <a:pt x="66" y="6"/>
                    </a:lnTo>
                    <a:lnTo>
                      <a:pt x="65" y="8"/>
                    </a:lnTo>
                    <a:lnTo>
                      <a:pt x="65" y="9"/>
                    </a:lnTo>
                    <a:lnTo>
                      <a:pt x="64" y="10"/>
                    </a:lnTo>
                    <a:lnTo>
                      <a:pt x="62" y="10"/>
                    </a:lnTo>
                    <a:lnTo>
                      <a:pt x="62" y="25"/>
                    </a:lnTo>
                    <a:lnTo>
                      <a:pt x="64" y="25"/>
                    </a:lnTo>
                    <a:lnTo>
                      <a:pt x="65" y="27"/>
                    </a:lnTo>
                    <a:lnTo>
                      <a:pt x="66" y="29"/>
                    </a:lnTo>
                    <a:lnTo>
                      <a:pt x="65" y="31"/>
                    </a:lnTo>
                    <a:lnTo>
                      <a:pt x="64" y="33"/>
                    </a:lnTo>
                    <a:lnTo>
                      <a:pt x="62" y="33"/>
                    </a:lnTo>
                    <a:lnTo>
                      <a:pt x="62" y="47"/>
                    </a:lnTo>
                    <a:lnTo>
                      <a:pt x="64" y="48"/>
                    </a:lnTo>
                    <a:lnTo>
                      <a:pt x="65" y="50"/>
                    </a:lnTo>
                    <a:lnTo>
                      <a:pt x="66" y="52"/>
                    </a:lnTo>
                    <a:lnTo>
                      <a:pt x="65" y="54"/>
                    </a:lnTo>
                    <a:lnTo>
                      <a:pt x="65" y="55"/>
                    </a:lnTo>
                    <a:lnTo>
                      <a:pt x="64" y="56"/>
                    </a:lnTo>
                    <a:lnTo>
                      <a:pt x="62" y="56"/>
                    </a:lnTo>
                    <a:lnTo>
                      <a:pt x="62" y="69"/>
                    </a:lnTo>
                    <a:lnTo>
                      <a:pt x="64" y="69"/>
                    </a:lnTo>
                    <a:lnTo>
                      <a:pt x="65" y="71"/>
                    </a:lnTo>
                    <a:lnTo>
                      <a:pt x="66" y="74"/>
                    </a:lnTo>
                    <a:lnTo>
                      <a:pt x="65" y="76"/>
                    </a:lnTo>
                    <a:lnTo>
                      <a:pt x="65" y="78"/>
                    </a:lnTo>
                    <a:lnTo>
                      <a:pt x="64" y="78"/>
                    </a:lnTo>
                    <a:lnTo>
                      <a:pt x="62" y="79"/>
                    </a:lnTo>
                    <a:lnTo>
                      <a:pt x="3" y="79"/>
                    </a:lnTo>
                    <a:lnTo>
                      <a:pt x="2" y="78"/>
                    </a:lnTo>
                    <a:lnTo>
                      <a:pt x="1" y="78"/>
                    </a:lnTo>
                    <a:lnTo>
                      <a:pt x="1" y="76"/>
                    </a:lnTo>
                    <a:lnTo>
                      <a:pt x="0" y="74"/>
                    </a:lnTo>
                    <a:lnTo>
                      <a:pt x="1" y="71"/>
                    </a:lnTo>
                    <a:lnTo>
                      <a:pt x="2" y="69"/>
                    </a:lnTo>
                    <a:lnTo>
                      <a:pt x="3" y="69"/>
                    </a:lnTo>
                    <a:lnTo>
                      <a:pt x="5" y="69"/>
                    </a:lnTo>
                    <a:lnTo>
                      <a:pt x="5" y="56"/>
                    </a:lnTo>
                    <a:lnTo>
                      <a:pt x="3" y="56"/>
                    </a:lnTo>
                    <a:lnTo>
                      <a:pt x="2" y="56"/>
                    </a:lnTo>
                    <a:lnTo>
                      <a:pt x="1" y="55"/>
                    </a:lnTo>
                    <a:lnTo>
                      <a:pt x="1" y="54"/>
                    </a:lnTo>
                    <a:lnTo>
                      <a:pt x="0" y="52"/>
                    </a:lnTo>
                    <a:lnTo>
                      <a:pt x="1" y="50"/>
                    </a:lnTo>
                    <a:lnTo>
                      <a:pt x="2" y="48"/>
                    </a:lnTo>
                    <a:lnTo>
                      <a:pt x="3" y="47"/>
                    </a:lnTo>
                    <a:lnTo>
                      <a:pt x="5" y="47"/>
                    </a:lnTo>
                    <a:lnTo>
                      <a:pt x="5" y="33"/>
                    </a:lnTo>
                    <a:lnTo>
                      <a:pt x="3" y="33"/>
                    </a:lnTo>
                    <a:lnTo>
                      <a:pt x="2" y="33"/>
                    </a:lnTo>
                    <a:lnTo>
                      <a:pt x="1" y="31"/>
                    </a:lnTo>
                    <a:lnTo>
                      <a:pt x="0" y="29"/>
                    </a:lnTo>
                    <a:lnTo>
                      <a:pt x="1" y="27"/>
                    </a:lnTo>
                    <a:lnTo>
                      <a:pt x="2" y="25"/>
                    </a:lnTo>
                    <a:lnTo>
                      <a:pt x="3" y="25"/>
                    </a:lnTo>
                    <a:lnTo>
                      <a:pt x="5" y="25"/>
                    </a:lnTo>
                    <a:lnTo>
                      <a:pt x="5" y="10"/>
                    </a:lnTo>
                    <a:lnTo>
                      <a:pt x="3" y="10"/>
                    </a:lnTo>
                    <a:lnTo>
                      <a:pt x="2" y="10"/>
                    </a:lnTo>
                    <a:lnTo>
                      <a:pt x="1" y="9"/>
                    </a:lnTo>
                    <a:lnTo>
                      <a:pt x="1" y="8"/>
                    </a:lnTo>
                    <a:lnTo>
                      <a:pt x="0" y="6"/>
                    </a:lnTo>
                    <a:lnTo>
                      <a:pt x="1" y="5"/>
                    </a:lnTo>
                    <a:lnTo>
                      <a:pt x="1" y="3"/>
                    </a:lnTo>
                    <a:lnTo>
                      <a:pt x="2" y="1"/>
                    </a:lnTo>
                    <a:lnTo>
                      <a:pt x="3"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81" name="Freeform 431"/>
              <p:cNvSpPr>
                <a:spLocks/>
              </p:cNvSpPr>
              <p:nvPr/>
            </p:nvSpPr>
            <p:spPr bwMode="auto">
              <a:xfrm>
                <a:off x="2588" y="2536"/>
                <a:ext cx="11" cy="6"/>
              </a:xfrm>
              <a:custGeom>
                <a:avLst/>
                <a:gdLst>
                  <a:gd name="T0" fmla="*/ 1 w 11"/>
                  <a:gd name="T1" fmla="*/ 0 h 6"/>
                  <a:gd name="T2" fmla="*/ 11 w 11"/>
                  <a:gd name="T3" fmla="*/ 3 h 6"/>
                  <a:gd name="T4" fmla="*/ 10 w 11"/>
                  <a:gd name="T5" fmla="*/ 6 h 6"/>
                  <a:gd name="T6" fmla="*/ 0 w 11"/>
                  <a:gd name="T7" fmla="*/ 3 h 6"/>
                  <a:gd name="T8" fmla="*/ 1 w 11"/>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 h="6">
                    <a:moveTo>
                      <a:pt x="1" y="0"/>
                    </a:moveTo>
                    <a:lnTo>
                      <a:pt x="11" y="3"/>
                    </a:lnTo>
                    <a:lnTo>
                      <a:pt x="10" y="6"/>
                    </a:lnTo>
                    <a:lnTo>
                      <a:pt x="0" y="3"/>
                    </a:lnTo>
                    <a:lnTo>
                      <a:pt x="1"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82" name="Freeform 432"/>
              <p:cNvSpPr>
                <a:spLocks noEditPoints="1"/>
              </p:cNvSpPr>
              <p:nvPr/>
            </p:nvSpPr>
            <p:spPr bwMode="auto">
              <a:xfrm>
                <a:off x="2461" y="2551"/>
                <a:ext cx="126" cy="179"/>
              </a:xfrm>
              <a:custGeom>
                <a:avLst/>
                <a:gdLst>
                  <a:gd name="T0" fmla="*/ 4 w 126"/>
                  <a:gd name="T1" fmla="*/ 168 h 179"/>
                  <a:gd name="T2" fmla="*/ 12 w 126"/>
                  <a:gd name="T3" fmla="*/ 174 h 179"/>
                  <a:gd name="T4" fmla="*/ 9 w 126"/>
                  <a:gd name="T5" fmla="*/ 179 h 179"/>
                  <a:gd name="T6" fmla="*/ 0 w 126"/>
                  <a:gd name="T7" fmla="*/ 173 h 179"/>
                  <a:gd name="T8" fmla="*/ 4 w 126"/>
                  <a:gd name="T9" fmla="*/ 168 h 179"/>
                  <a:gd name="T10" fmla="*/ 18 w 126"/>
                  <a:gd name="T11" fmla="*/ 147 h 179"/>
                  <a:gd name="T12" fmla="*/ 26 w 126"/>
                  <a:gd name="T13" fmla="*/ 154 h 179"/>
                  <a:gd name="T14" fmla="*/ 23 w 126"/>
                  <a:gd name="T15" fmla="*/ 158 h 179"/>
                  <a:gd name="T16" fmla="*/ 14 w 126"/>
                  <a:gd name="T17" fmla="*/ 151 h 179"/>
                  <a:gd name="T18" fmla="*/ 18 w 126"/>
                  <a:gd name="T19" fmla="*/ 147 h 179"/>
                  <a:gd name="T20" fmla="*/ 33 w 126"/>
                  <a:gd name="T21" fmla="*/ 126 h 179"/>
                  <a:gd name="T22" fmla="*/ 41 w 126"/>
                  <a:gd name="T23" fmla="*/ 132 h 179"/>
                  <a:gd name="T24" fmla="*/ 37 w 126"/>
                  <a:gd name="T25" fmla="*/ 137 h 179"/>
                  <a:gd name="T26" fmla="*/ 28 w 126"/>
                  <a:gd name="T27" fmla="*/ 131 h 179"/>
                  <a:gd name="T28" fmla="*/ 33 w 126"/>
                  <a:gd name="T29" fmla="*/ 126 h 179"/>
                  <a:gd name="T30" fmla="*/ 47 w 126"/>
                  <a:gd name="T31" fmla="*/ 105 h 179"/>
                  <a:gd name="T32" fmla="*/ 55 w 126"/>
                  <a:gd name="T33" fmla="*/ 112 h 179"/>
                  <a:gd name="T34" fmla="*/ 52 w 126"/>
                  <a:gd name="T35" fmla="*/ 116 h 179"/>
                  <a:gd name="T36" fmla="*/ 43 w 126"/>
                  <a:gd name="T37" fmla="*/ 109 h 179"/>
                  <a:gd name="T38" fmla="*/ 47 w 126"/>
                  <a:gd name="T39" fmla="*/ 105 h 179"/>
                  <a:gd name="T40" fmla="*/ 61 w 126"/>
                  <a:gd name="T41" fmla="*/ 84 h 179"/>
                  <a:gd name="T42" fmla="*/ 69 w 126"/>
                  <a:gd name="T43" fmla="*/ 90 h 179"/>
                  <a:gd name="T44" fmla="*/ 66 w 126"/>
                  <a:gd name="T45" fmla="*/ 95 h 179"/>
                  <a:gd name="T46" fmla="*/ 57 w 126"/>
                  <a:gd name="T47" fmla="*/ 89 h 179"/>
                  <a:gd name="T48" fmla="*/ 61 w 126"/>
                  <a:gd name="T49" fmla="*/ 84 h 179"/>
                  <a:gd name="T50" fmla="*/ 75 w 126"/>
                  <a:gd name="T51" fmla="*/ 63 h 179"/>
                  <a:gd name="T52" fmla="*/ 83 w 126"/>
                  <a:gd name="T53" fmla="*/ 70 h 179"/>
                  <a:gd name="T54" fmla="*/ 80 w 126"/>
                  <a:gd name="T55" fmla="*/ 74 h 179"/>
                  <a:gd name="T56" fmla="*/ 71 w 126"/>
                  <a:gd name="T57" fmla="*/ 67 h 179"/>
                  <a:gd name="T58" fmla="*/ 75 w 126"/>
                  <a:gd name="T59" fmla="*/ 63 h 179"/>
                  <a:gd name="T60" fmla="*/ 90 w 126"/>
                  <a:gd name="T61" fmla="*/ 42 h 179"/>
                  <a:gd name="T62" fmla="*/ 98 w 126"/>
                  <a:gd name="T63" fmla="*/ 48 h 179"/>
                  <a:gd name="T64" fmla="*/ 94 w 126"/>
                  <a:gd name="T65" fmla="*/ 53 h 179"/>
                  <a:gd name="T66" fmla="*/ 85 w 126"/>
                  <a:gd name="T67" fmla="*/ 47 h 179"/>
                  <a:gd name="T68" fmla="*/ 90 w 126"/>
                  <a:gd name="T69" fmla="*/ 42 h 179"/>
                  <a:gd name="T70" fmla="*/ 104 w 126"/>
                  <a:gd name="T71" fmla="*/ 21 h 179"/>
                  <a:gd name="T72" fmla="*/ 112 w 126"/>
                  <a:gd name="T73" fmla="*/ 28 h 179"/>
                  <a:gd name="T74" fmla="*/ 108 w 126"/>
                  <a:gd name="T75" fmla="*/ 32 h 179"/>
                  <a:gd name="T76" fmla="*/ 99 w 126"/>
                  <a:gd name="T77" fmla="*/ 25 h 179"/>
                  <a:gd name="T78" fmla="*/ 104 w 126"/>
                  <a:gd name="T79" fmla="*/ 21 h 179"/>
                  <a:gd name="T80" fmla="*/ 118 w 126"/>
                  <a:gd name="T81" fmla="*/ 0 h 179"/>
                  <a:gd name="T82" fmla="*/ 126 w 126"/>
                  <a:gd name="T83" fmla="*/ 6 h 179"/>
                  <a:gd name="T84" fmla="*/ 123 w 126"/>
                  <a:gd name="T85" fmla="*/ 11 h 179"/>
                  <a:gd name="T86" fmla="*/ 114 w 126"/>
                  <a:gd name="T87" fmla="*/ 5 h 179"/>
                  <a:gd name="T88" fmla="*/ 118 w 126"/>
                  <a:gd name="T89" fmla="*/ 0 h 17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6" h="179">
                    <a:moveTo>
                      <a:pt x="4" y="168"/>
                    </a:moveTo>
                    <a:lnTo>
                      <a:pt x="12" y="174"/>
                    </a:lnTo>
                    <a:lnTo>
                      <a:pt x="9" y="179"/>
                    </a:lnTo>
                    <a:lnTo>
                      <a:pt x="0" y="173"/>
                    </a:lnTo>
                    <a:lnTo>
                      <a:pt x="4" y="168"/>
                    </a:lnTo>
                    <a:close/>
                    <a:moveTo>
                      <a:pt x="18" y="147"/>
                    </a:moveTo>
                    <a:lnTo>
                      <a:pt x="26" y="154"/>
                    </a:lnTo>
                    <a:lnTo>
                      <a:pt x="23" y="158"/>
                    </a:lnTo>
                    <a:lnTo>
                      <a:pt x="14" y="151"/>
                    </a:lnTo>
                    <a:lnTo>
                      <a:pt x="18" y="147"/>
                    </a:lnTo>
                    <a:close/>
                    <a:moveTo>
                      <a:pt x="33" y="126"/>
                    </a:moveTo>
                    <a:lnTo>
                      <a:pt x="41" y="132"/>
                    </a:lnTo>
                    <a:lnTo>
                      <a:pt x="37" y="137"/>
                    </a:lnTo>
                    <a:lnTo>
                      <a:pt x="28" y="131"/>
                    </a:lnTo>
                    <a:lnTo>
                      <a:pt x="33" y="126"/>
                    </a:lnTo>
                    <a:close/>
                    <a:moveTo>
                      <a:pt x="47" y="105"/>
                    </a:moveTo>
                    <a:lnTo>
                      <a:pt x="55" y="112"/>
                    </a:lnTo>
                    <a:lnTo>
                      <a:pt x="52" y="116"/>
                    </a:lnTo>
                    <a:lnTo>
                      <a:pt x="43" y="109"/>
                    </a:lnTo>
                    <a:lnTo>
                      <a:pt x="47" y="105"/>
                    </a:lnTo>
                    <a:close/>
                    <a:moveTo>
                      <a:pt x="61" y="84"/>
                    </a:moveTo>
                    <a:lnTo>
                      <a:pt x="69" y="90"/>
                    </a:lnTo>
                    <a:lnTo>
                      <a:pt x="66" y="95"/>
                    </a:lnTo>
                    <a:lnTo>
                      <a:pt x="57" y="89"/>
                    </a:lnTo>
                    <a:lnTo>
                      <a:pt x="61" y="84"/>
                    </a:lnTo>
                    <a:close/>
                    <a:moveTo>
                      <a:pt x="75" y="63"/>
                    </a:moveTo>
                    <a:lnTo>
                      <a:pt x="83" y="70"/>
                    </a:lnTo>
                    <a:lnTo>
                      <a:pt x="80" y="74"/>
                    </a:lnTo>
                    <a:lnTo>
                      <a:pt x="71" y="67"/>
                    </a:lnTo>
                    <a:lnTo>
                      <a:pt x="75" y="63"/>
                    </a:lnTo>
                    <a:close/>
                    <a:moveTo>
                      <a:pt x="90" y="42"/>
                    </a:moveTo>
                    <a:lnTo>
                      <a:pt x="98" y="48"/>
                    </a:lnTo>
                    <a:lnTo>
                      <a:pt x="94" y="53"/>
                    </a:lnTo>
                    <a:lnTo>
                      <a:pt x="85" y="47"/>
                    </a:lnTo>
                    <a:lnTo>
                      <a:pt x="90" y="42"/>
                    </a:lnTo>
                    <a:close/>
                    <a:moveTo>
                      <a:pt x="104" y="21"/>
                    </a:moveTo>
                    <a:lnTo>
                      <a:pt x="112" y="28"/>
                    </a:lnTo>
                    <a:lnTo>
                      <a:pt x="108" y="32"/>
                    </a:lnTo>
                    <a:lnTo>
                      <a:pt x="99" y="25"/>
                    </a:lnTo>
                    <a:lnTo>
                      <a:pt x="104" y="21"/>
                    </a:lnTo>
                    <a:close/>
                    <a:moveTo>
                      <a:pt x="118" y="0"/>
                    </a:moveTo>
                    <a:lnTo>
                      <a:pt x="126" y="6"/>
                    </a:lnTo>
                    <a:lnTo>
                      <a:pt x="123" y="11"/>
                    </a:lnTo>
                    <a:lnTo>
                      <a:pt x="114" y="5"/>
                    </a:lnTo>
                    <a:lnTo>
                      <a:pt x="118"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83" name="Freeform 433"/>
              <p:cNvSpPr>
                <a:spLocks/>
              </p:cNvSpPr>
              <p:nvPr/>
            </p:nvSpPr>
            <p:spPr bwMode="auto">
              <a:xfrm>
                <a:off x="2447" y="2743"/>
                <a:ext cx="10" cy="7"/>
              </a:xfrm>
              <a:custGeom>
                <a:avLst/>
                <a:gdLst>
                  <a:gd name="T0" fmla="*/ 1 w 10"/>
                  <a:gd name="T1" fmla="*/ 0 h 7"/>
                  <a:gd name="T2" fmla="*/ 10 w 10"/>
                  <a:gd name="T3" fmla="*/ 5 h 7"/>
                  <a:gd name="T4" fmla="*/ 9 w 10"/>
                  <a:gd name="T5" fmla="*/ 7 h 7"/>
                  <a:gd name="T6" fmla="*/ 0 w 10"/>
                  <a:gd name="T7" fmla="*/ 3 h 7"/>
                  <a:gd name="T8" fmla="*/ 1 w 10"/>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7">
                    <a:moveTo>
                      <a:pt x="1" y="0"/>
                    </a:moveTo>
                    <a:lnTo>
                      <a:pt x="10" y="5"/>
                    </a:lnTo>
                    <a:lnTo>
                      <a:pt x="9" y="7"/>
                    </a:lnTo>
                    <a:lnTo>
                      <a:pt x="0" y="3"/>
                    </a:lnTo>
                    <a:lnTo>
                      <a:pt x="1"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84" name="Freeform 434"/>
              <p:cNvSpPr>
                <a:spLocks/>
              </p:cNvSpPr>
              <p:nvPr/>
            </p:nvSpPr>
            <p:spPr bwMode="auto">
              <a:xfrm>
                <a:off x="2493" y="1969"/>
                <a:ext cx="174" cy="176"/>
              </a:xfrm>
              <a:custGeom>
                <a:avLst/>
                <a:gdLst>
                  <a:gd name="T0" fmla="*/ 87 w 174"/>
                  <a:gd name="T1" fmla="*/ 0 h 176"/>
                  <a:gd name="T2" fmla="*/ 110 w 174"/>
                  <a:gd name="T3" fmla="*/ 3 h 176"/>
                  <a:gd name="T4" fmla="*/ 131 w 174"/>
                  <a:gd name="T5" fmla="*/ 12 h 176"/>
                  <a:gd name="T6" fmla="*/ 149 w 174"/>
                  <a:gd name="T7" fmla="*/ 26 h 176"/>
                  <a:gd name="T8" fmla="*/ 162 w 174"/>
                  <a:gd name="T9" fmla="*/ 44 h 176"/>
                  <a:gd name="T10" fmla="*/ 171 w 174"/>
                  <a:gd name="T11" fmla="*/ 65 h 176"/>
                  <a:gd name="T12" fmla="*/ 174 w 174"/>
                  <a:gd name="T13" fmla="*/ 87 h 176"/>
                  <a:gd name="T14" fmla="*/ 171 w 174"/>
                  <a:gd name="T15" fmla="*/ 111 h 176"/>
                  <a:gd name="T16" fmla="*/ 162 w 174"/>
                  <a:gd name="T17" fmla="*/ 132 h 176"/>
                  <a:gd name="T18" fmla="*/ 149 w 174"/>
                  <a:gd name="T19" fmla="*/ 150 h 176"/>
                  <a:gd name="T20" fmla="*/ 131 w 174"/>
                  <a:gd name="T21" fmla="*/ 164 h 176"/>
                  <a:gd name="T22" fmla="*/ 110 w 174"/>
                  <a:gd name="T23" fmla="*/ 172 h 176"/>
                  <a:gd name="T24" fmla="*/ 87 w 174"/>
                  <a:gd name="T25" fmla="*/ 176 h 176"/>
                  <a:gd name="T26" fmla="*/ 64 w 174"/>
                  <a:gd name="T27" fmla="*/ 172 h 176"/>
                  <a:gd name="T28" fmla="*/ 43 w 174"/>
                  <a:gd name="T29" fmla="*/ 164 h 176"/>
                  <a:gd name="T30" fmla="*/ 25 w 174"/>
                  <a:gd name="T31" fmla="*/ 150 h 176"/>
                  <a:gd name="T32" fmla="*/ 11 w 174"/>
                  <a:gd name="T33" fmla="*/ 132 h 176"/>
                  <a:gd name="T34" fmla="*/ 3 w 174"/>
                  <a:gd name="T35" fmla="*/ 111 h 176"/>
                  <a:gd name="T36" fmla="*/ 0 w 174"/>
                  <a:gd name="T37" fmla="*/ 87 h 176"/>
                  <a:gd name="T38" fmla="*/ 3 w 174"/>
                  <a:gd name="T39" fmla="*/ 65 h 176"/>
                  <a:gd name="T40" fmla="*/ 11 w 174"/>
                  <a:gd name="T41" fmla="*/ 44 h 176"/>
                  <a:gd name="T42" fmla="*/ 25 w 174"/>
                  <a:gd name="T43" fmla="*/ 26 h 176"/>
                  <a:gd name="T44" fmla="*/ 43 w 174"/>
                  <a:gd name="T45" fmla="*/ 12 h 176"/>
                  <a:gd name="T46" fmla="*/ 64 w 174"/>
                  <a:gd name="T47" fmla="*/ 3 h 176"/>
                  <a:gd name="T48" fmla="*/ 87 w 174"/>
                  <a:gd name="T49" fmla="*/ 0 h 17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74" h="176">
                    <a:moveTo>
                      <a:pt x="87" y="0"/>
                    </a:moveTo>
                    <a:lnTo>
                      <a:pt x="110" y="3"/>
                    </a:lnTo>
                    <a:lnTo>
                      <a:pt x="131" y="12"/>
                    </a:lnTo>
                    <a:lnTo>
                      <a:pt x="149" y="26"/>
                    </a:lnTo>
                    <a:lnTo>
                      <a:pt x="162" y="44"/>
                    </a:lnTo>
                    <a:lnTo>
                      <a:pt x="171" y="65"/>
                    </a:lnTo>
                    <a:lnTo>
                      <a:pt x="174" y="87"/>
                    </a:lnTo>
                    <a:lnTo>
                      <a:pt x="171" y="111"/>
                    </a:lnTo>
                    <a:lnTo>
                      <a:pt x="162" y="132"/>
                    </a:lnTo>
                    <a:lnTo>
                      <a:pt x="149" y="150"/>
                    </a:lnTo>
                    <a:lnTo>
                      <a:pt x="131" y="164"/>
                    </a:lnTo>
                    <a:lnTo>
                      <a:pt x="110" y="172"/>
                    </a:lnTo>
                    <a:lnTo>
                      <a:pt x="87" y="176"/>
                    </a:lnTo>
                    <a:lnTo>
                      <a:pt x="64" y="172"/>
                    </a:lnTo>
                    <a:lnTo>
                      <a:pt x="43" y="164"/>
                    </a:lnTo>
                    <a:lnTo>
                      <a:pt x="25" y="150"/>
                    </a:lnTo>
                    <a:lnTo>
                      <a:pt x="11" y="132"/>
                    </a:lnTo>
                    <a:lnTo>
                      <a:pt x="3" y="111"/>
                    </a:lnTo>
                    <a:lnTo>
                      <a:pt x="0" y="87"/>
                    </a:lnTo>
                    <a:lnTo>
                      <a:pt x="3" y="65"/>
                    </a:lnTo>
                    <a:lnTo>
                      <a:pt x="11" y="44"/>
                    </a:lnTo>
                    <a:lnTo>
                      <a:pt x="25" y="26"/>
                    </a:lnTo>
                    <a:lnTo>
                      <a:pt x="43" y="12"/>
                    </a:lnTo>
                    <a:lnTo>
                      <a:pt x="64" y="3"/>
                    </a:lnTo>
                    <a:lnTo>
                      <a:pt x="87" y="0"/>
                    </a:lnTo>
                    <a:close/>
                  </a:path>
                </a:pathLst>
              </a:custGeom>
              <a:solidFill>
                <a:srgbClr val="29426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85" name="Freeform 435"/>
              <p:cNvSpPr>
                <a:spLocks noEditPoints="1"/>
              </p:cNvSpPr>
              <p:nvPr/>
            </p:nvSpPr>
            <p:spPr bwMode="auto">
              <a:xfrm>
                <a:off x="2488" y="1963"/>
                <a:ext cx="185" cy="186"/>
              </a:xfrm>
              <a:custGeom>
                <a:avLst/>
                <a:gdLst>
                  <a:gd name="T0" fmla="*/ 93 w 185"/>
                  <a:gd name="T1" fmla="*/ 11 h 186"/>
                  <a:gd name="T2" fmla="*/ 71 w 185"/>
                  <a:gd name="T3" fmla="*/ 14 h 186"/>
                  <a:gd name="T4" fmla="*/ 52 w 185"/>
                  <a:gd name="T5" fmla="*/ 22 h 186"/>
                  <a:gd name="T6" fmla="*/ 35 w 185"/>
                  <a:gd name="T7" fmla="*/ 35 h 186"/>
                  <a:gd name="T8" fmla="*/ 22 w 185"/>
                  <a:gd name="T9" fmla="*/ 52 h 186"/>
                  <a:gd name="T10" fmla="*/ 13 w 185"/>
                  <a:gd name="T11" fmla="*/ 72 h 186"/>
                  <a:gd name="T12" fmla="*/ 11 w 185"/>
                  <a:gd name="T13" fmla="*/ 93 h 186"/>
                  <a:gd name="T14" fmla="*/ 13 w 185"/>
                  <a:gd name="T15" fmla="*/ 114 h 186"/>
                  <a:gd name="T16" fmla="*/ 22 w 185"/>
                  <a:gd name="T17" fmla="*/ 133 h 186"/>
                  <a:gd name="T18" fmla="*/ 35 w 185"/>
                  <a:gd name="T19" fmla="*/ 151 h 186"/>
                  <a:gd name="T20" fmla="*/ 52 w 185"/>
                  <a:gd name="T21" fmla="*/ 164 h 186"/>
                  <a:gd name="T22" fmla="*/ 71 w 185"/>
                  <a:gd name="T23" fmla="*/ 172 h 186"/>
                  <a:gd name="T24" fmla="*/ 93 w 185"/>
                  <a:gd name="T25" fmla="*/ 175 h 186"/>
                  <a:gd name="T26" fmla="*/ 114 w 185"/>
                  <a:gd name="T27" fmla="*/ 172 h 186"/>
                  <a:gd name="T28" fmla="*/ 135 w 185"/>
                  <a:gd name="T29" fmla="*/ 164 h 186"/>
                  <a:gd name="T30" fmla="*/ 152 w 185"/>
                  <a:gd name="T31" fmla="*/ 151 h 186"/>
                  <a:gd name="T32" fmla="*/ 165 w 185"/>
                  <a:gd name="T33" fmla="*/ 133 h 186"/>
                  <a:gd name="T34" fmla="*/ 172 w 185"/>
                  <a:gd name="T35" fmla="*/ 114 h 186"/>
                  <a:gd name="T36" fmla="*/ 176 w 185"/>
                  <a:gd name="T37" fmla="*/ 93 h 186"/>
                  <a:gd name="T38" fmla="*/ 172 w 185"/>
                  <a:gd name="T39" fmla="*/ 72 h 186"/>
                  <a:gd name="T40" fmla="*/ 165 w 185"/>
                  <a:gd name="T41" fmla="*/ 52 h 186"/>
                  <a:gd name="T42" fmla="*/ 152 w 185"/>
                  <a:gd name="T43" fmla="*/ 35 h 186"/>
                  <a:gd name="T44" fmla="*/ 135 w 185"/>
                  <a:gd name="T45" fmla="*/ 22 h 186"/>
                  <a:gd name="T46" fmla="*/ 114 w 185"/>
                  <a:gd name="T47" fmla="*/ 14 h 186"/>
                  <a:gd name="T48" fmla="*/ 93 w 185"/>
                  <a:gd name="T49" fmla="*/ 11 h 186"/>
                  <a:gd name="T50" fmla="*/ 93 w 185"/>
                  <a:gd name="T51" fmla="*/ 0 h 186"/>
                  <a:gd name="T52" fmla="*/ 112 w 185"/>
                  <a:gd name="T53" fmla="*/ 2 h 186"/>
                  <a:gd name="T54" fmla="*/ 128 w 185"/>
                  <a:gd name="T55" fmla="*/ 7 h 186"/>
                  <a:gd name="T56" fmla="*/ 144 w 185"/>
                  <a:gd name="T57" fmla="*/ 16 h 186"/>
                  <a:gd name="T58" fmla="*/ 158 w 185"/>
                  <a:gd name="T59" fmla="*/ 26 h 186"/>
                  <a:gd name="T60" fmla="*/ 170 w 185"/>
                  <a:gd name="T61" fmla="*/ 42 h 186"/>
                  <a:gd name="T62" fmla="*/ 178 w 185"/>
                  <a:gd name="T63" fmla="*/ 58 h 186"/>
                  <a:gd name="T64" fmla="*/ 183 w 185"/>
                  <a:gd name="T65" fmla="*/ 75 h 186"/>
                  <a:gd name="T66" fmla="*/ 185 w 185"/>
                  <a:gd name="T67" fmla="*/ 93 h 186"/>
                  <a:gd name="T68" fmla="*/ 183 w 185"/>
                  <a:gd name="T69" fmla="*/ 112 h 186"/>
                  <a:gd name="T70" fmla="*/ 178 w 185"/>
                  <a:gd name="T71" fmla="*/ 129 h 186"/>
                  <a:gd name="T72" fmla="*/ 170 w 185"/>
                  <a:gd name="T73" fmla="*/ 145 h 186"/>
                  <a:gd name="T74" fmla="*/ 158 w 185"/>
                  <a:gd name="T75" fmla="*/ 159 h 186"/>
                  <a:gd name="T76" fmla="*/ 144 w 185"/>
                  <a:gd name="T77" fmla="*/ 171 h 186"/>
                  <a:gd name="T78" fmla="*/ 128 w 185"/>
                  <a:gd name="T79" fmla="*/ 178 h 186"/>
                  <a:gd name="T80" fmla="*/ 112 w 185"/>
                  <a:gd name="T81" fmla="*/ 184 h 186"/>
                  <a:gd name="T82" fmla="*/ 93 w 185"/>
                  <a:gd name="T83" fmla="*/ 186 h 186"/>
                  <a:gd name="T84" fmla="*/ 69 w 185"/>
                  <a:gd name="T85" fmla="*/ 183 h 186"/>
                  <a:gd name="T86" fmla="*/ 48 w 185"/>
                  <a:gd name="T87" fmla="*/ 174 h 186"/>
                  <a:gd name="T88" fmla="*/ 28 w 185"/>
                  <a:gd name="T89" fmla="*/ 159 h 186"/>
                  <a:gd name="T90" fmla="*/ 13 w 185"/>
                  <a:gd name="T91" fmla="*/ 140 h 186"/>
                  <a:gd name="T92" fmla="*/ 3 w 185"/>
                  <a:gd name="T93" fmla="*/ 117 h 186"/>
                  <a:gd name="T94" fmla="*/ 0 w 185"/>
                  <a:gd name="T95" fmla="*/ 93 h 186"/>
                  <a:gd name="T96" fmla="*/ 1 w 185"/>
                  <a:gd name="T97" fmla="*/ 75 h 186"/>
                  <a:gd name="T98" fmla="*/ 8 w 185"/>
                  <a:gd name="T99" fmla="*/ 58 h 186"/>
                  <a:gd name="T100" fmla="*/ 16 w 185"/>
                  <a:gd name="T101" fmla="*/ 42 h 186"/>
                  <a:gd name="T102" fmla="*/ 28 w 185"/>
                  <a:gd name="T103" fmla="*/ 26 h 186"/>
                  <a:gd name="T104" fmla="*/ 48 w 185"/>
                  <a:gd name="T105" fmla="*/ 12 h 186"/>
                  <a:gd name="T106" fmla="*/ 69 w 185"/>
                  <a:gd name="T107" fmla="*/ 3 h 186"/>
                  <a:gd name="T108" fmla="*/ 93 w 185"/>
                  <a:gd name="T109" fmla="*/ 0 h 18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85" h="186">
                    <a:moveTo>
                      <a:pt x="93" y="11"/>
                    </a:moveTo>
                    <a:lnTo>
                      <a:pt x="71" y="14"/>
                    </a:lnTo>
                    <a:lnTo>
                      <a:pt x="52" y="22"/>
                    </a:lnTo>
                    <a:lnTo>
                      <a:pt x="35" y="35"/>
                    </a:lnTo>
                    <a:lnTo>
                      <a:pt x="22" y="52"/>
                    </a:lnTo>
                    <a:lnTo>
                      <a:pt x="13" y="72"/>
                    </a:lnTo>
                    <a:lnTo>
                      <a:pt x="11" y="93"/>
                    </a:lnTo>
                    <a:lnTo>
                      <a:pt x="13" y="114"/>
                    </a:lnTo>
                    <a:lnTo>
                      <a:pt x="22" y="133"/>
                    </a:lnTo>
                    <a:lnTo>
                      <a:pt x="35" y="151"/>
                    </a:lnTo>
                    <a:lnTo>
                      <a:pt x="52" y="164"/>
                    </a:lnTo>
                    <a:lnTo>
                      <a:pt x="71" y="172"/>
                    </a:lnTo>
                    <a:lnTo>
                      <a:pt x="93" y="175"/>
                    </a:lnTo>
                    <a:lnTo>
                      <a:pt x="114" y="172"/>
                    </a:lnTo>
                    <a:lnTo>
                      <a:pt x="135" y="164"/>
                    </a:lnTo>
                    <a:lnTo>
                      <a:pt x="152" y="151"/>
                    </a:lnTo>
                    <a:lnTo>
                      <a:pt x="165" y="133"/>
                    </a:lnTo>
                    <a:lnTo>
                      <a:pt x="172" y="114"/>
                    </a:lnTo>
                    <a:lnTo>
                      <a:pt x="176" y="93"/>
                    </a:lnTo>
                    <a:lnTo>
                      <a:pt x="172" y="72"/>
                    </a:lnTo>
                    <a:lnTo>
                      <a:pt x="165" y="52"/>
                    </a:lnTo>
                    <a:lnTo>
                      <a:pt x="152" y="35"/>
                    </a:lnTo>
                    <a:lnTo>
                      <a:pt x="135" y="22"/>
                    </a:lnTo>
                    <a:lnTo>
                      <a:pt x="114" y="14"/>
                    </a:lnTo>
                    <a:lnTo>
                      <a:pt x="93" y="11"/>
                    </a:lnTo>
                    <a:close/>
                    <a:moveTo>
                      <a:pt x="93" y="0"/>
                    </a:moveTo>
                    <a:lnTo>
                      <a:pt x="112" y="2"/>
                    </a:lnTo>
                    <a:lnTo>
                      <a:pt x="128" y="7"/>
                    </a:lnTo>
                    <a:lnTo>
                      <a:pt x="144" y="16"/>
                    </a:lnTo>
                    <a:lnTo>
                      <a:pt x="158" y="26"/>
                    </a:lnTo>
                    <a:lnTo>
                      <a:pt x="170" y="42"/>
                    </a:lnTo>
                    <a:lnTo>
                      <a:pt x="178" y="58"/>
                    </a:lnTo>
                    <a:lnTo>
                      <a:pt x="183" y="75"/>
                    </a:lnTo>
                    <a:lnTo>
                      <a:pt x="185" y="93"/>
                    </a:lnTo>
                    <a:lnTo>
                      <a:pt x="183" y="112"/>
                    </a:lnTo>
                    <a:lnTo>
                      <a:pt x="178" y="129"/>
                    </a:lnTo>
                    <a:lnTo>
                      <a:pt x="170" y="145"/>
                    </a:lnTo>
                    <a:lnTo>
                      <a:pt x="158" y="159"/>
                    </a:lnTo>
                    <a:lnTo>
                      <a:pt x="144" y="171"/>
                    </a:lnTo>
                    <a:lnTo>
                      <a:pt x="128" y="178"/>
                    </a:lnTo>
                    <a:lnTo>
                      <a:pt x="112" y="184"/>
                    </a:lnTo>
                    <a:lnTo>
                      <a:pt x="93" y="186"/>
                    </a:lnTo>
                    <a:lnTo>
                      <a:pt x="69" y="183"/>
                    </a:lnTo>
                    <a:lnTo>
                      <a:pt x="48" y="174"/>
                    </a:lnTo>
                    <a:lnTo>
                      <a:pt x="28" y="159"/>
                    </a:lnTo>
                    <a:lnTo>
                      <a:pt x="13" y="140"/>
                    </a:lnTo>
                    <a:lnTo>
                      <a:pt x="3" y="117"/>
                    </a:lnTo>
                    <a:lnTo>
                      <a:pt x="0" y="93"/>
                    </a:lnTo>
                    <a:lnTo>
                      <a:pt x="1" y="75"/>
                    </a:lnTo>
                    <a:lnTo>
                      <a:pt x="8" y="58"/>
                    </a:lnTo>
                    <a:lnTo>
                      <a:pt x="16" y="42"/>
                    </a:lnTo>
                    <a:lnTo>
                      <a:pt x="28" y="26"/>
                    </a:lnTo>
                    <a:lnTo>
                      <a:pt x="48" y="12"/>
                    </a:lnTo>
                    <a:lnTo>
                      <a:pt x="69" y="3"/>
                    </a:lnTo>
                    <a:lnTo>
                      <a:pt x="93" y="0"/>
                    </a:lnTo>
                    <a:close/>
                  </a:path>
                </a:pathLst>
              </a:custGeom>
              <a:solidFill>
                <a:srgbClr val="5F8AC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86" name="Freeform 436"/>
              <p:cNvSpPr>
                <a:spLocks/>
              </p:cNvSpPr>
              <p:nvPr/>
            </p:nvSpPr>
            <p:spPr bwMode="auto">
              <a:xfrm>
                <a:off x="2556" y="2002"/>
                <a:ext cx="53" cy="101"/>
              </a:xfrm>
              <a:custGeom>
                <a:avLst/>
                <a:gdLst>
                  <a:gd name="T0" fmla="*/ 28 w 53"/>
                  <a:gd name="T1" fmla="*/ 3 h 101"/>
                  <a:gd name="T2" fmla="*/ 34 w 53"/>
                  <a:gd name="T3" fmla="*/ 13 h 101"/>
                  <a:gd name="T4" fmla="*/ 42 w 53"/>
                  <a:gd name="T5" fmla="*/ 27 h 101"/>
                  <a:gd name="T6" fmla="*/ 43 w 53"/>
                  <a:gd name="T7" fmla="*/ 40 h 101"/>
                  <a:gd name="T8" fmla="*/ 34 w 53"/>
                  <a:gd name="T9" fmla="*/ 55 h 101"/>
                  <a:gd name="T10" fmla="*/ 27 w 53"/>
                  <a:gd name="T11" fmla="*/ 66 h 101"/>
                  <a:gd name="T12" fmla="*/ 22 w 53"/>
                  <a:gd name="T13" fmla="*/ 76 h 101"/>
                  <a:gd name="T14" fmla="*/ 18 w 53"/>
                  <a:gd name="T15" fmla="*/ 84 h 101"/>
                  <a:gd name="T16" fmla="*/ 19 w 53"/>
                  <a:gd name="T17" fmla="*/ 88 h 101"/>
                  <a:gd name="T18" fmla="*/ 22 w 53"/>
                  <a:gd name="T19" fmla="*/ 89 h 101"/>
                  <a:gd name="T20" fmla="*/ 25 w 53"/>
                  <a:gd name="T21" fmla="*/ 89 h 101"/>
                  <a:gd name="T22" fmla="*/ 30 w 53"/>
                  <a:gd name="T23" fmla="*/ 85 h 101"/>
                  <a:gd name="T24" fmla="*/ 34 w 53"/>
                  <a:gd name="T25" fmla="*/ 80 h 101"/>
                  <a:gd name="T26" fmla="*/ 43 w 53"/>
                  <a:gd name="T27" fmla="*/ 66 h 101"/>
                  <a:gd name="T28" fmla="*/ 47 w 53"/>
                  <a:gd name="T29" fmla="*/ 42 h 101"/>
                  <a:gd name="T30" fmla="*/ 51 w 53"/>
                  <a:gd name="T31" fmla="*/ 50 h 101"/>
                  <a:gd name="T32" fmla="*/ 53 w 53"/>
                  <a:gd name="T33" fmla="*/ 71 h 101"/>
                  <a:gd name="T34" fmla="*/ 39 w 53"/>
                  <a:gd name="T35" fmla="*/ 94 h 101"/>
                  <a:gd name="T36" fmla="*/ 26 w 53"/>
                  <a:gd name="T37" fmla="*/ 101 h 101"/>
                  <a:gd name="T38" fmla="*/ 19 w 53"/>
                  <a:gd name="T39" fmla="*/ 98 h 101"/>
                  <a:gd name="T40" fmla="*/ 18 w 53"/>
                  <a:gd name="T41" fmla="*/ 97 h 101"/>
                  <a:gd name="T42" fmla="*/ 15 w 53"/>
                  <a:gd name="T43" fmla="*/ 94 h 101"/>
                  <a:gd name="T44" fmla="*/ 12 w 53"/>
                  <a:gd name="T45" fmla="*/ 89 h 101"/>
                  <a:gd name="T46" fmla="*/ 11 w 53"/>
                  <a:gd name="T47" fmla="*/ 82 h 101"/>
                  <a:gd name="T48" fmla="*/ 15 w 53"/>
                  <a:gd name="T49" fmla="*/ 63 h 101"/>
                  <a:gd name="T50" fmla="*/ 22 w 53"/>
                  <a:gd name="T51" fmla="*/ 50 h 101"/>
                  <a:gd name="T52" fmla="*/ 30 w 53"/>
                  <a:gd name="T53" fmla="*/ 36 h 101"/>
                  <a:gd name="T54" fmla="*/ 33 w 53"/>
                  <a:gd name="T55" fmla="*/ 23 h 101"/>
                  <a:gd name="T56" fmla="*/ 29 w 53"/>
                  <a:gd name="T57" fmla="*/ 28 h 101"/>
                  <a:gd name="T58" fmla="*/ 22 w 53"/>
                  <a:gd name="T59" fmla="*/ 39 h 101"/>
                  <a:gd name="T60" fmla="*/ 15 w 53"/>
                  <a:gd name="T61" fmla="*/ 49 h 101"/>
                  <a:gd name="T62" fmla="*/ 8 w 53"/>
                  <a:gd name="T63" fmla="*/ 65 h 101"/>
                  <a:gd name="T64" fmla="*/ 8 w 53"/>
                  <a:gd name="T65" fmla="*/ 80 h 101"/>
                  <a:gd name="T66" fmla="*/ 2 w 53"/>
                  <a:gd name="T67" fmla="*/ 73 h 101"/>
                  <a:gd name="T68" fmla="*/ 0 w 53"/>
                  <a:gd name="T69" fmla="*/ 56 h 101"/>
                  <a:gd name="T70" fmla="*/ 11 w 53"/>
                  <a:gd name="T71" fmla="*/ 36 h 101"/>
                  <a:gd name="T72" fmla="*/ 16 w 53"/>
                  <a:gd name="T73" fmla="*/ 28 h 101"/>
                  <a:gd name="T74" fmla="*/ 24 w 53"/>
                  <a:gd name="T75" fmla="*/ 15 h 101"/>
                  <a:gd name="T76" fmla="*/ 27 w 53"/>
                  <a:gd name="T77" fmla="*/ 0 h 1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101">
                    <a:moveTo>
                      <a:pt x="27" y="0"/>
                    </a:moveTo>
                    <a:lnTo>
                      <a:pt x="28" y="3"/>
                    </a:lnTo>
                    <a:lnTo>
                      <a:pt x="31" y="7"/>
                    </a:lnTo>
                    <a:lnTo>
                      <a:pt x="34" y="13"/>
                    </a:lnTo>
                    <a:lnTo>
                      <a:pt x="39" y="21"/>
                    </a:lnTo>
                    <a:lnTo>
                      <a:pt x="42" y="27"/>
                    </a:lnTo>
                    <a:lnTo>
                      <a:pt x="44" y="33"/>
                    </a:lnTo>
                    <a:lnTo>
                      <a:pt x="43" y="40"/>
                    </a:lnTo>
                    <a:lnTo>
                      <a:pt x="39" y="48"/>
                    </a:lnTo>
                    <a:lnTo>
                      <a:pt x="34" y="55"/>
                    </a:lnTo>
                    <a:lnTo>
                      <a:pt x="30" y="62"/>
                    </a:lnTo>
                    <a:lnTo>
                      <a:pt x="27" y="66"/>
                    </a:lnTo>
                    <a:lnTo>
                      <a:pt x="25" y="70"/>
                    </a:lnTo>
                    <a:lnTo>
                      <a:pt x="22" y="76"/>
                    </a:lnTo>
                    <a:lnTo>
                      <a:pt x="19" y="81"/>
                    </a:lnTo>
                    <a:lnTo>
                      <a:pt x="18" y="84"/>
                    </a:lnTo>
                    <a:lnTo>
                      <a:pt x="19" y="85"/>
                    </a:lnTo>
                    <a:lnTo>
                      <a:pt x="19" y="88"/>
                    </a:lnTo>
                    <a:lnTo>
                      <a:pt x="20" y="89"/>
                    </a:lnTo>
                    <a:lnTo>
                      <a:pt x="22" y="89"/>
                    </a:lnTo>
                    <a:lnTo>
                      <a:pt x="24" y="89"/>
                    </a:lnTo>
                    <a:lnTo>
                      <a:pt x="25" y="89"/>
                    </a:lnTo>
                    <a:lnTo>
                      <a:pt x="27" y="88"/>
                    </a:lnTo>
                    <a:lnTo>
                      <a:pt x="30" y="85"/>
                    </a:lnTo>
                    <a:lnTo>
                      <a:pt x="33" y="82"/>
                    </a:lnTo>
                    <a:lnTo>
                      <a:pt x="34" y="80"/>
                    </a:lnTo>
                    <a:lnTo>
                      <a:pt x="39" y="75"/>
                    </a:lnTo>
                    <a:lnTo>
                      <a:pt x="43" y="66"/>
                    </a:lnTo>
                    <a:lnTo>
                      <a:pt x="46" y="55"/>
                    </a:lnTo>
                    <a:lnTo>
                      <a:pt x="47" y="42"/>
                    </a:lnTo>
                    <a:lnTo>
                      <a:pt x="48" y="45"/>
                    </a:lnTo>
                    <a:lnTo>
                      <a:pt x="51" y="50"/>
                    </a:lnTo>
                    <a:lnTo>
                      <a:pt x="53" y="60"/>
                    </a:lnTo>
                    <a:lnTo>
                      <a:pt x="53" y="71"/>
                    </a:lnTo>
                    <a:lnTo>
                      <a:pt x="47" y="84"/>
                    </a:lnTo>
                    <a:lnTo>
                      <a:pt x="39" y="94"/>
                    </a:lnTo>
                    <a:lnTo>
                      <a:pt x="31" y="99"/>
                    </a:lnTo>
                    <a:lnTo>
                      <a:pt x="26" y="101"/>
                    </a:lnTo>
                    <a:lnTo>
                      <a:pt x="22" y="99"/>
                    </a:lnTo>
                    <a:lnTo>
                      <a:pt x="19" y="98"/>
                    </a:lnTo>
                    <a:lnTo>
                      <a:pt x="18" y="97"/>
                    </a:lnTo>
                    <a:lnTo>
                      <a:pt x="17" y="96"/>
                    </a:lnTo>
                    <a:lnTo>
                      <a:pt x="15" y="94"/>
                    </a:lnTo>
                    <a:lnTo>
                      <a:pt x="14" y="92"/>
                    </a:lnTo>
                    <a:lnTo>
                      <a:pt x="12" y="89"/>
                    </a:lnTo>
                    <a:lnTo>
                      <a:pt x="11" y="85"/>
                    </a:lnTo>
                    <a:lnTo>
                      <a:pt x="11" y="82"/>
                    </a:lnTo>
                    <a:lnTo>
                      <a:pt x="12" y="71"/>
                    </a:lnTo>
                    <a:lnTo>
                      <a:pt x="15" y="63"/>
                    </a:lnTo>
                    <a:lnTo>
                      <a:pt x="18" y="54"/>
                    </a:lnTo>
                    <a:lnTo>
                      <a:pt x="22" y="50"/>
                    </a:lnTo>
                    <a:lnTo>
                      <a:pt x="26" y="43"/>
                    </a:lnTo>
                    <a:lnTo>
                      <a:pt x="30" y="36"/>
                    </a:lnTo>
                    <a:lnTo>
                      <a:pt x="32" y="28"/>
                    </a:lnTo>
                    <a:lnTo>
                      <a:pt x="33" y="23"/>
                    </a:lnTo>
                    <a:lnTo>
                      <a:pt x="32" y="24"/>
                    </a:lnTo>
                    <a:lnTo>
                      <a:pt x="29" y="28"/>
                    </a:lnTo>
                    <a:lnTo>
                      <a:pt x="26" y="34"/>
                    </a:lnTo>
                    <a:lnTo>
                      <a:pt x="22" y="39"/>
                    </a:lnTo>
                    <a:lnTo>
                      <a:pt x="18" y="43"/>
                    </a:lnTo>
                    <a:lnTo>
                      <a:pt x="15" y="49"/>
                    </a:lnTo>
                    <a:lnTo>
                      <a:pt x="11" y="56"/>
                    </a:lnTo>
                    <a:lnTo>
                      <a:pt x="8" y="65"/>
                    </a:lnTo>
                    <a:lnTo>
                      <a:pt x="6" y="73"/>
                    </a:lnTo>
                    <a:lnTo>
                      <a:pt x="8" y="80"/>
                    </a:lnTo>
                    <a:lnTo>
                      <a:pt x="6" y="78"/>
                    </a:lnTo>
                    <a:lnTo>
                      <a:pt x="2" y="73"/>
                    </a:lnTo>
                    <a:lnTo>
                      <a:pt x="0" y="65"/>
                    </a:lnTo>
                    <a:lnTo>
                      <a:pt x="0" y="56"/>
                    </a:lnTo>
                    <a:lnTo>
                      <a:pt x="5" y="45"/>
                    </a:lnTo>
                    <a:lnTo>
                      <a:pt x="11" y="36"/>
                    </a:lnTo>
                    <a:lnTo>
                      <a:pt x="14" y="31"/>
                    </a:lnTo>
                    <a:lnTo>
                      <a:pt x="16" y="28"/>
                    </a:lnTo>
                    <a:lnTo>
                      <a:pt x="19" y="22"/>
                    </a:lnTo>
                    <a:lnTo>
                      <a:pt x="24" y="15"/>
                    </a:lnTo>
                    <a:lnTo>
                      <a:pt x="26" y="8"/>
                    </a:lnTo>
                    <a:lnTo>
                      <a:pt x="27" y="0"/>
                    </a:lnTo>
                    <a:close/>
                  </a:path>
                </a:pathLst>
              </a:custGeom>
              <a:solidFill>
                <a:srgbClr val="5F8AC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87" name="Rectangle 437"/>
              <p:cNvSpPr>
                <a:spLocks noChangeArrowheads="1"/>
              </p:cNvSpPr>
              <p:nvPr/>
            </p:nvSpPr>
            <p:spPr bwMode="auto">
              <a:xfrm>
                <a:off x="2538" y="2136"/>
                <a:ext cx="10" cy="3"/>
              </a:xfrm>
              <a:prstGeom prst="rect">
                <a:avLst/>
              </a:prstGeom>
              <a:solidFill>
                <a:srgbClr val="5F8AC2"/>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eaLnBrk="1" hangingPunct="1"/>
                <a:endParaRPr lang="es-ES" altLang="es-CL" dirty="0">
                  <a:solidFill>
                    <a:srgbClr val="333333"/>
                  </a:solidFill>
                  <a:latin typeface="Arial" pitchFamily="34" charset="0"/>
                </a:endParaRPr>
              </a:p>
            </p:txBody>
          </p:sp>
          <p:sp>
            <p:nvSpPr>
              <p:cNvPr id="2288" name="Freeform 438"/>
              <p:cNvSpPr>
                <a:spLocks noEditPoints="1"/>
              </p:cNvSpPr>
              <p:nvPr/>
            </p:nvSpPr>
            <p:spPr bwMode="auto">
              <a:xfrm>
                <a:off x="2413" y="2154"/>
                <a:ext cx="130" cy="555"/>
              </a:xfrm>
              <a:custGeom>
                <a:avLst/>
                <a:gdLst>
                  <a:gd name="T0" fmla="*/ 13 w 130"/>
                  <a:gd name="T1" fmla="*/ 548 h 555"/>
                  <a:gd name="T2" fmla="*/ 0 w 130"/>
                  <a:gd name="T3" fmla="*/ 553 h 555"/>
                  <a:gd name="T4" fmla="*/ 8 w 130"/>
                  <a:gd name="T5" fmla="*/ 522 h 555"/>
                  <a:gd name="T6" fmla="*/ 16 w 130"/>
                  <a:gd name="T7" fmla="*/ 530 h 555"/>
                  <a:gd name="T8" fmla="*/ 8 w 130"/>
                  <a:gd name="T9" fmla="*/ 522 h 555"/>
                  <a:gd name="T10" fmla="*/ 24 w 130"/>
                  <a:gd name="T11" fmla="*/ 499 h 555"/>
                  <a:gd name="T12" fmla="*/ 11 w 130"/>
                  <a:gd name="T13" fmla="*/ 503 h 555"/>
                  <a:gd name="T14" fmla="*/ 18 w 130"/>
                  <a:gd name="T15" fmla="*/ 472 h 555"/>
                  <a:gd name="T16" fmla="*/ 27 w 130"/>
                  <a:gd name="T17" fmla="*/ 481 h 555"/>
                  <a:gd name="T18" fmla="*/ 18 w 130"/>
                  <a:gd name="T19" fmla="*/ 472 h 555"/>
                  <a:gd name="T20" fmla="*/ 33 w 130"/>
                  <a:gd name="T21" fmla="*/ 449 h 555"/>
                  <a:gd name="T22" fmla="*/ 21 w 130"/>
                  <a:gd name="T23" fmla="*/ 453 h 555"/>
                  <a:gd name="T24" fmla="*/ 28 w 130"/>
                  <a:gd name="T25" fmla="*/ 422 h 555"/>
                  <a:gd name="T26" fmla="*/ 38 w 130"/>
                  <a:gd name="T27" fmla="*/ 430 h 555"/>
                  <a:gd name="T28" fmla="*/ 28 w 130"/>
                  <a:gd name="T29" fmla="*/ 422 h 555"/>
                  <a:gd name="T30" fmla="*/ 44 w 130"/>
                  <a:gd name="T31" fmla="*/ 400 h 555"/>
                  <a:gd name="T32" fmla="*/ 32 w 130"/>
                  <a:gd name="T33" fmla="*/ 403 h 555"/>
                  <a:gd name="T34" fmla="*/ 39 w 130"/>
                  <a:gd name="T35" fmla="*/ 373 h 555"/>
                  <a:gd name="T36" fmla="*/ 48 w 130"/>
                  <a:gd name="T37" fmla="*/ 380 h 555"/>
                  <a:gd name="T38" fmla="*/ 39 w 130"/>
                  <a:gd name="T39" fmla="*/ 373 h 555"/>
                  <a:gd name="T40" fmla="*/ 55 w 130"/>
                  <a:gd name="T41" fmla="*/ 350 h 555"/>
                  <a:gd name="T42" fmla="*/ 43 w 130"/>
                  <a:gd name="T43" fmla="*/ 354 h 555"/>
                  <a:gd name="T44" fmla="*/ 49 w 130"/>
                  <a:gd name="T45" fmla="*/ 323 h 555"/>
                  <a:gd name="T46" fmla="*/ 59 w 130"/>
                  <a:gd name="T47" fmla="*/ 331 h 555"/>
                  <a:gd name="T48" fmla="*/ 49 w 130"/>
                  <a:gd name="T49" fmla="*/ 323 h 555"/>
                  <a:gd name="T50" fmla="*/ 66 w 130"/>
                  <a:gd name="T51" fmla="*/ 301 h 555"/>
                  <a:gd name="T52" fmla="*/ 54 w 130"/>
                  <a:gd name="T53" fmla="*/ 304 h 555"/>
                  <a:gd name="T54" fmla="*/ 60 w 130"/>
                  <a:gd name="T55" fmla="*/ 273 h 555"/>
                  <a:gd name="T56" fmla="*/ 70 w 130"/>
                  <a:gd name="T57" fmla="*/ 281 h 555"/>
                  <a:gd name="T58" fmla="*/ 60 w 130"/>
                  <a:gd name="T59" fmla="*/ 273 h 555"/>
                  <a:gd name="T60" fmla="*/ 76 w 130"/>
                  <a:gd name="T61" fmla="*/ 250 h 555"/>
                  <a:gd name="T62" fmla="*/ 65 w 130"/>
                  <a:gd name="T63" fmla="*/ 254 h 555"/>
                  <a:gd name="T64" fmla="*/ 71 w 130"/>
                  <a:gd name="T65" fmla="*/ 223 h 555"/>
                  <a:gd name="T66" fmla="*/ 81 w 130"/>
                  <a:gd name="T67" fmla="*/ 232 h 555"/>
                  <a:gd name="T68" fmla="*/ 71 w 130"/>
                  <a:gd name="T69" fmla="*/ 223 h 555"/>
                  <a:gd name="T70" fmla="*/ 87 w 130"/>
                  <a:gd name="T71" fmla="*/ 201 h 555"/>
                  <a:gd name="T72" fmla="*/ 75 w 130"/>
                  <a:gd name="T73" fmla="*/ 205 h 555"/>
                  <a:gd name="T74" fmla="*/ 82 w 130"/>
                  <a:gd name="T75" fmla="*/ 174 h 555"/>
                  <a:gd name="T76" fmla="*/ 91 w 130"/>
                  <a:gd name="T77" fmla="*/ 182 h 555"/>
                  <a:gd name="T78" fmla="*/ 82 w 130"/>
                  <a:gd name="T79" fmla="*/ 174 h 555"/>
                  <a:gd name="T80" fmla="*/ 98 w 130"/>
                  <a:gd name="T81" fmla="*/ 151 h 555"/>
                  <a:gd name="T82" fmla="*/ 86 w 130"/>
                  <a:gd name="T83" fmla="*/ 155 h 555"/>
                  <a:gd name="T84" fmla="*/ 92 w 130"/>
                  <a:gd name="T85" fmla="*/ 124 h 555"/>
                  <a:gd name="T86" fmla="*/ 102 w 130"/>
                  <a:gd name="T87" fmla="*/ 133 h 555"/>
                  <a:gd name="T88" fmla="*/ 92 w 130"/>
                  <a:gd name="T89" fmla="*/ 124 h 555"/>
                  <a:gd name="T90" fmla="*/ 109 w 130"/>
                  <a:gd name="T91" fmla="*/ 101 h 555"/>
                  <a:gd name="T92" fmla="*/ 97 w 130"/>
                  <a:gd name="T93" fmla="*/ 106 h 555"/>
                  <a:gd name="T94" fmla="*/ 103 w 130"/>
                  <a:gd name="T95" fmla="*/ 75 h 555"/>
                  <a:gd name="T96" fmla="*/ 113 w 130"/>
                  <a:gd name="T97" fmla="*/ 83 h 555"/>
                  <a:gd name="T98" fmla="*/ 103 w 130"/>
                  <a:gd name="T99" fmla="*/ 75 h 555"/>
                  <a:gd name="T100" fmla="*/ 119 w 130"/>
                  <a:gd name="T101" fmla="*/ 52 h 555"/>
                  <a:gd name="T102" fmla="*/ 108 w 130"/>
                  <a:gd name="T103" fmla="*/ 56 h 555"/>
                  <a:gd name="T104" fmla="*/ 114 w 130"/>
                  <a:gd name="T105" fmla="*/ 25 h 555"/>
                  <a:gd name="T106" fmla="*/ 124 w 130"/>
                  <a:gd name="T107" fmla="*/ 34 h 555"/>
                  <a:gd name="T108" fmla="*/ 114 w 130"/>
                  <a:gd name="T109" fmla="*/ 25 h 555"/>
                  <a:gd name="T110" fmla="*/ 130 w 130"/>
                  <a:gd name="T111" fmla="*/ 2 h 555"/>
                  <a:gd name="T112" fmla="*/ 118 w 130"/>
                  <a:gd name="T113" fmla="*/ 7 h 55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30" h="555">
                    <a:moveTo>
                      <a:pt x="2" y="546"/>
                    </a:moveTo>
                    <a:lnTo>
                      <a:pt x="13" y="548"/>
                    </a:lnTo>
                    <a:lnTo>
                      <a:pt x="11" y="555"/>
                    </a:lnTo>
                    <a:lnTo>
                      <a:pt x="0" y="553"/>
                    </a:lnTo>
                    <a:lnTo>
                      <a:pt x="2" y="546"/>
                    </a:lnTo>
                    <a:close/>
                    <a:moveTo>
                      <a:pt x="8" y="522"/>
                    </a:moveTo>
                    <a:lnTo>
                      <a:pt x="18" y="524"/>
                    </a:lnTo>
                    <a:lnTo>
                      <a:pt x="16" y="530"/>
                    </a:lnTo>
                    <a:lnTo>
                      <a:pt x="5" y="528"/>
                    </a:lnTo>
                    <a:lnTo>
                      <a:pt x="8" y="522"/>
                    </a:lnTo>
                    <a:close/>
                    <a:moveTo>
                      <a:pt x="13" y="497"/>
                    </a:moveTo>
                    <a:lnTo>
                      <a:pt x="24" y="499"/>
                    </a:lnTo>
                    <a:lnTo>
                      <a:pt x="21" y="505"/>
                    </a:lnTo>
                    <a:lnTo>
                      <a:pt x="11" y="503"/>
                    </a:lnTo>
                    <a:lnTo>
                      <a:pt x="13" y="497"/>
                    </a:lnTo>
                    <a:close/>
                    <a:moveTo>
                      <a:pt x="18" y="472"/>
                    </a:moveTo>
                    <a:lnTo>
                      <a:pt x="29" y="474"/>
                    </a:lnTo>
                    <a:lnTo>
                      <a:pt x="27" y="481"/>
                    </a:lnTo>
                    <a:lnTo>
                      <a:pt x="16" y="478"/>
                    </a:lnTo>
                    <a:lnTo>
                      <a:pt x="18" y="472"/>
                    </a:lnTo>
                    <a:close/>
                    <a:moveTo>
                      <a:pt x="23" y="447"/>
                    </a:moveTo>
                    <a:lnTo>
                      <a:pt x="33" y="449"/>
                    </a:lnTo>
                    <a:lnTo>
                      <a:pt x="32" y="455"/>
                    </a:lnTo>
                    <a:lnTo>
                      <a:pt x="21" y="453"/>
                    </a:lnTo>
                    <a:lnTo>
                      <a:pt x="23" y="447"/>
                    </a:lnTo>
                    <a:close/>
                    <a:moveTo>
                      <a:pt x="28" y="422"/>
                    </a:moveTo>
                    <a:lnTo>
                      <a:pt x="39" y="425"/>
                    </a:lnTo>
                    <a:lnTo>
                      <a:pt x="38" y="430"/>
                    </a:lnTo>
                    <a:lnTo>
                      <a:pt x="27" y="428"/>
                    </a:lnTo>
                    <a:lnTo>
                      <a:pt x="28" y="422"/>
                    </a:lnTo>
                    <a:close/>
                    <a:moveTo>
                      <a:pt x="33" y="398"/>
                    </a:moveTo>
                    <a:lnTo>
                      <a:pt x="44" y="400"/>
                    </a:lnTo>
                    <a:lnTo>
                      <a:pt x="43" y="405"/>
                    </a:lnTo>
                    <a:lnTo>
                      <a:pt x="32" y="403"/>
                    </a:lnTo>
                    <a:lnTo>
                      <a:pt x="33" y="398"/>
                    </a:lnTo>
                    <a:close/>
                    <a:moveTo>
                      <a:pt x="39" y="373"/>
                    </a:moveTo>
                    <a:lnTo>
                      <a:pt x="49" y="375"/>
                    </a:lnTo>
                    <a:lnTo>
                      <a:pt x="48" y="380"/>
                    </a:lnTo>
                    <a:lnTo>
                      <a:pt x="38" y="378"/>
                    </a:lnTo>
                    <a:lnTo>
                      <a:pt x="39" y="373"/>
                    </a:lnTo>
                    <a:close/>
                    <a:moveTo>
                      <a:pt x="44" y="348"/>
                    </a:moveTo>
                    <a:lnTo>
                      <a:pt x="55" y="350"/>
                    </a:lnTo>
                    <a:lnTo>
                      <a:pt x="54" y="356"/>
                    </a:lnTo>
                    <a:lnTo>
                      <a:pt x="43" y="354"/>
                    </a:lnTo>
                    <a:lnTo>
                      <a:pt x="44" y="348"/>
                    </a:lnTo>
                    <a:close/>
                    <a:moveTo>
                      <a:pt x="49" y="323"/>
                    </a:moveTo>
                    <a:lnTo>
                      <a:pt x="60" y="326"/>
                    </a:lnTo>
                    <a:lnTo>
                      <a:pt x="59" y="331"/>
                    </a:lnTo>
                    <a:lnTo>
                      <a:pt x="48" y="329"/>
                    </a:lnTo>
                    <a:lnTo>
                      <a:pt x="49" y="323"/>
                    </a:lnTo>
                    <a:close/>
                    <a:moveTo>
                      <a:pt x="55" y="299"/>
                    </a:moveTo>
                    <a:lnTo>
                      <a:pt x="66" y="301"/>
                    </a:lnTo>
                    <a:lnTo>
                      <a:pt x="65" y="306"/>
                    </a:lnTo>
                    <a:lnTo>
                      <a:pt x="54" y="304"/>
                    </a:lnTo>
                    <a:lnTo>
                      <a:pt x="55" y="299"/>
                    </a:lnTo>
                    <a:close/>
                    <a:moveTo>
                      <a:pt x="60" y="273"/>
                    </a:moveTo>
                    <a:lnTo>
                      <a:pt x="71" y="275"/>
                    </a:lnTo>
                    <a:lnTo>
                      <a:pt x="70" y="281"/>
                    </a:lnTo>
                    <a:lnTo>
                      <a:pt x="59" y="279"/>
                    </a:lnTo>
                    <a:lnTo>
                      <a:pt x="60" y="273"/>
                    </a:lnTo>
                    <a:close/>
                    <a:moveTo>
                      <a:pt x="66" y="248"/>
                    </a:moveTo>
                    <a:lnTo>
                      <a:pt x="76" y="250"/>
                    </a:lnTo>
                    <a:lnTo>
                      <a:pt x="75" y="257"/>
                    </a:lnTo>
                    <a:lnTo>
                      <a:pt x="65" y="254"/>
                    </a:lnTo>
                    <a:lnTo>
                      <a:pt x="66" y="248"/>
                    </a:lnTo>
                    <a:close/>
                    <a:moveTo>
                      <a:pt x="71" y="223"/>
                    </a:moveTo>
                    <a:lnTo>
                      <a:pt x="82" y="225"/>
                    </a:lnTo>
                    <a:lnTo>
                      <a:pt x="81" y="232"/>
                    </a:lnTo>
                    <a:lnTo>
                      <a:pt x="70" y="230"/>
                    </a:lnTo>
                    <a:lnTo>
                      <a:pt x="71" y="223"/>
                    </a:lnTo>
                    <a:close/>
                    <a:moveTo>
                      <a:pt x="76" y="198"/>
                    </a:moveTo>
                    <a:lnTo>
                      <a:pt x="87" y="201"/>
                    </a:lnTo>
                    <a:lnTo>
                      <a:pt x="86" y="207"/>
                    </a:lnTo>
                    <a:lnTo>
                      <a:pt x="75" y="205"/>
                    </a:lnTo>
                    <a:lnTo>
                      <a:pt x="76" y="198"/>
                    </a:lnTo>
                    <a:close/>
                    <a:moveTo>
                      <a:pt x="82" y="174"/>
                    </a:moveTo>
                    <a:lnTo>
                      <a:pt x="92" y="176"/>
                    </a:lnTo>
                    <a:lnTo>
                      <a:pt x="91" y="182"/>
                    </a:lnTo>
                    <a:lnTo>
                      <a:pt x="81" y="180"/>
                    </a:lnTo>
                    <a:lnTo>
                      <a:pt x="82" y="174"/>
                    </a:lnTo>
                    <a:close/>
                    <a:moveTo>
                      <a:pt x="87" y="149"/>
                    </a:moveTo>
                    <a:lnTo>
                      <a:pt x="98" y="151"/>
                    </a:lnTo>
                    <a:lnTo>
                      <a:pt x="97" y="158"/>
                    </a:lnTo>
                    <a:lnTo>
                      <a:pt x="86" y="155"/>
                    </a:lnTo>
                    <a:lnTo>
                      <a:pt x="87" y="149"/>
                    </a:lnTo>
                    <a:close/>
                    <a:moveTo>
                      <a:pt x="92" y="124"/>
                    </a:moveTo>
                    <a:lnTo>
                      <a:pt x="103" y="126"/>
                    </a:lnTo>
                    <a:lnTo>
                      <a:pt x="102" y="133"/>
                    </a:lnTo>
                    <a:lnTo>
                      <a:pt x="91" y="131"/>
                    </a:lnTo>
                    <a:lnTo>
                      <a:pt x="92" y="124"/>
                    </a:lnTo>
                    <a:close/>
                    <a:moveTo>
                      <a:pt x="98" y="99"/>
                    </a:moveTo>
                    <a:lnTo>
                      <a:pt x="109" y="101"/>
                    </a:lnTo>
                    <a:lnTo>
                      <a:pt x="108" y="108"/>
                    </a:lnTo>
                    <a:lnTo>
                      <a:pt x="97" y="106"/>
                    </a:lnTo>
                    <a:lnTo>
                      <a:pt x="98" y="99"/>
                    </a:lnTo>
                    <a:close/>
                    <a:moveTo>
                      <a:pt x="103" y="75"/>
                    </a:moveTo>
                    <a:lnTo>
                      <a:pt x="114" y="77"/>
                    </a:lnTo>
                    <a:lnTo>
                      <a:pt x="113" y="83"/>
                    </a:lnTo>
                    <a:lnTo>
                      <a:pt x="102" y="81"/>
                    </a:lnTo>
                    <a:lnTo>
                      <a:pt x="103" y="75"/>
                    </a:lnTo>
                    <a:close/>
                    <a:moveTo>
                      <a:pt x="109" y="50"/>
                    </a:moveTo>
                    <a:lnTo>
                      <a:pt x="119" y="52"/>
                    </a:lnTo>
                    <a:lnTo>
                      <a:pt x="118" y="58"/>
                    </a:lnTo>
                    <a:lnTo>
                      <a:pt x="108" y="56"/>
                    </a:lnTo>
                    <a:lnTo>
                      <a:pt x="109" y="50"/>
                    </a:lnTo>
                    <a:close/>
                    <a:moveTo>
                      <a:pt x="114" y="25"/>
                    </a:moveTo>
                    <a:lnTo>
                      <a:pt x="125" y="27"/>
                    </a:lnTo>
                    <a:lnTo>
                      <a:pt x="124" y="34"/>
                    </a:lnTo>
                    <a:lnTo>
                      <a:pt x="113" y="31"/>
                    </a:lnTo>
                    <a:lnTo>
                      <a:pt x="114" y="25"/>
                    </a:lnTo>
                    <a:close/>
                    <a:moveTo>
                      <a:pt x="119" y="0"/>
                    </a:moveTo>
                    <a:lnTo>
                      <a:pt x="130" y="2"/>
                    </a:lnTo>
                    <a:lnTo>
                      <a:pt x="129" y="9"/>
                    </a:lnTo>
                    <a:lnTo>
                      <a:pt x="118" y="7"/>
                    </a:lnTo>
                    <a:lnTo>
                      <a:pt x="119" y="0"/>
                    </a:lnTo>
                    <a:close/>
                  </a:path>
                </a:pathLst>
              </a:custGeom>
              <a:solidFill>
                <a:srgbClr val="5F8AC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89" name="Freeform 439"/>
              <p:cNvSpPr>
                <a:spLocks/>
              </p:cNvSpPr>
              <p:nvPr/>
            </p:nvSpPr>
            <p:spPr bwMode="auto">
              <a:xfrm>
                <a:off x="2408" y="2730"/>
                <a:ext cx="9" cy="7"/>
              </a:xfrm>
              <a:custGeom>
                <a:avLst/>
                <a:gdLst>
                  <a:gd name="T0" fmla="*/ 1 w 9"/>
                  <a:gd name="T1" fmla="*/ 0 h 7"/>
                  <a:gd name="T2" fmla="*/ 9 w 9"/>
                  <a:gd name="T3" fmla="*/ 5 h 7"/>
                  <a:gd name="T4" fmla="*/ 8 w 9"/>
                  <a:gd name="T5" fmla="*/ 7 h 7"/>
                  <a:gd name="T6" fmla="*/ 0 w 9"/>
                  <a:gd name="T7" fmla="*/ 3 h 7"/>
                  <a:gd name="T8" fmla="*/ 1 w 9"/>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 h="7">
                    <a:moveTo>
                      <a:pt x="1" y="0"/>
                    </a:moveTo>
                    <a:lnTo>
                      <a:pt x="9" y="5"/>
                    </a:lnTo>
                    <a:lnTo>
                      <a:pt x="8" y="7"/>
                    </a:lnTo>
                    <a:lnTo>
                      <a:pt x="0" y="3"/>
                    </a:lnTo>
                    <a:lnTo>
                      <a:pt x="1" y="0"/>
                    </a:lnTo>
                    <a:close/>
                  </a:path>
                </a:pathLst>
              </a:custGeom>
              <a:solidFill>
                <a:srgbClr val="5F8AC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90" name="Freeform 440"/>
              <p:cNvSpPr>
                <a:spLocks/>
              </p:cNvSpPr>
              <p:nvPr/>
            </p:nvSpPr>
            <p:spPr bwMode="auto">
              <a:xfrm>
                <a:off x="2433" y="1100"/>
                <a:ext cx="177" cy="174"/>
              </a:xfrm>
              <a:custGeom>
                <a:avLst/>
                <a:gdLst>
                  <a:gd name="T0" fmla="*/ 90 w 177"/>
                  <a:gd name="T1" fmla="*/ 0 h 174"/>
                  <a:gd name="T2" fmla="*/ 112 w 177"/>
                  <a:gd name="T3" fmla="*/ 3 h 174"/>
                  <a:gd name="T4" fmla="*/ 134 w 177"/>
                  <a:gd name="T5" fmla="*/ 12 h 174"/>
                  <a:gd name="T6" fmla="*/ 151 w 177"/>
                  <a:gd name="T7" fmla="*/ 26 h 174"/>
                  <a:gd name="T8" fmla="*/ 165 w 177"/>
                  <a:gd name="T9" fmla="*/ 43 h 174"/>
                  <a:gd name="T10" fmla="*/ 174 w 177"/>
                  <a:gd name="T11" fmla="*/ 63 h 174"/>
                  <a:gd name="T12" fmla="*/ 177 w 177"/>
                  <a:gd name="T13" fmla="*/ 87 h 174"/>
                  <a:gd name="T14" fmla="*/ 174 w 177"/>
                  <a:gd name="T15" fmla="*/ 110 h 174"/>
                  <a:gd name="T16" fmla="*/ 165 w 177"/>
                  <a:gd name="T17" fmla="*/ 130 h 174"/>
                  <a:gd name="T18" fmla="*/ 151 w 177"/>
                  <a:gd name="T19" fmla="*/ 148 h 174"/>
                  <a:gd name="T20" fmla="*/ 134 w 177"/>
                  <a:gd name="T21" fmla="*/ 162 h 174"/>
                  <a:gd name="T22" fmla="*/ 112 w 177"/>
                  <a:gd name="T23" fmla="*/ 171 h 174"/>
                  <a:gd name="T24" fmla="*/ 90 w 177"/>
                  <a:gd name="T25" fmla="*/ 174 h 174"/>
                  <a:gd name="T26" fmla="*/ 66 w 177"/>
                  <a:gd name="T27" fmla="*/ 171 h 174"/>
                  <a:gd name="T28" fmla="*/ 45 w 177"/>
                  <a:gd name="T29" fmla="*/ 162 h 174"/>
                  <a:gd name="T30" fmla="*/ 27 w 177"/>
                  <a:gd name="T31" fmla="*/ 148 h 174"/>
                  <a:gd name="T32" fmla="*/ 13 w 177"/>
                  <a:gd name="T33" fmla="*/ 130 h 174"/>
                  <a:gd name="T34" fmla="*/ 4 w 177"/>
                  <a:gd name="T35" fmla="*/ 110 h 174"/>
                  <a:gd name="T36" fmla="*/ 0 w 177"/>
                  <a:gd name="T37" fmla="*/ 87 h 174"/>
                  <a:gd name="T38" fmla="*/ 4 w 177"/>
                  <a:gd name="T39" fmla="*/ 63 h 174"/>
                  <a:gd name="T40" fmla="*/ 13 w 177"/>
                  <a:gd name="T41" fmla="*/ 43 h 174"/>
                  <a:gd name="T42" fmla="*/ 27 w 177"/>
                  <a:gd name="T43" fmla="*/ 26 h 174"/>
                  <a:gd name="T44" fmla="*/ 45 w 177"/>
                  <a:gd name="T45" fmla="*/ 12 h 174"/>
                  <a:gd name="T46" fmla="*/ 66 w 177"/>
                  <a:gd name="T47" fmla="*/ 3 h 174"/>
                  <a:gd name="T48" fmla="*/ 90 w 177"/>
                  <a:gd name="T49" fmla="*/ 0 h 1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77" h="174">
                    <a:moveTo>
                      <a:pt x="90" y="0"/>
                    </a:moveTo>
                    <a:lnTo>
                      <a:pt x="112" y="3"/>
                    </a:lnTo>
                    <a:lnTo>
                      <a:pt x="134" y="12"/>
                    </a:lnTo>
                    <a:lnTo>
                      <a:pt x="151" y="26"/>
                    </a:lnTo>
                    <a:lnTo>
                      <a:pt x="165" y="43"/>
                    </a:lnTo>
                    <a:lnTo>
                      <a:pt x="174" y="63"/>
                    </a:lnTo>
                    <a:lnTo>
                      <a:pt x="177" y="87"/>
                    </a:lnTo>
                    <a:lnTo>
                      <a:pt x="174" y="110"/>
                    </a:lnTo>
                    <a:lnTo>
                      <a:pt x="165" y="130"/>
                    </a:lnTo>
                    <a:lnTo>
                      <a:pt x="151" y="148"/>
                    </a:lnTo>
                    <a:lnTo>
                      <a:pt x="134" y="162"/>
                    </a:lnTo>
                    <a:lnTo>
                      <a:pt x="112" y="171"/>
                    </a:lnTo>
                    <a:lnTo>
                      <a:pt x="90" y="174"/>
                    </a:lnTo>
                    <a:lnTo>
                      <a:pt x="66" y="171"/>
                    </a:lnTo>
                    <a:lnTo>
                      <a:pt x="45" y="162"/>
                    </a:lnTo>
                    <a:lnTo>
                      <a:pt x="27" y="148"/>
                    </a:lnTo>
                    <a:lnTo>
                      <a:pt x="13" y="130"/>
                    </a:lnTo>
                    <a:lnTo>
                      <a:pt x="4" y="110"/>
                    </a:lnTo>
                    <a:lnTo>
                      <a:pt x="0" y="87"/>
                    </a:lnTo>
                    <a:lnTo>
                      <a:pt x="4" y="63"/>
                    </a:lnTo>
                    <a:lnTo>
                      <a:pt x="13" y="43"/>
                    </a:lnTo>
                    <a:lnTo>
                      <a:pt x="27" y="26"/>
                    </a:lnTo>
                    <a:lnTo>
                      <a:pt x="45" y="12"/>
                    </a:lnTo>
                    <a:lnTo>
                      <a:pt x="66" y="3"/>
                    </a:lnTo>
                    <a:lnTo>
                      <a:pt x="90" y="0"/>
                    </a:lnTo>
                    <a:close/>
                  </a:path>
                </a:pathLst>
              </a:custGeom>
              <a:solidFill>
                <a:srgbClr val="29426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91" name="Freeform 441"/>
              <p:cNvSpPr>
                <a:spLocks noEditPoints="1"/>
              </p:cNvSpPr>
              <p:nvPr/>
            </p:nvSpPr>
            <p:spPr bwMode="auto">
              <a:xfrm>
                <a:off x="2430" y="1093"/>
                <a:ext cx="184" cy="186"/>
              </a:xfrm>
              <a:custGeom>
                <a:avLst/>
                <a:gdLst>
                  <a:gd name="T0" fmla="*/ 93 w 184"/>
                  <a:gd name="T1" fmla="*/ 11 h 186"/>
                  <a:gd name="T2" fmla="*/ 71 w 184"/>
                  <a:gd name="T3" fmla="*/ 13 h 186"/>
                  <a:gd name="T4" fmla="*/ 51 w 184"/>
                  <a:gd name="T5" fmla="*/ 22 h 186"/>
                  <a:gd name="T6" fmla="*/ 34 w 184"/>
                  <a:gd name="T7" fmla="*/ 35 h 186"/>
                  <a:gd name="T8" fmla="*/ 22 w 184"/>
                  <a:gd name="T9" fmla="*/ 52 h 186"/>
                  <a:gd name="T10" fmla="*/ 13 w 184"/>
                  <a:gd name="T11" fmla="*/ 71 h 186"/>
                  <a:gd name="T12" fmla="*/ 10 w 184"/>
                  <a:gd name="T13" fmla="*/ 92 h 186"/>
                  <a:gd name="T14" fmla="*/ 13 w 184"/>
                  <a:gd name="T15" fmla="*/ 113 h 186"/>
                  <a:gd name="T16" fmla="*/ 22 w 184"/>
                  <a:gd name="T17" fmla="*/ 134 h 186"/>
                  <a:gd name="T18" fmla="*/ 34 w 184"/>
                  <a:gd name="T19" fmla="*/ 151 h 186"/>
                  <a:gd name="T20" fmla="*/ 51 w 184"/>
                  <a:gd name="T21" fmla="*/ 164 h 186"/>
                  <a:gd name="T22" fmla="*/ 71 w 184"/>
                  <a:gd name="T23" fmla="*/ 172 h 186"/>
                  <a:gd name="T24" fmla="*/ 93 w 184"/>
                  <a:gd name="T25" fmla="*/ 175 h 186"/>
                  <a:gd name="T26" fmla="*/ 114 w 184"/>
                  <a:gd name="T27" fmla="*/ 172 h 186"/>
                  <a:gd name="T28" fmla="*/ 134 w 184"/>
                  <a:gd name="T29" fmla="*/ 164 h 186"/>
                  <a:gd name="T30" fmla="*/ 151 w 184"/>
                  <a:gd name="T31" fmla="*/ 151 h 186"/>
                  <a:gd name="T32" fmla="*/ 164 w 184"/>
                  <a:gd name="T33" fmla="*/ 134 h 186"/>
                  <a:gd name="T34" fmla="*/ 172 w 184"/>
                  <a:gd name="T35" fmla="*/ 113 h 186"/>
                  <a:gd name="T36" fmla="*/ 174 w 184"/>
                  <a:gd name="T37" fmla="*/ 92 h 186"/>
                  <a:gd name="T38" fmla="*/ 172 w 184"/>
                  <a:gd name="T39" fmla="*/ 71 h 186"/>
                  <a:gd name="T40" fmla="*/ 164 w 184"/>
                  <a:gd name="T41" fmla="*/ 52 h 186"/>
                  <a:gd name="T42" fmla="*/ 151 w 184"/>
                  <a:gd name="T43" fmla="*/ 35 h 186"/>
                  <a:gd name="T44" fmla="*/ 134 w 184"/>
                  <a:gd name="T45" fmla="*/ 22 h 186"/>
                  <a:gd name="T46" fmla="*/ 114 w 184"/>
                  <a:gd name="T47" fmla="*/ 13 h 186"/>
                  <a:gd name="T48" fmla="*/ 93 w 184"/>
                  <a:gd name="T49" fmla="*/ 11 h 186"/>
                  <a:gd name="T50" fmla="*/ 93 w 184"/>
                  <a:gd name="T51" fmla="*/ 0 h 186"/>
                  <a:gd name="T52" fmla="*/ 116 w 184"/>
                  <a:gd name="T53" fmla="*/ 4 h 186"/>
                  <a:gd name="T54" fmla="*/ 139 w 184"/>
                  <a:gd name="T55" fmla="*/ 12 h 186"/>
                  <a:gd name="T56" fmla="*/ 157 w 184"/>
                  <a:gd name="T57" fmla="*/ 27 h 186"/>
                  <a:gd name="T58" fmla="*/ 169 w 184"/>
                  <a:gd name="T59" fmla="*/ 41 h 186"/>
                  <a:gd name="T60" fmla="*/ 178 w 184"/>
                  <a:gd name="T61" fmla="*/ 57 h 186"/>
                  <a:gd name="T62" fmla="*/ 183 w 184"/>
                  <a:gd name="T63" fmla="*/ 75 h 186"/>
                  <a:gd name="T64" fmla="*/ 184 w 184"/>
                  <a:gd name="T65" fmla="*/ 92 h 186"/>
                  <a:gd name="T66" fmla="*/ 183 w 184"/>
                  <a:gd name="T67" fmla="*/ 110 h 186"/>
                  <a:gd name="T68" fmla="*/ 178 w 184"/>
                  <a:gd name="T69" fmla="*/ 129 h 186"/>
                  <a:gd name="T70" fmla="*/ 169 w 184"/>
                  <a:gd name="T71" fmla="*/ 145 h 186"/>
                  <a:gd name="T72" fmla="*/ 157 w 184"/>
                  <a:gd name="T73" fmla="*/ 159 h 186"/>
                  <a:gd name="T74" fmla="*/ 139 w 184"/>
                  <a:gd name="T75" fmla="*/ 174 h 186"/>
                  <a:gd name="T76" fmla="*/ 116 w 184"/>
                  <a:gd name="T77" fmla="*/ 182 h 186"/>
                  <a:gd name="T78" fmla="*/ 93 w 184"/>
                  <a:gd name="T79" fmla="*/ 186 h 186"/>
                  <a:gd name="T80" fmla="*/ 68 w 184"/>
                  <a:gd name="T81" fmla="*/ 182 h 186"/>
                  <a:gd name="T82" fmla="*/ 46 w 184"/>
                  <a:gd name="T83" fmla="*/ 174 h 186"/>
                  <a:gd name="T84" fmla="*/ 28 w 184"/>
                  <a:gd name="T85" fmla="*/ 159 h 186"/>
                  <a:gd name="T86" fmla="*/ 16 w 184"/>
                  <a:gd name="T87" fmla="*/ 145 h 186"/>
                  <a:gd name="T88" fmla="*/ 8 w 184"/>
                  <a:gd name="T89" fmla="*/ 129 h 186"/>
                  <a:gd name="T90" fmla="*/ 2 w 184"/>
                  <a:gd name="T91" fmla="*/ 110 h 186"/>
                  <a:gd name="T92" fmla="*/ 0 w 184"/>
                  <a:gd name="T93" fmla="*/ 92 h 186"/>
                  <a:gd name="T94" fmla="*/ 2 w 184"/>
                  <a:gd name="T95" fmla="*/ 75 h 186"/>
                  <a:gd name="T96" fmla="*/ 8 w 184"/>
                  <a:gd name="T97" fmla="*/ 57 h 186"/>
                  <a:gd name="T98" fmla="*/ 16 w 184"/>
                  <a:gd name="T99" fmla="*/ 41 h 186"/>
                  <a:gd name="T100" fmla="*/ 28 w 184"/>
                  <a:gd name="T101" fmla="*/ 27 h 186"/>
                  <a:gd name="T102" fmla="*/ 46 w 184"/>
                  <a:gd name="T103" fmla="*/ 12 h 186"/>
                  <a:gd name="T104" fmla="*/ 68 w 184"/>
                  <a:gd name="T105" fmla="*/ 4 h 186"/>
                  <a:gd name="T106" fmla="*/ 93 w 184"/>
                  <a:gd name="T107" fmla="*/ 0 h 18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84" h="186">
                    <a:moveTo>
                      <a:pt x="93" y="11"/>
                    </a:moveTo>
                    <a:lnTo>
                      <a:pt x="71" y="13"/>
                    </a:lnTo>
                    <a:lnTo>
                      <a:pt x="51" y="22"/>
                    </a:lnTo>
                    <a:lnTo>
                      <a:pt x="34" y="35"/>
                    </a:lnTo>
                    <a:lnTo>
                      <a:pt x="22" y="52"/>
                    </a:lnTo>
                    <a:lnTo>
                      <a:pt x="13" y="71"/>
                    </a:lnTo>
                    <a:lnTo>
                      <a:pt x="10" y="92"/>
                    </a:lnTo>
                    <a:lnTo>
                      <a:pt x="13" y="113"/>
                    </a:lnTo>
                    <a:lnTo>
                      <a:pt x="22" y="134"/>
                    </a:lnTo>
                    <a:lnTo>
                      <a:pt x="34" y="151"/>
                    </a:lnTo>
                    <a:lnTo>
                      <a:pt x="51" y="164"/>
                    </a:lnTo>
                    <a:lnTo>
                      <a:pt x="71" y="172"/>
                    </a:lnTo>
                    <a:lnTo>
                      <a:pt x="93" y="175"/>
                    </a:lnTo>
                    <a:lnTo>
                      <a:pt x="114" y="172"/>
                    </a:lnTo>
                    <a:lnTo>
                      <a:pt x="134" y="164"/>
                    </a:lnTo>
                    <a:lnTo>
                      <a:pt x="151" y="151"/>
                    </a:lnTo>
                    <a:lnTo>
                      <a:pt x="164" y="134"/>
                    </a:lnTo>
                    <a:lnTo>
                      <a:pt x="172" y="113"/>
                    </a:lnTo>
                    <a:lnTo>
                      <a:pt x="174" y="92"/>
                    </a:lnTo>
                    <a:lnTo>
                      <a:pt x="172" y="71"/>
                    </a:lnTo>
                    <a:lnTo>
                      <a:pt x="164" y="52"/>
                    </a:lnTo>
                    <a:lnTo>
                      <a:pt x="151" y="35"/>
                    </a:lnTo>
                    <a:lnTo>
                      <a:pt x="134" y="22"/>
                    </a:lnTo>
                    <a:lnTo>
                      <a:pt x="114" y="13"/>
                    </a:lnTo>
                    <a:lnTo>
                      <a:pt x="93" y="11"/>
                    </a:lnTo>
                    <a:close/>
                    <a:moveTo>
                      <a:pt x="93" y="0"/>
                    </a:moveTo>
                    <a:lnTo>
                      <a:pt x="116" y="4"/>
                    </a:lnTo>
                    <a:lnTo>
                      <a:pt x="139" y="12"/>
                    </a:lnTo>
                    <a:lnTo>
                      <a:pt x="157" y="27"/>
                    </a:lnTo>
                    <a:lnTo>
                      <a:pt x="169" y="41"/>
                    </a:lnTo>
                    <a:lnTo>
                      <a:pt x="178" y="57"/>
                    </a:lnTo>
                    <a:lnTo>
                      <a:pt x="183" y="75"/>
                    </a:lnTo>
                    <a:lnTo>
                      <a:pt x="184" y="92"/>
                    </a:lnTo>
                    <a:lnTo>
                      <a:pt x="183" y="110"/>
                    </a:lnTo>
                    <a:lnTo>
                      <a:pt x="178" y="129"/>
                    </a:lnTo>
                    <a:lnTo>
                      <a:pt x="169" y="145"/>
                    </a:lnTo>
                    <a:lnTo>
                      <a:pt x="157" y="159"/>
                    </a:lnTo>
                    <a:lnTo>
                      <a:pt x="139" y="174"/>
                    </a:lnTo>
                    <a:lnTo>
                      <a:pt x="116" y="182"/>
                    </a:lnTo>
                    <a:lnTo>
                      <a:pt x="93" y="186"/>
                    </a:lnTo>
                    <a:lnTo>
                      <a:pt x="68" y="182"/>
                    </a:lnTo>
                    <a:lnTo>
                      <a:pt x="46" y="174"/>
                    </a:lnTo>
                    <a:lnTo>
                      <a:pt x="28" y="159"/>
                    </a:lnTo>
                    <a:lnTo>
                      <a:pt x="16" y="145"/>
                    </a:lnTo>
                    <a:lnTo>
                      <a:pt x="8" y="129"/>
                    </a:lnTo>
                    <a:lnTo>
                      <a:pt x="2" y="110"/>
                    </a:lnTo>
                    <a:lnTo>
                      <a:pt x="0" y="92"/>
                    </a:lnTo>
                    <a:lnTo>
                      <a:pt x="2" y="75"/>
                    </a:lnTo>
                    <a:lnTo>
                      <a:pt x="8" y="57"/>
                    </a:lnTo>
                    <a:lnTo>
                      <a:pt x="16" y="41"/>
                    </a:lnTo>
                    <a:lnTo>
                      <a:pt x="28" y="27"/>
                    </a:lnTo>
                    <a:lnTo>
                      <a:pt x="46" y="12"/>
                    </a:lnTo>
                    <a:lnTo>
                      <a:pt x="68" y="4"/>
                    </a:lnTo>
                    <a:lnTo>
                      <a:pt x="93" y="0"/>
                    </a:lnTo>
                    <a:close/>
                  </a:path>
                </a:pathLst>
              </a:custGeom>
              <a:solidFill>
                <a:srgbClr val="A3A7A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92" name="Freeform 442"/>
              <p:cNvSpPr>
                <a:spLocks/>
              </p:cNvSpPr>
              <p:nvPr/>
            </p:nvSpPr>
            <p:spPr bwMode="auto">
              <a:xfrm>
                <a:off x="2505" y="1225"/>
                <a:ext cx="43" cy="3"/>
              </a:xfrm>
              <a:custGeom>
                <a:avLst/>
                <a:gdLst>
                  <a:gd name="T0" fmla="*/ 2 w 43"/>
                  <a:gd name="T1" fmla="*/ 0 h 3"/>
                  <a:gd name="T2" fmla="*/ 41 w 43"/>
                  <a:gd name="T3" fmla="*/ 0 h 3"/>
                  <a:gd name="T4" fmla="*/ 42 w 43"/>
                  <a:gd name="T5" fmla="*/ 0 h 3"/>
                  <a:gd name="T6" fmla="*/ 42 w 43"/>
                  <a:gd name="T7" fmla="*/ 0 h 3"/>
                  <a:gd name="T8" fmla="*/ 43 w 43"/>
                  <a:gd name="T9" fmla="*/ 1 h 3"/>
                  <a:gd name="T10" fmla="*/ 42 w 43"/>
                  <a:gd name="T11" fmla="*/ 3 h 3"/>
                  <a:gd name="T12" fmla="*/ 42 w 43"/>
                  <a:gd name="T13" fmla="*/ 3 h 3"/>
                  <a:gd name="T14" fmla="*/ 41 w 43"/>
                  <a:gd name="T15" fmla="*/ 3 h 3"/>
                  <a:gd name="T16" fmla="*/ 2 w 43"/>
                  <a:gd name="T17" fmla="*/ 3 h 3"/>
                  <a:gd name="T18" fmla="*/ 2 w 43"/>
                  <a:gd name="T19" fmla="*/ 3 h 3"/>
                  <a:gd name="T20" fmla="*/ 0 w 43"/>
                  <a:gd name="T21" fmla="*/ 3 h 3"/>
                  <a:gd name="T22" fmla="*/ 0 w 43"/>
                  <a:gd name="T23" fmla="*/ 2 h 3"/>
                  <a:gd name="T24" fmla="*/ 0 w 43"/>
                  <a:gd name="T25" fmla="*/ 1 h 3"/>
                  <a:gd name="T26" fmla="*/ 0 w 43"/>
                  <a:gd name="T27" fmla="*/ 0 h 3"/>
                  <a:gd name="T28" fmla="*/ 2 w 43"/>
                  <a:gd name="T29" fmla="*/ 0 h 3"/>
                  <a:gd name="T30" fmla="*/ 2 w 43"/>
                  <a:gd name="T31" fmla="*/ 0 h 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3" h="3">
                    <a:moveTo>
                      <a:pt x="2" y="0"/>
                    </a:moveTo>
                    <a:lnTo>
                      <a:pt x="41" y="0"/>
                    </a:lnTo>
                    <a:lnTo>
                      <a:pt x="42" y="0"/>
                    </a:lnTo>
                    <a:lnTo>
                      <a:pt x="43" y="1"/>
                    </a:lnTo>
                    <a:lnTo>
                      <a:pt x="42" y="3"/>
                    </a:lnTo>
                    <a:lnTo>
                      <a:pt x="41" y="3"/>
                    </a:lnTo>
                    <a:lnTo>
                      <a:pt x="2" y="3"/>
                    </a:lnTo>
                    <a:lnTo>
                      <a:pt x="0" y="3"/>
                    </a:lnTo>
                    <a:lnTo>
                      <a:pt x="0" y="2"/>
                    </a:lnTo>
                    <a:lnTo>
                      <a:pt x="0" y="1"/>
                    </a:lnTo>
                    <a:lnTo>
                      <a:pt x="0" y="0"/>
                    </a:lnTo>
                    <a:lnTo>
                      <a:pt x="2" y="0"/>
                    </a:lnTo>
                    <a:close/>
                  </a:path>
                </a:pathLst>
              </a:custGeom>
              <a:solidFill>
                <a:srgbClr val="A3A7A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93" name="Freeform 443"/>
              <p:cNvSpPr>
                <a:spLocks/>
              </p:cNvSpPr>
              <p:nvPr/>
            </p:nvSpPr>
            <p:spPr bwMode="auto">
              <a:xfrm>
                <a:off x="2469" y="1144"/>
                <a:ext cx="84" cy="76"/>
              </a:xfrm>
              <a:custGeom>
                <a:avLst/>
                <a:gdLst>
                  <a:gd name="T0" fmla="*/ 41 w 84"/>
                  <a:gd name="T1" fmla="*/ 0 h 76"/>
                  <a:gd name="T2" fmla="*/ 54 w 84"/>
                  <a:gd name="T3" fmla="*/ 0 h 76"/>
                  <a:gd name="T4" fmla="*/ 54 w 84"/>
                  <a:gd name="T5" fmla="*/ 2 h 76"/>
                  <a:gd name="T6" fmla="*/ 55 w 84"/>
                  <a:gd name="T7" fmla="*/ 4 h 76"/>
                  <a:gd name="T8" fmla="*/ 56 w 84"/>
                  <a:gd name="T9" fmla="*/ 5 h 76"/>
                  <a:gd name="T10" fmla="*/ 58 w 84"/>
                  <a:gd name="T11" fmla="*/ 6 h 76"/>
                  <a:gd name="T12" fmla="*/ 60 w 84"/>
                  <a:gd name="T13" fmla="*/ 5 h 76"/>
                  <a:gd name="T14" fmla="*/ 61 w 84"/>
                  <a:gd name="T15" fmla="*/ 3 h 76"/>
                  <a:gd name="T16" fmla="*/ 61 w 84"/>
                  <a:gd name="T17" fmla="*/ 0 h 76"/>
                  <a:gd name="T18" fmla="*/ 75 w 84"/>
                  <a:gd name="T19" fmla="*/ 0 h 76"/>
                  <a:gd name="T20" fmla="*/ 75 w 84"/>
                  <a:gd name="T21" fmla="*/ 22 h 76"/>
                  <a:gd name="T22" fmla="*/ 79 w 84"/>
                  <a:gd name="T23" fmla="*/ 22 h 76"/>
                  <a:gd name="T24" fmla="*/ 81 w 84"/>
                  <a:gd name="T25" fmla="*/ 23 h 76"/>
                  <a:gd name="T26" fmla="*/ 83 w 84"/>
                  <a:gd name="T27" fmla="*/ 24 h 76"/>
                  <a:gd name="T28" fmla="*/ 83 w 84"/>
                  <a:gd name="T29" fmla="*/ 25 h 76"/>
                  <a:gd name="T30" fmla="*/ 84 w 84"/>
                  <a:gd name="T31" fmla="*/ 27 h 76"/>
                  <a:gd name="T32" fmla="*/ 84 w 84"/>
                  <a:gd name="T33" fmla="*/ 70 h 76"/>
                  <a:gd name="T34" fmla="*/ 83 w 84"/>
                  <a:gd name="T35" fmla="*/ 72 h 76"/>
                  <a:gd name="T36" fmla="*/ 83 w 84"/>
                  <a:gd name="T37" fmla="*/ 74 h 76"/>
                  <a:gd name="T38" fmla="*/ 81 w 84"/>
                  <a:gd name="T39" fmla="*/ 75 h 76"/>
                  <a:gd name="T40" fmla="*/ 79 w 84"/>
                  <a:gd name="T41" fmla="*/ 76 h 76"/>
                  <a:gd name="T42" fmla="*/ 36 w 84"/>
                  <a:gd name="T43" fmla="*/ 76 h 76"/>
                  <a:gd name="T44" fmla="*/ 34 w 84"/>
                  <a:gd name="T45" fmla="*/ 75 h 76"/>
                  <a:gd name="T46" fmla="*/ 32 w 84"/>
                  <a:gd name="T47" fmla="*/ 74 h 76"/>
                  <a:gd name="T48" fmla="*/ 31 w 84"/>
                  <a:gd name="T49" fmla="*/ 72 h 76"/>
                  <a:gd name="T50" fmla="*/ 31 w 84"/>
                  <a:gd name="T51" fmla="*/ 70 h 76"/>
                  <a:gd name="T52" fmla="*/ 31 w 84"/>
                  <a:gd name="T53" fmla="*/ 27 h 76"/>
                  <a:gd name="T54" fmla="*/ 32 w 84"/>
                  <a:gd name="T55" fmla="*/ 24 h 76"/>
                  <a:gd name="T56" fmla="*/ 33 w 84"/>
                  <a:gd name="T57" fmla="*/ 23 h 76"/>
                  <a:gd name="T58" fmla="*/ 36 w 84"/>
                  <a:gd name="T59" fmla="*/ 22 h 76"/>
                  <a:gd name="T60" fmla="*/ 41 w 84"/>
                  <a:gd name="T61" fmla="*/ 22 h 76"/>
                  <a:gd name="T62" fmla="*/ 41 w 84"/>
                  <a:gd name="T63" fmla="*/ 11 h 76"/>
                  <a:gd name="T64" fmla="*/ 35 w 84"/>
                  <a:gd name="T65" fmla="*/ 13 h 76"/>
                  <a:gd name="T66" fmla="*/ 28 w 84"/>
                  <a:gd name="T67" fmla="*/ 17 h 76"/>
                  <a:gd name="T68" fmla="*/ 20 w 84"/>
                  <a:gd name="T69" fmla="*/ 25 h 76"/>
                  <a:gd name="T70" fmla="*/ 12 w 84"/>
                  <a:gd name="T71" fmla="*/ 31 h 76"/>
                  <a:gd name="T72" fmla="*/ 5 w 84"/>
                  <a:gd name="T73" fmla="*/ 33 h 76"/>
                  <a:gd name="T74" fmla="*/ 1 w 84"/>
                  <a:gd name="T75" fmla="*/ 33 h 76"/>
                  <a:gd name="T76" fmla="*/ 0 w 84"/>
                  <a:gd name="T77" fmla="*/ 33 h 76"/>
                  <a:gd name="T78" fmla="*/ 0 w 84"/>
                  <a:gd name="T79" fmla="*/ 32 h 76"/>
                  <a:gd name="T80" fmla="*/ 0 w 84"/>
                  <a:gd name="T81" fmla="*/ 31 h 76"/>
                  <a:gd name="T82" fmla="*/ 0 w 84"/>
                  <a:gd name="T83" fmla="*/ 31 h 76"/>
                  <a:gd name="T84" fmla="*/ 0 w 84"/>
                  <a:gd name="T85" fmla="*/ 30 h 76"/>
                  <a:gd name="T86" fmla="*/ 1 w 84"/>
                  <a:gd name="T87" fmla="*/ 30 h 76"/>
                  <a:gd name="T88" fmla="*/ 2 w 84"/>
                  <a:gd name="T89" fmla="*/ 30 h 76"/>
                  <a:gd name="T90" fmla="*/ 4 w 84"/>
                  <a:gd name="T91" fmla="*/ 30 h 76"/>
                  <a:gd name="T92" fmla="*/ 6 w 84"/>
                  <a:gd name="T93" fmla="*/ 29 h 76"/>
                  <a:gd name="T94" fmla="*/ 10 w 84"/>
                  <a:gd name="T95" fmla="*/ 28 h 76"/>
                  <a:gd name="T96" fmla="*/ 14 w 84"/>
                  <a:gd name="T97" fmla="*/ 27 h 76"/>
                  <a:gd name="T98" fmla="*/ 17 w 84"/>
                  <a:gd name="T99" fmla="*/ 24 h 76"/>
                  <a:gd name="T100" fmla="*/ 26 w 84"/>
                  <a:gd name="T101" fmla="*/ 14 h 76"/>
                  <a:gd name="T102" fmla="*/ 34 w 84"/>
                  <a:gd name="T103" fmla="*/ 9 h 76"/>
                  <a:gd name="T104" fmla="*/ 41 w 84"/>
                  <a:gd name="T105" fmla="*/ 8 h 76"/>
                  <a:gd name="T106" fmla="*/ 41 w 84"/>
                  <a:gd name="T107" fmla="*/ 0 h 7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4" h="76">
                    <a:moveTo>
                      <a:pt x="41" y="0"/>
                    </a:moveTo>
                    <a:lnTo>
                      <a:pt x="54" y="0"/>
                    </a:lnTo>
                    <a:lnTo>
                      <a:pt x="54" y="2"/>
                    </a:lnTo>
                    <a:lnTo>
                      <a:pt x="55" y="4"/>
                    </a:lnTo>
                    <a:lnTo>
                      <a:pt x="56" y="5"/>
                    </a:lnTo>
                    <a:lnTo>
                      <a:pt x="58" y="6"/>
                    </a:lnTo>
                    <a:lnTo>
                      <a:pt x="60" y="5"/>
                    </a:lnTo>
                    <a:lnTo>
                      <a:pt x="61" y="3"/>
                    </a:lnTo>
                    <a:lnTo>
                      <a:pt x="61" y="0"/>
                    </a:lnTo>
                    <a:lnTo>
                      <a:pt x="75" y="0"/>
                    </a:lnTo>
                    <a:lnTo>
                      <a:pt x="75" y="22"/>
                    </a:lnTo>
                    <a:lnTo>
                      <a:pt x="79" y="22"/>
                    </a:lnTo>
                    <a:lnTo>
                      <a:pt x="81" y="23"/>
                    </a:lnTo>
                    <a:lnTo>
                      <a:pt x="83" y="24"/>
                    </a:lnTo>
                    <a:lnTo>
                      <a:pt x="83" y="25"/>
                    </a:lnTo>
                    <a:lnTo>
                      <a:pt x="84" y="27"/>
                    </a:lnTo>
                    <a:lnTo>
                      <a:pt x="84" y="70"/>
                    </a:lnTo>
                    <a:lnTo>
                      <a:pt x="83" y="72"/>
                    </a:lnTo>
                    <a:lnTo>
                      <a:pt x="83" y="74"/>
                    </a:lnTo>
                    <a:lnTo>
                      <a:pt x="81" y="75"/>
                    </a:lnTo>
                    <a:lnTo>
                      <a:pt x="79" y="76"/>
                    </a:lnTo>
                    <a:lnTo>
                      <a:pt x="36" y="76"/>
                    </a:lnTo>
                    <a:lnTo>
                      <a:pt x="34" y="75"/>
                    </a:lnTo>
                    <a:lnTo>
                      <a:pt x="32" y="74"/>
                    </a:lnTo>
                    <a:lnTo>
                      <a:pt x="31" y="72"/>
                    </a:lnTo>
                    <a:lnTo>
                      <a:pt x="31" y="70"/>
                    </a:lnTo>
                    <a:lnTo>
                      <a:pt x="31" y="27"/>
                    </a:lnTo>
                    <a:lnTo>
                      <a:pt x="32" y="24"/>
                    </a:lnTo>
                    <a:lnTo>
                      <a:pt x="33" y="23"/>
                    </a:lnTo>
                    <a:lnTo>
                      <a:pt x="36" y="22"/>
                    </a:lnTo>
                    <a:lnTo>
                      <a:pt x="41" y="22"/>
                    </a:lnTo>
                    <a:lnTo>
                      <a:pt x="41" y="11"/>
                    </a:lnTo>
                    <a:lnTo>
                      <a:pt x="35" y="13"/>
                    </a:lnTo>
                    <a:lnTo>
                      <a:pt x="28" y="17"/>
                    </a:lnTo>
                    <a:lnTo>
                      <a:pt x="20" y="25"/>
                    </a:lnTo>
                    <a:lnTo>
                      <a:pt x="12" y="31"/>
                    </a:lnTo>
                    <a:lnTo>
                      <a:pt x="5" y="33"/>
                    </a:lnTo>
                    <a:lnTo>
                      <a:pt x="1" y="33"/>
                    </a:lnTo>
                    <a:lnTo>
                      <a:pt x="0" y="33"/>
                    </a:lnTo>
                    <a:lnTo>
                      <a:pt x="0" y="32"/>
                    </a:lnTo>
                    <a:lnTo>
                      <a:pt x="0" y="31"/>
                    </a:lnTo>
                    <a:lnTo>
                      <a:pt x="0" y="30"/>
                    </a:lnTo>
                    <a:lnTo>
                      <a:pt x="1" y="30"/>
                    </a:lnTo>
                    <a:lnTo>
                      <a:pt x="2" y="30"/>
                    </a:lnTo>
                    <a:lnTo>
                      <a:pt x="4" y="30"/>
                    </a:lnTo>
                    <a:lnTo>
                      <a:pt x="6" y="29"/>
                    </a:lnTo>
                    <a:lnTo>
                      <a:pt x="10" y="28"/>
                    </a:lnTo>
                    <a:lnTo>
                      <a:pt x="14" y="27"/>
                    </a:lnTo>
                    <a:lnTo>
                      <a:pt x="17" y="24"/>
                    </a:lnTo>
                    <a:lnTo>
                      <a:pt x="26" y="14"/>
                    </a:lnTo>
                    <a:lnTo>
                      <a:pt x="34" y="9"/>
                    </a:lnTo>
                    <a:lnTo>
                      <a:pt x="41" y="8"/>
                    </a:lnTo>
                    <a:lnTo>
                      <a:pt x="41" y="0"/>
                    </a:lnTo>
                    <a:close/>
                  </a:path>
                </a:pathLst>
              </a:custGeom>
              <a:solidFill>
                <a:srgbClr val="A3A7A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94" name="Freeform 444"/>
              <p:cNvSpPr>
                <a:spLocks/>
              </p:cNvSpPr>
              <p:nvPr/>
            </p:nvSpPr>
            <p:spPr bwMode="auto">
              <a:xfrm>
                <a:off x="2516" y="1272"/>
                <a:ext cx="11" cy="9"/>
              </a:xfrm>
              <a:custGeom>
                <a:avLst/>
                <a:gdLst>
                  <a:gd name="T0" fmla="*/ 2 w 11"/>
                  <a:gd name="T1" fmla="*/ 0 h 9"/>
                  <a:gd name="T2" fmla="*/ 11 w 11"/>
                  <a:gd name="T3" fmla="*/ 6 h 9"/>
                  <a:gd name="T4" fmla="*/ 9 w 11"/>
                  <a:gd name="T5" fmla="*/ 9 h 9"/>
                  <a:gd name="T6" fmla="*/ 0 w 11"/>
                  <a:gd name="T7" fmla="*/ 3 h 9"/>
                  <a:gd name="T8" fmla="*/ 2 w 11"/>
                  <a:gd name="T9" fmla="*/ 0 h 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 h="9">
                    <a:moveTo>
                      <a:pt x="2" y="0"/>
                    </a:moveTo>
                    <a:lnTo>
                      <a:pt x="11" y="6"/>
                    </a:lnTo>
                    <a:lnTo>
                      <a:pt x="9" y="9"/>
                    </a:lnTo>
                    <a:lnTo>
                      <a:pt x="0" y="3"/>
                    </a:lnTo>
                    <a:lnTo>
                      <a:pt x="2" y="0"/>
                    </a:lnTo>
                    <a:close/>
                  </a:path>
                </a:pathLst>
              </a:custGeom>
              <a:solidFill>
                <a:srgbClr val="A3A7A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95" name="Freeform 445"/>
              <p:cNvSpPr>
                <a:spLocks noEditPoints="1"/>
              </p:cNvSpPr>
              <p:nvPr/>
            </p:nvSpPr>
            <p:spPr bwMode="auto">
              <a:xfrm>
                <a:off x="2371" y="1293"/>
                <a:ext cx="154" cy="1421"/>
              </a:xfrm>
              <a:custGeom>
                <a:avLst/>
                <a:gdLst>
                  <a:gd name="T0" fmla="*/ 1 w 154"/>
                  <a:gd name="T1" fmla="*/ 1414 h 1421"/>
                  <a:gd name="T2" fmla="*/ 3 w 154"/>
                  <a:gd name="T3" fmla="*/ 1388 h 1421"/>
                  <a:gd name="T4" fmla="*/ 6 w 154"/>
                  <a:gd name="T5" fmla="*/ 1363 h 1421"/>
                  <a:gd name="T6" fmla="*/ 9 w 154"/>
                  <a:gd name="T7" fmla="*/ 1337 h 1421"/>
                  <a:gd name="T8" fmla="*/ 11 w 154"/>
                  <a:gd name="T9" fmla="*/ 1313 h 1421"/>
                  <a:gd name="T10" fmla="*/ 14 w 154"/>
                  <a:gd name="T11" fmla="*/ 1288 h 1421"/>
                  <a:gd name="T12" fmla="*/ 16 w 154"/>
                  <a:gd name="T13" fmla="*/ 1262 h 1421"/>
                  <a:gd name="T14" fmla="*/ 19 w 154"/>
                  <a:gd name="T15" fmla="*/ 1237 h 1421"/>
                  <a:gd name="T16" fmla="*/ 22 w 154"/>
                  <a:gd name="T17" fmla="*/ 1211 h 1421"/>
                  <a:gd name="T18" fmla="*/ 24 w 154"/>
                  <a:gd name="T19" fmla="*/ 1187 h 1421"/>
                  <a:gd name="T20" fmla="*/ 27 w 154"/>
                  <a:gd name="T21" fmla="*/ 1161 h 1421"/>
                  <a:gd name="T22" fmla="*/ 29 w 154"/>
                  <a:gd name="T23" fmla="*/ 1136 h 1421"/>
                  <a:gd name="T24" fmla="*/ 31 w 154"/>
                  <a:gd name="T25" fmla="*/ 1110 h 1421"/>
                  <a:gd name="T26" fmla="*/ 34 w 154"/>
                  <a:gd name="T27" fmla="*/ 1085 h 1421"/>
                  <a:gd name="T28" fmla="*/ 37 w 154"/>
                  <a:gd name="T29" fmla="*/ 1061 h 1421"/>
                  <a:gd name="T30" fmla="*/ 39 w 154"/>
                  <a:gd name="T31" fmla="*/ 1035 h 1421"/>
                  <a:gd name="T32" fmla="*/ 42 w 154"/>
                  <a:gd name="T33" fmla="*/ 1010 h 1421"/>
                  <a:gd name="T34" fmla="*/ 44 w 154"/>
                  <a:gd name="T35" fmla="*/ 984 h 1421"/>
                  <a:gd name="T36" fmla="*/ 46 w 154"/>
                  <a:gd name="T37" fmla="*/ 959 h 1421"/>
                  <a:gd name="T38" fmla="*/ 50 w 154"/>
                  <a:gd name="T39" fmla="*/ 933 h 1421"/>
                  <a:gd name="T40" fmla="*/ 52 w 154"/>
                  <a:gd name="T41" fmla="*/ 909 h 1421"/>
                  <a:gd name="T42" fmla="*/ 55 w 154"/>
                  <a:gd name="T43" fmla="*/ 883 h 1421"/>
                  <a:gd name="T44" fmla="*/ 57 w 154"/>
                  <a:gd name="T45" fmla="*/ 858 h 1421"/>
                  <a:gd name="T46" fmla="*/ 59 w 154"/>
                  <a:gd name="T47" fmla="*/ 832 h 1421"/>
                  <a:gd name="T48" fmla="*/ 62 w 154"/>
                  <a:gd name="T49" fmla="*/ 807 h 1421"/>
                  <a:gd name="T50" fmla="*/ 65 w 154"/>
                  <a:gd name="T51" fmla="*/ 783 h 1421"/>
                  <a:gd name="T52" fmla="*/ 67 w 154"/>
                  <a:gd name="T53" fmla="*/ 757 h 1421"/>
                  <a:gd name="T54" fmla="*/ 70 w 154"/>
                  <a:gd name="T55" fmla="*/ 732 h 1421"/>
                  <a:gd name="T56" fmla="*/ 72 w 154"/>
                  <a:gd name="T57" fmla="*/ 706 h 1421"/>
                  <a:gd name="T58" fmla="*/ 74 w 154"/>
                  <a:gd name="T59" fmla="*/ 681 h 1421"/>
                  <a:gd name="T60" fmla="*/ 77 w 154"/>
                  <a:gd name="T61" fmla="*/ 656 h 1421"/>
                  <a:gd name="T62" fmla="*/ 80 w 154"/>
                  <a:gd name="T63" fmla="*/ 631 h 1421"/>
                  <a:gd name="T64" fmla="*/ 82 w 154"/>
                  <a:gd name="T65" fmla="*/ 605 h 1421"/>
                  <a:gd name="T66" fmla="*/ 85 w 154"/>
                  <a:gd name="T67" fmla="*/ 580 h 1421"/>
                  <a:gd name="T68" fmla="*/ 87 w 154"/>
                  <a:gd name="T69" fmla="*/ 554 h 1421"/>
                  <a:gd name="T70" fmla="*/ 90 w 154"/>
                  <a:gd name="T71" fmla="*/ 530 h 1421"/>
                  <a:gd name="T72" fmla="*/ 93 w 154"/>
                  <a:gd name="T73" fmla="*/ 505 h 1421"/>
                  <a:gd name="T74" fmla="*/ 95 w 154"/>
                  <a:gd name="T75" fmla="*/ 479 h 1421"/>
                  <a:gd name="T76" fmla="*/ 98 w 154"/>
                  <a:gd name="T77" fmla="*/ 454 h 1421"/>
                  <a:gd name="T78" fmla="*/ 100 w 154"/>
                  <a:gd name="T79" fmla="*/ 428 h 1421"/>
                  <a:gd name="T80" fmla="*/ 102 w 154"/>
                  <a:gd name="T81" fmla="*/ 404 h 1421"/>
                  <a:gd name="T82" fmla="*/ 105 w 154"/>
                  <a:gd name="T83" fmla="*/ 378 h 1421"/>
                  <a:gd name="T84" fmla="*/ 108 w 154"/>
                  <a:gd name="T85" fmla="*/ 353 h 1421"/>
                  <a:gd name="T86" fmla="*/ 110 w 154"/>
                  <a:gd name="T87" fmla="*/ 327 h 1421"/>
                  <a:gd name="T88" fmla="*/ 113 w 154"/>
                  <a:gd name="T89" fmla="*/ 302 h 1421"/>
                  <a:gd name="T90" fmla="*/ 115 w 154"/>
                  <a:gd name="T91" fmla="*/ 278 h 1421"/>
                  <a:gd name="T92" fmla="*/ 117 w 154"/>
                  <a:gd name="T93" fmla="*/ 252 h 1421"/>
                  <a:gd name="T94" fmla="*/ 120 w 154"/>
                  <a:gd name="T95" fmla="*/ 227 h 1421"/>
                  <a:gd name="T96" fmla="*/ 123 w 154"/>
                  <a:gd name="T97" fmla="*/ 201 h 1421"/>
                  <a:gd name="T98" fmla="*/ 126 w 154"/>
                  <a:gd name="T99" fmla="*/ 176 h 1421"/>
                  <a:gd name="T100" fmla="*/ 128 w 154"/>
                  <a:gd name="T101" fmla="*/ 150 h 1421"/>
                  <a:gd name="T102" fmla="*/ 130 w 154"/>
                  <a:gd name="T103" fmla="*/ 126 h 1421"/>
                  <a:gd name="T104" fmla="*/ 133 w 154"/>
                  <a:gd name="T105" fmla="*/ 100 h 1421"/>
                  <a:gd name="T106" fmla="*/ 136 w 154"/>
                  <a:gd name="T107" fmla="*/ 75 h 1421"/>
                  <a:gd name="T108" fmla="*/ 138 w 154"/>
                  <a:gd name="T109" fmla="*/ 49 h 1421"/>
                  <a:gd name="T110" fmla="*/ 141 w 154"/>
                  <a:gd name="T111" fmla="*/ 24 h 1421"/>
                  <a:gd name="T112" fmla="*/ 143 w 154"/>
                  <a:gd name="T113" fmla="*/ 0 h 142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4" h="1421">
                    <a:moveTo>
                      <a:pt x="1" y="1414"/>
                    </a:moveTo>
                    <a:lnTo>
                      <a:pt x="12" y="1415"/>
                    </a:lnTo>
                    <a:lnTo>
                      <a:pt x="11" y="1421"/>
                    </a:lnTo>
                    <a:lnTo>
                      <a:pt x="0" y="1420"/>
                    </a:lnTo>
                    <a:lnTo>
                      <a:pt x="1" y="1414"/>
                    </a:lnTo>
                    <a:close/>
                    <a:moveTo>
                      <a:pt x="3" y="1388"/>
                    </a:moveTo>
                    <a:lnTo>
                      <a:pt x="14" y="1389"/>
                    </a:lnTo>
                    <a:lnTo>
                      <a:pt x="14" y="1395"/>
                    </a:lnTo>
                    <a:lnTo>
                      <a:pt x="3" y="1394"/>
                    </a:lnTo>
                    <a:lnTo>
                      <a:pt x="3" y="1388"/>
                    </a:lnTo>
                    <a:close/>
                    <a:moveTo>
                      <a:pt x="6" y="1363"/>
                    </a:moveTo>
                    <a:lnTo>
                      <a:pt x="17" y="1364"/>
                    </a:lnTo>
                    <a:lnTo>
                      <a:pt x="16" y="1371"/>
                    </a:lnTo>
                    <a:lnTo>
                      <a:pt x="5" y="1370"/>
                    </a:lnTo>
                    <a:lnTo>
                      <a:pt x="6" y="1363"/>
                    </a:lnTo>
                    <a:close/>
                    <a:moveTo>
                      <a:pt x="9" y="1337"/>
                    </a:moveTo>
                    <a:lnTo>
                      <a:pt x="19" y="1338"/>
                    </a:lnTo>
                    <a:lnTo>
                      <a:pt x="18" y="1345"/>
                    </a:lnTo>
                    <a:lnTo>
                      <a:pt x="8" y="1344"/>
                    </a:lnTo>
                    <a:lnTo>
                      <a:pt x="9" y="1337"/>
                    </a:lnTo>
                    <a:close/>
                    <a:moveTo>
                      <a:pt x="11" y="1313"/>
                    </a:moveTo>
                    <a:lnTo>
                      <a:pt x="22" y="1314"/>
                    </a:lnTo>
                    <a:lnTo>
                      <a:pt x="22" y="1320"/>
                    </a:lnTo>
                    <a:lnTo>
                      <a:pt x="11" y="1319"/>
                    </a:lnTo>
                    <a:lnTo>
                      <a:pt x="11" y="1313"/>
                    </a:lnTo>
                    <a:close/>
                    <a:moveTo>
                      <a:pt x="14" y="1288"/>
                    </a:moveTo>
                    <a:lnTo>
                      <a:pt x="25" y="1289"/>
                    </a:lnTo>
                    <a:lnTo>
                      <a:pt x="24" y="1294"/>
                    </a:lnTo>
                    <a:lnTo>
                      <a:pt x="13" y="1293"/>
                    </a:lnTo>
                    <a:lnTo>
                      <a:pt x="14" y="1288"/>
                    </a:lnTo>
                    <a:close/>
                    <a:moveTo>
                      <a:pt x="16" y="1262"/>
                    </a:moveTo>
                    <a:lnTo>
                      <a:pt x="27" y="1263"/>
                    </a:lnTo>
                    <a:lnTo>
                      <a:pt x="27" y="1269"/>
                    </a:lnTo>
                    <a:lnTo>
                      <a:pt x="16" y="1268"/>
                    </a:lnTo>
                    <a:lnTo>
                      <a:pt x="16" y="1262"/>
                    </a:lnTo>
                    <a:close/>
                    <a:moveTo>
                      <a:pt x="19" y="1237"/>
                    </a:moveTo>
                    <a:lnTo>
                      <a:pt x="30" y="1238"/>
                    </a:lnTo>
                    <a:lnTo>
                      <a:pt x="29" y="1245"/>
                    </a:lnTo>
                    <a:lnTo>
                      <a:pt x="18" y="1244"/>
                    </a:lnTo>
                    <a:lnTo>
                      <a:pt x="19" y="1237"/>
                    </a:lnTo>
                    <a:close/>
                    <a:moveTo>
                      <a:pt x="22" y="1211"/>
                    </a:moveTo>
                    <a:lnTo>
                      <a:pt x="32" y="1212"/>
                    </a:lnTo>
                    <a:lnTo>
                      <a:pt x="31" y="1219"/>
                    </a:lnTo>
                    <a:lnTo>
                      <a:pt x="20" y="1218"/>
                    </a:lnTo>
                    <a:lnTo>
                      <a:pt x="22" y="1211"/>
                    </a:lnTo>
                    <a:close/>
                    <a:moveTo>
                      <a:pt x="24" y="1187"/>
                    </a:moveTo>
                    <a:lnTo>
                      <a:pt x="34" y="1188"/>
                    </a:lnTo>
                    <a:lnTo>
                      <a:pt x="34" y="1194"/>
                    </a:lnTo>
                    <a:lnTo>
                      <a:pt x="24" y="1193"/>
                    </a:lnTo>
                    <a:lnTo>
                      <a:pt x="24" y="1187"/>
                    </a:lnTo>
                    <a:close/>
                    <a:moveTo>
                      <a:pt x="27" y="1161"/>
                    </a:moveTo>
                    <a:lnTo>
                      <a:pt x="38" y="1162"/>
                    </a:lnTo>
                    <a:lnTo>
                      <a:pt x="37" y="1168"/>
                    </a:lnTo>
                    <a:lnTo>
                      <a:pt x="26" y="1167"/>
                    </a:lnTo>
                    <a:lnTo>
                      <a:pt x="27" y="1161"/>
                    </a:lnTo>
                    <a:close/>
                    <a:moveTo>
                      <a:pt x="29" y="1136"/>
                    </a:moveTo>
                    <a:lnTo>
                      <a:pt x="40" y="1137"/>
                    </a:lnTo>
                    <a:lnTo>
                      <a:pt x="39" y="1143"/>
                    </a:lnTo>
                    <a:lnTo>
                      <a:pt x="28" y="1142"/>
                    </a:lnTo>
                    <a:lnTo>
                      <a:pt x="29" y="1136"/>
                    </a:lnTo>
                    <a:close/>
                    <a:moveTo>
                      <a:pt x="31" y="1110"/>
                    </a:moveTo>
                    <a:lnTo>
                      <a:pt x="42" y="1111"/>
                    </a:lnTo>
                    <a:lnTo>
                      <a:pt x="42" y="1118"/>
                    </a:lnTo>
                    <a:lnTo>
                      <a:pt x="31" y="1117"/>
                    </a:lnTo>
                    <a:lnTo>
                      <a:pt x="31" y="1110"/>
                    </a:lnTo>
                    <a:close/>
                    <a:moveTo>
                      <a:pt x="34" y="1085"/>
                    </a:moveTo>
                    <a:lnTo>
                      <a:pt x="45" y="1086"/>
                    </a:lnTo>
                    <a:lnTo>
                      <a:pt x="44" y="1093"/>
                    </a:lnTo>
                    <a:lnTo>
                      <a:pt x="33" y="1092"/>
                    </a:lnTo>
                    <a:lnTo>
                      <a:pt x="34" y="1085"/>
                    </a:lnTo>
                    <a:close/>
                    <a:moveTo>
                      <a:pt x="37" y="1061"/>
                    </a:moveTo>
                    <a:lnTo>
                      <a:pt x="47" y="1062"/>
                    </a:lnTo>
                    <a:lnTo>
                      <a:pt x="46" y="1067"/>
                    </a:lnTo>
                    <a:lnTo>
                      <a:pt x="36" y="1066"/>
                    </a:lnTo>
                    <a:lnTo>
                      <a:pt x="37" y="1061"/>
                    </a:lnTo>
                    <a:close/>
                    <a:moveTo>
                      <a:pt x="39" y="1035"/>
                    </a:moveTo>
                    <a:lnTo>
                      <a:pt x="50" y="1036"/>
                    </a:lnTo>
                    <a:lnTo>
                      <a:pt x="50" y="1042"/>
                    </a:lnTo>
                    <a:lnTo>
                      <a:pt x="39" y="1041"/>
                    </a:lnTo>
                    <a:lnTo>
                      <a:pt x="39" y="1035"/>
                    </a:lnTo>
                    <a:close/>
                    <a:moveTo>
                      <a:pt x="42" y="1010"/>
                    </a:moveTo>
                    <a:lnTo>
                      <a:pt x="53" y="1011"/>
                    </a:lnTo>
                    <a:lnTo>
                      <a:pt x="52" y="1016"/>
                    </a:lnTo>
                    <a:lnTo>
                      <a:pt x="41" y="1015"/>
                    </a:lnTo>
                    <a:lnTo>
                      <a:pt x="42" y="1010"/>
                    </a:lnTo>
                    <a:close/>
                    <a:moveTo>
                      <a:pt x="44" y="984"/>
                    </a:moveTo>
                    <a:lnTo>
                      <a:pt x="55" y="985"/>
                    </a:lnTo>
                    <a:lnTo>
                      <a:pt x="54" y="992"/>
                    </a:lnTo>
                    <a:lnTo>
                      <a:pt x="43" y="990"/>
                    </a:lnTo>
                    <a:lnTo>
                      <a:pt x="44" y="984"/>
                    </a:lnTo>
                    <a:close/>
                    <a:moveTo>
                      <a:pt x="46" y="959"/>
                    </a:moveTo>
                    <a:lnTo>
                      <a:pt x="57" y="960"/>
                    </a:lnTo>
                    <a:lnTo>
                      <a:pt x="57" y="967"/>
                    </a:lnTo>
                    <a:lnTo>
                      <a:pt x="46" y="966"/>
                    </a:lnTo>
                    <a:lnTo>
                      <a:pt x="46" y="959"/>
                    </a:lnTo>
                    <a:close/>
                    <a:moveTo>
                      <a:pt x="50" y="933"/>
                    </a:moveTo>
                    <a:lnTo>
                      <a:pt x="60" y="934"/>
                    </a:lnTo>
                    <a:lnTo>
                      <a:pt x="59" y="941"/>
                    </a:lnTo>
                    <a:lnTo>
                      <a:pt x="48" y="940"/>
                    </a:lnTo>
                    <a:lnTo>
                      <a:pt x="50" y="933"/>
                    </a:lnTo>
                    <a:close/>
                    <a:moveTo>
                      <a:pt x="52" y="909"/>
                    </a:moveTo>
                    <a:lnTo>
                      <a:pt x="62" y="910"/>
                    </a:lnTo>
                    <a:lnTo>
                      <a:pt x="62" y="916"/>
                    </a:lnTo>
                    <a:lnTo>
                      <a:pt x="52" y="915"/>
                    </a:lnTo>
                    <a:lnTo>
                      <a:pt x="52" y="909"/>
                    </a:lnTo>
                    <a:close/>
                    <a:moveTo>
                      <a:pt x="55" y="883"/>
                    </a:moveTo>
                    <a:lnTo>
                      <a:pt x="66" y="884"/>
                    </a:lnTo>
                    <a:lnTo>
                      <a:pt x="65" y="890"/>
                    </a:lnTo>
                    <a:lnTo>
                      <a:pt x="54" y="889"/>
                    </a:lnTo>
                    <a:lnTo>
                      <a:pt x="55" y="883"/>
                    </a:lnTo>
                    <a:close/>
                    <a:moveTo>
                      <a:pt x="57" y="858"/>
                    </a:moveTo>
                    <a:lnTo>
                      <a:pt x="68" y="859"/>
                    </a:lnTo>
                    <a:lnTo>
                      <a:pt x="67" y="866"/>
                    </a:lnTo>
                    <a:lnTo>
                      <a:pt x="56" y="864"/>
                    </a:lnTo>
                    <a:lnTo>
                      <a:pt x="57" y="858"/>
                    </a:lnTo>
                    <a:close/>
                    <a:moveTo>
                      <a:pt x="59" y="832"/>
                    </a:moveTo>
                    <a:lnTo>
                      <a:pt x="70" y="833"/>
                    </a:lnTo>
                    <a:lnTo>
                      <a:pt x="70" y="840"/>
                    </a:lnTo>
                    <a:lnTo>
                      <a:pt x="59" y="839"/>
                    </a:lnTo>
                    <a:lnTo>
                      <a:pt x="59" y="832"/>
                    </a:lnTo>
                    <a:close/>
                    <a:moveTo>
                      <a:pt x="62" y="807"/>
                    </a:moveTo>
                    <a:lnTo>
                      <a:pt x="73" y="808"/>
                    </a:lnTo>
                    <a:lnTo>
                      <a:pt x="72" y="815"/>
                    </a:lnTo>
                    <a:lnTo>
                      <a:pt x="61" y="814"/>
                    </a:lnTo>
                    <a:lnTo>
                      <a:pt x="62" y="807"/>
                    </a:lnTo>
                    <a:close/>
                    <a:moveTo>
                      <a:pt x="65" y="783"/>
                    </a:moveTo>
                    <a:lnTo>
                      <a:pt x="75" y="784"/>
                    </a:lnTo>
                    <a:lnTo>
                      <a:pt x="74" y="789"/>
                    </a:lnTo>
                    <a:lnTo>
                      <a:pt x="63" y="788"/>
                    </a:lnTo>
                    <a:lnTo>
                      <a:pt x="65" y="783"/>
                    </a:lnTo>
                    <a:close/>
                    <a:moveTo>
                      <a:pt x="67" y="757"/>
                    </a:moveTo>
                    <a:lnTo>
                      <a:pt x="77" y="758"/>
                    </a:lnTo>
                    <a:lnTo>
                      <a:pt x="77" y="764"/>
                    </a:lnTo>
                    <a:lnTo>
                      <a:pt x="67" y="763"/>
                    </a:lnTo>
                    <a:lnTo>
                      <a:pt x="67" y="757"/>
                    </a:lnTo>
                    <a:close/>
                    <a:moveTo>
                      <a:pt x="70" y="732"/>
                    </a:moveTo>
                    <a:lnTo>
                      <a:pt x="81" y="733"/>
                    </a:lnTo>
                    <a:lnTo>
                      <a:pt x="80" y="740"/>
                    </a:lnTo>
                    <a:lnTo>
                      <a:pt x="69" y="738"/>
                    </a:lnTo>
                    <a:lnTo>
                      <a:pt x="70" y="732"/>
                    </a:lnTo>
                    <a:close/>
                    <a:moveTo>
                      <a:pt x="72" y="706"/>
                    </a:moveTo>
                    <a:lnTo>
                      <a:pt x="83" y="707"/>
                    </a:lnTo>
                    <a:lnTo>
                      <a:pt x="82" y="714"/>
                    </a:lnTo>
                    <a:lnTo>
                      <a:pt x="71" y="713"/>
                    </a:lnTo>
                    <a:lnTo>
                      <a:pt x="72" y="706"/>
                    </a:lnTo>
                    <a:close/>
                    <a:moveTo>
                      <a:pt x="74" y="681"/>
                    </a:moveTo>
                    <a:lnTo>
                      <a:pt x="85" y="682"/>
                    </a:lnTo>
                    <a:lnTo>
                      <a:pt x="85" y="689"/>
                    </a:lnTo>
                    <a:lnTo>
                      <a:pt x="74" y="688"/>
                    </a:lnTo>
                    <a:lnTo>
                      <a:pt x="74" y="681"/>
                    </a:lnTo>
                    <a:close/>
                    <a:moveTo>
                      <a:pt x="77" y="656"/>
                    </a:moveTo>
                    <a:lnTo>
                      <a:pt x="88" y="657"/>
                    </a:lnTo>
                    <a:lnTo>
                      <a:pt x="87" y="663"/>
                    </a:lnTo>
                    <a:lnTo>
                      <a:pt x="76" y="662"/>
                    </a:lnTo>
                    <a:lnTo>
                      <a:pt x="77" y="656"/>
                    </a:lnTo>
                    <a:close/>
                    <a:moveTo>
                      <a:pt x="80" y="631"/>
                    </a:moveTo>
                    <a:lnTo>
                      <a:pt x="90" y="632"/>
                    </a:lnTo>
                    <a:lnTo>
                      <a:pt x="90" y="638"/>
                    </a:lnTo>
                    <a:lnTo>
                      <a:pt x="80" y="637"/>
                    </a:lnTo>
                    <a:lnTo>
                      <a:pt x="80" y="631"/>
                    </a:lnTo>
                    <a:close/>
                    <a:moveTo>
                      <a:pt x="82" y="605"/>
                    </a:moveTo>
                    <a:lnTo>
                      <a:pt x="93" y="606"/>
                    </a:lnTo>
                    <a:lnTo>
                      <a:pt x="93" y="612"/>
                    </a:lnTo>
                    <a:lnTo>
                      <a:pt x="82" y="611"/>
                    </a:lnTo>
                    <a:lnTo>
                      <a:pt x="82" y="605"/>
                    </a:lnTo>
                    <a:close/>
                    <a:moveTo>
                      <a:pt x="85" y="580"/>
                    </a:moveTo>
                    <a:lnTo>
                      <a:pt x="96" y="581"/>
                    </a:lnTo>
                    <a:lnTo>
                      <a:pt x="95" y="588"/>
                    </a:lnTo>
                    <a:lnTo>
                      <a:pt x="84" y="587"/>
                    </a:lnTo>
                    <a:lnTo>
                      <a:pt x="85" y="580"/>
                    </a:lnTo>
                    <a:close/>
                    <a:moveTo>
                      <a:pt x="87" y="554"/>
                    </a:moveTo>
                    <a:lnTo>
                      <a:pt x="98" y="555"/>
                    </a:lnTo>
                    <a:lnTo>
                      <a:pt x="98" y="562"/>
                    </a:lnTo>
                    <a:lnTo>
                      <a:pt x="87" y="561"/>
                    </a:lnTo>
                    <a:lnTo>
                      <a:pt x="87" y="554"/>
                    </a:lnTo>
                    <a:close/>
                    <a:moveTo>
                      <a:pt x="90" y="530"/>
                    </a:moveTo>
                    <a:lnTo>
                      <a:pt x="101" y="531"/>
                    </a:lnTo>
                    <a:lnTo>
                      <a:pt x="100" y="537"/>
                    </a:lnTo>
                    <a:lnTo>
                      <a:pt x="89" y="536"/>
                    </a:lnTo>
                    <a:lnTo>
                      <a:pt x="90" y="530"/>
                    </a:lnTo>
                    <a:close/>
                    <a:moveTo>
                      <a:pt x="93" y="505"/>
                    </a:moveTo>
                    <a:lnTo>
                      <a:pt x="103" y="506"/>
                    </a:lnTo>
                    <a:lnTo>
                      <a:pt x="102" y="511"/>
                    </a:lnTo>
                    <a:lnTo>
                      <a:pt x="91" y="510"/>
                    </a:lnTo>
                    <a:lnTo>
                      <a:pt x="93" y="505"/>
                    </a:lnTo>
                    <a:close/>
                    <a:moveTo>
                      <a:pt x="95" y="479"/>
                    </a:moveTo>
                    <a:lnTo>
                      <a:pt x="105" y="480"/>
                    </a:lnTo>
                    <a:lnTo>
                      <a:pt x="105" y="486"/>
                    </a:lnTo>
                    <a:lnTo>
                      <a:pt x="95" y="485"/>
                    </a:lnTo>
                    <a:lnTo>
                      <a:pt x="95" y="479"/>
                    </a:lnTo>
                    <a:close/>
                    <a:moveTo>
                      <a:pt x="98" y="454"/>
                    </a:moveTo>
                    <a:lnTo>
                      <a:pt x="109" y="455"/>
                    </a:lnTo>
                    <a:lnTo>
                      <a:pt x="108" y="462"/>
                    </a:lnTo>
                    <a:lnTo>
                      <a:pt x="97" y="461"/>
                    </a:lnTo>
                    <a:lnTo>
                      <a:pt x="98" y="454"/>
                    </a:lnTo>
                    <a:close/>
                    <a:moveTo>
                      <a:pt x="100" y="428"/>
                    </a:moveTo>
                    <a:lnTo>
                      <a:pt x="111" y="429"/>
                    </a:lnTo>
                    <a:lnTo>
                      <a:pt x="110" y="436"/>
                    </a:lnTo>
                    <a:lnTo>
                      <a:pt x="99" y="435"/>
                    </a:lnTo>
                    <a:lnTo>
                      <a:pt x="100" y="428"/>
                    </a:lnTo>
                    <a:close/>
                    <a:moveTo>
                      <a:pt x="102" y="404"/>
                    </a:moveTo>
                    <a:lnTo>
                      <a:pt x="113" y="405"/>
                    </a:lnTo>
                    <a:lnTo>
                      <a:pt x="113" y="411"/>
                    </a:lnTo>
                    <a:lnTo>
                      <a:pt x="102" y="410"/>
                    </a:lnTo>
                    <a:lnTo>
                      <a:pt x="102" y="404"/>
                    </a:lnTo>
                    <a:close/>
                    <a:moveTo>
                      <a:pt x="105" y="378"/>
                    </a:moveTo>
                    <a:lnTo>
                      <a:pt x="116" y="379"/>
                    </a:lnTo>
                    <a:lnTo>
                      <a:pt x="115" y="385"/>
                    </a:lnTo>
                    <a:lnTo>
                      <a:pt x="104" y="384"/>
                    </a:lnTo>
                    <a:lnTo>
                      <a:pt x="105" y="378"/>
                    </a:lnTo>
                    <a:close/>
                    <a:moveTo>
                      <a:pt x="108" y="353"/>
                    </a:moveTo>
                    <a:lnTo>
                      <a:pt x="118" y="354"/>
                    </a:lnTo>
                    <a:lnTo>
                      <a:pt x="117" y="360"/>
                    </a:lnTo>
                    <a:lnTo>
                      <a:pt x="107" y="359"/>
                    </a:lnTo>
                    <a:lnTo>
                      <a:pt x="108" y="353"/>
                    </a:lnTo>
                    <a:close/>
                    <a:moveTo>
                      <a:pt x="110" y="327"/>
                    </a:moveTo>
                    <a:lnTo>
                      <a:pt x="120" y="328"/>
                    </a:lnTo>
                    <a:lnTo>
                      <a:pt x="120" y="335"/>
                    </a:lnTo>
                    <a:lnTo>
                      <a:pt x="110" y="334"/>
                    </a:lnTo>
                    <a:lnTo>
                      <a:pt x="110" y="327"/>
                    </a:lnTo>
                    <a:close/>
                    <a:moveTo>
                      <a:pt x="113" y="302"/>
                    </a:moveTo>
                    <a:lnTo>
                      <a:pt x="124" y="303"/>
                    </a:lnTo>
                    <a:lnTo>
                      <a:pt x="123" y="310"/>
                    </a:lnTo>
                    <a:lnTo>
                      <a:pt x="112" y="309"/>
                    </a:lnTo>
                    <a:lnTo>
                      <a:pt x="113" y="302"/>
                    </a:lnTo>
                    <a:close/>
                    <a:moveTo>
                      <a:pt x="115" y="278"/>
                    </a:moveTo>
                    <a:lnTo>
                      <a:pt x="126" y="279"/>
                    </a:lnTo>
                    <a:lnTo>
                      <a:pt x="126" y="284"/>
                    </a:lnTo>
                    <a:lnTo>
                      <a:pt x="115" y="283"/>
                    </a:lnTo>
                    <a:lnTo>
                      <a:pt x="115" y="278"/>
                    </a:lnTo>
                    <a:close/>
                    <a:moveTo>
                      <a:pt x="117" y="252"/>
                    </a:moveTo>
                    <a:lnTo>
                      <a:pt x="128" y="253"/>
                    </a:lnTo>
                    <a:lnTo>
                      <a:pt x="128" y="259"/>
                    </a:lnTo>
                    <a:lnTo>
                      <a:pt x="117" y="258"/>
                    </a:lnTo>
                    <a:lnTo>
                      <a:pt x="117" y="252"/>
                    </a:lnTo>
                    <a:close/>
                    <a:moveTo>
                      <a:pt x="120" y="227"/>
                    </a:moveTo>
                    <a:lnTo>
                      <a:pt x="131" y="228"/>
                    </a:lnTo>
                    <a:lnTo>
                      <a:pt x="130" y="233"/>
                    </a:lnTo>
                    <a:lnTo>
                      <a:pt x="119" y="232"/>
                    </a:lnTo>
                    <a:lnTo>
                      <a:pt x="120" y="227"/>
                    </a:lnTo>
                    <a:close/>
                    <a:moveTo>
                      <a:pt x="123" y="201"/>
                    </a:moveTo>
                    <a:lnTo>
                      <a:pt x="133" y="202"/>
                    </a:lnTo>
                    <a:lnTo>
                      <a:pt x="133" y="209"/>
                    </a:lnTo>
                    <a:lnTo>
                      <a:pt x="123" y="208"/>
                    </a:lnTo>
                    <a:lnTo>
                      <a:pt x="123" y="201"/>
                    </a:lnTo>
                    <a:close/>
                    <a:moveTo>
                      <a:pt x="126" y="176"/>
                    </a:moveTo>
                    <a:lnTo>
                      <a:pt x="137" y="177"/>
                    </a:lnTo>
                    <a:lnTo>
                      <a:pt x="136" y="184"/>
                    </a:lnTo>
                    <a:lnTo>
                      <a:pt x="125" y="183"/>
                    </a:lnTo>
                    <a:lnTo>
                      <a:pt x="126" y="176"/>
                    </a:lnTo>
                    <a:close/>
                    <a:moveTo>
                      <a:pt x="128" y="150"/>
                    </a:moveTo>
                    <a:lnTo>
                      <a:pt x="139" y="151"/>
                    </a:lnTo>
                    <a:lnTo>
                      <a:pt x="138" y="158"/>
                    </a:lnTo>
                    <a:lnTo>
                      <a:pt x="127" y="157"/>
                    </a:lnTo>
                    <a:lnTo>
                      <a:pt x="128" y="150"/>
                    </a:lnTo>
                    <a:close/>
                    <a:moveTo>
                      <a:pt x="130" y="126"/>
                    </a:moveTo>
                    <a:lnTo>
                      <a:pt x="141" y="127"/>
                    </a:lnTo>
                    <a:lnTo>
                      <a:pt x="141" y="133"/>
                    </a:lnTo>
                    <a:lnTo>
                      <a:pt x="130" y="132"/>
                    </a:lnTo>
                    <a:lnTo>
                      <a:pt x="130" y="126"/>
                    </a:lnTo>
                    <a:close/>
                    <a:moveTo>
                      <a:pt x="133" y="100"/>
                    </a:moveTo>
                    <a:lnTo>
                      <a:pt x="144" y="101"/>
                    </a:lnTo>
                    <a:lnTo>
                      <a:pt x="143" y="107"/>
                    </a:lnTo>
                    <a:lnTo>
                      <a:pt x="132" y="106"/>
                    </a:lnTo>
                    <a:lnTo>
                      <a:pt x="133" y="100"/>
                    </a:lnTo>
                    <a:close/>
                    <a:moveTo>
                      <a:pt x="136" y="75"/>
                    </a:moveTo>
                    <a:lnTo>
                      <a:pt x="146" y="76"/>
                    </a:lnTo>
                    <a:lnTo>
                      <a:pt x="145" y="83"/>
                    </a:lnTo>
                    <a:lnTo>
                      <a:pt x="134" y="81"/>
                    </a:lnTo>
                    <a:lnTo>
                      <a:pt x="136" y="75"/>
                    </a:lnTo>
                    <a:close/>
                    <a:moveTo>
                      <a:pt x="138" y="49"/>
                    </a:moveTo>
                    <a:lnTo>
                      <a:pt x="148" y="50"/>
                    </a:lnTo>
                    <a:lnTo>
                      <a:pt x="148" y="57"/>
                    </a:lnTo>
                    <a:lnTo>
                      <a:pt x="138" y="56"/>
                    </a:lnTo>
                    <a:lnTo>
                      <a:pt x="138" y="49"/>
                    </a:lnTo>
                    <a:close/>
                    <a:moveTo>
                      <a:pt x="141" y="24"/>
                    </a:moveTo>
                    <a:lnTo>
                      <a:pt x="152" y="25"/>
                    </a:lnTo>
                    <a:lnTo>
                      <a:pt x="151" y="32"/>
                    </a:lnTo>
                    <a:lnTo>
                      <a:pt x="140" y="31"/>
                    </a:lnTo>
                    <a:lnTo>
                      <a:pt x="141" y="24"/>
                    </a:lnTo>
                    <a:close/>
                    <a:moveTo>
                      <a:pt x="143" y="0"/>
                    </a:moveTo>
                    <a:lnTo>
                      <a:pt x="154" y="1"/>
                    </a:lnTo>
                    <a:lnTo>
                      <a:pt x="153" y="6"/>
                    </a:lnTo>
                    <a:lnTo>
                      <a:pt x="142" y="5"/>
                    </a:lnTo>
                    <a:lnTo>
                      <a:pt x="143" y="0"/>
                    </a:lnTo>
                    <a:close/>
                  </a:path>
                </a:pathLst>
              </a:custGeom>
              <a:solidFill>
                <a:srgbClr val="A3A7A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96" name="Rectangle 446"/>
              <p:cNvSpPr>
                <a:spLocks noChangeArrowheads="1"/>
              </p:cNvSpPr>
              <p:nvPr/>
            </p:nvSpPr>
            <p:spPr bwMode="auto">
              <a:xfrm>
                <a:off x="2370" y="2725"/>
                <a:ext cx="11" cy="3"/>
              </a:xfrm>
              <a:prstGeom prst="rect">
                <a:avLst/>
              </a:prstGeom>
              <a:solidFill>
                <a:srgbClr val="A3A7AC"/>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eaLnBrk="1" hangingPunct="1"/>
                <a:endParaRPr lang="es-ES" altLang="es-CL" dirty="0">
                  <a:solidFill>
                    <a:srgbClr val="333333"/>
                  </a:solidFill>
                  <a:latin typeface="Arial" pitchFamily="34" charset="0"/>
                </a:endParaRPr>
              </a:p>
            </p:txBody>
          </p:sp>
          <p:sp>
            <p:nvSpPr>
              <p:cNvPr id="2297" name="Freeform 447"/>
              <p:cNvSpPr>
                <a:spLocks/>
              </p:cNvSpPr>
              <p:nvPr/>
            </p:nvSpPr>
            <p:spPr bwMode="auto">
              <a:xfrm>
                <a:off x="2183" y="1760"/>
                <a:ext cx="174" cy="175"/>
              </a:xfrm>
              <a:custGeom>
                <a:avLst/>
                <a:gdLst>
                  <a:gd name="T0" fmla="*/ 88 w 174"/>
                  <a:gd name="T1" fmla="*/ 0 h 175"/>
                  <a:gd name="T2" fmla="*/ 111 w 174"/>
                  <a:gd name="T3" fmla="*/ 3 h 175"/>
                  <a:gd name="T4" fmla="*/ 131 w 174"/>
                  <a:gd name="T5" fmla="*/ 12 h 175"/>
                  <a:gd name="T6" fmla="*/ 149 w 174"/>
                  <a:gd name="T7" fmla="*/ 26 h 175"/>
                  <a:gd name="T8" fmla="*/ 162 w 174"/>
                  <a:gd name="T9" fmla="*/ 43 h 175"/>
                  <a:gd name="T10" fmla="*/ 171 w 174"/>
                  <a:gd name="T11" fmla="*/ 64 h 175"/>
                  <a:gd name="T12" fmla="*/ 174 w 174"/>
                  <a:gd name="T13" fmla="*/ 87 h 175"/>
                  <a:gd name="T14" fmla="*/ 171 w 174"/>
                  <a:gd name="T15" fmla="*/ 111 h 175"/>
                  <a:gd name="T16" fmla="*/ 162 w 174"/>
                  <a:gd name="T17" fmla="*/ 131 h 175"/>
                  <a:gd name="T18" fmla="*/ 149 w 174"/>
                  <a:gd name="T19" fmla="*/ 150 h 175"/>
                  <a:gd name="T20" fmla="*/ 131 w 174"/>
                  <a:gd name="T21" fmla="*/ 163 h 175"/>
                  <a:gd name="T22" fmla="*/ 111 w 174"/>
                  <a:gd name="T23" fmla="*/ 171 h 175"/>
                  <a:gd name="T24" fmla="*/ 88 w 174"/>
                  <a:gd name="T25" fmla="*/ 175 h 175"/>
                  <a:gd name="T26" fmla="*/ 64 w 174"/>
                  <a:gd name="T27" fmla="*/ 171 h 175"/>
                  <a:gd name="T28" fmla="*/ 44 w 174"/>
                  <a:gd name="T29" fmla="*/ 163 h 175"/>
                  <a:gd name="T30" fmla="*/ 26 w 174"/>
                  <a:gd name="T31" fmla="*/ 150 h 175"/>
                  <a:gd name="T32" fmla="*/ 13 w 174"/>
                  <a:gd name="T33" fmla="*/ 131 h 175"/>
                  <a:gd name="T34" fmla="*/ 3 w 174"/>
                  <a:gd name="T35" fmla="*/ 111 h 175"/>
                  <a:gd name="T36" fmla="*/ 0 w 174"/>
                  <a:gd name="T37" fmla="*/ 87 h 175"/>
                  <a:gd name="T38" fmla="*/ 3 w 174"/>
                  <a:gd name="T39" fmla="*/ 64 h 175"/>
                  <a:gd name="T40" fmla="*/ 13 w 174"/>
                  <a:gd name="T41" fmla="*/ 43 h 175"/>
                  <a:gd name="T42" fmla="*/ 26 w 174"/>
                  <a:gd name="T43" fmla="*/ 26 h 175"/>
                  <a:gd name="T44" fmla="*/ 44 w 174"/>
                  <a:gd name="T45" fmla="*/ 12 h 175"/>
                  <a:gd name="T46" fmla="*/ 64 w 174"/>
                  <a:gd name="T47" fmla="*/ 3 h 175"/>
                  <a:gd name="T48" fmla="*/ 88 w 174"/>
                  <a:gd name="T49" fmla="*/ 0 h 17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74" h="175">
                    <a:moveTo>
                      <a:pt x="88" y="0"/>
                    </a:moveTo>
                    <a:lnTo>
                      <a:pt x="111" y="3"/>
                    </a:lnTo>
                    <a:lnTo>
                      <a:pt x="131" y="12"/>
                    </a:lnTo>
                    <a:lnTo>
                      <a:pt x="149" y="26"/>
                    </a:lnTo>
                    <a:lnTo>
                      <a:pt x="162" y="43"/>
                    </a:lnTo>
                    <a:lnTo>
                      <a:pt x="171" y="64"/>
                    </a:lnTo>
                    <a:lnTo>
                      <a:pt x="174" y="87"/>
                    </a:lnTo>
                    <a:lnTo>
                      <a:pt x="171" y="111"/>
                    </a:lnTo>
                    <a:lnTo>
                      <a:pt x="162" y="131"/>
                    </a:lnTo>
                    <a:lnTo>
                      <a:pt x="149" y="150"/>
                    </a:lnTo>
                    <a:lnTo>
                      <a:pt x="131" y="163"/>
                    </a:lnTo>
                    <a:lnTo>
                      <a:pt x="111" y="171"/>
                    </a:lnTo>
                    <a:lnTo>
                      <a:pt x="88" y="175"/>
                    </a:lnTo>
                    <a:lnTo>
                      <a:pt x="64" y="171"/>
                    </a:lnTo>
                    <a:lnTo>
                      <a:pt x="44" y="163"/>
                    </a:lnTo>
                    <a:lnTo>
                      <a:pt x="26" y="150"/>
                    </a:lnTo>
                    <a:lnTo>
                      <a:pt x="13" y="131"/>
                    </a:lnTo>
                    <a:lnTo>
                      <a:pt x="3" y="111"/>
                    </a:lnTo>
                    <a:lnTo>
                      <a:pt x="0" y="87"/>
                    </a:lnTo>
                    <a:lnTo>
                      <a:pt x="3" y="64"/>
                    </a:lnTo>
                    <a:lnTo>
                      <a:pt x="13" y="43"/>
                    </a:lnTo>
                    <a:lnTo>
                      <a:pt x="26" y="26"/>
                    </a:lnTo>
                    <a:lnTo>
                      <a:pt x="44" y="12"/>
                    </a:lnTo>
                    <a:lnTo>
                      <a:pt x="64" y="3"/>
                    </a:lnTo>
                    <a:lnTo>
                      <a:pt x="88" y="0"/>
                    </a:lnTo>
                    <a:close/>
                  </a:path>
                </a:pathLst>
              </a:custGeom>
              <a:solidFill>
                <a:srgbClr val="29426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98" name="Freeform 448"/>
              <p:cNvSpPr>
                <a:spLocks noEditPoints="1"/>
              </p:cNvSpPr>
              <p:nvPr/>
            </p:nvSpPr>
            <p:spPr bwMode="auto">
              <a:xfrm>
                <a:off x="2179" y="1754"/>
                <a:ext cx="185" cy="185"/>
              </a:xfrm>
              <a:custGeom>
                <a:avLst/>
                <a:gdLst>
                  <a:gd name="T0" fmla="*/ 92 w 185"/>
                  <a:gd name="T1" fmla="*/ 10 h 185"/>
                  <a:gd name="T2" fmla="*/ 71 w 185"/>
                  <a:gd name="T3" fmla="*/ 14 h 185"/>
                  <a:gd name="T4" fmla="*/ 51 w 185"/>
                  <a:gd name="T5" fmla="*/ 21 h 185"/>
                  <a:gd name="T6" fmla="*/ 34 w 185"/>
                  <a:gd name="T7" fmla="*/ 34 h 185"/>
                  <a:gd name="T8" fmla="*/ 21 w 185"/>
                  <a:gd name="T9" fmla="*/ 51 h 185"/>
                  <a:gd name="T10" fmla="*/ 14 w 185"/>
                  <a:gd name="T11" fmla="*/ 72 h 185"/>
                  <a:gd name="T12" fmla="*/ 10 w 185"/>
                  <a:gd name="T13" fmla="*/ 93 h 185"/>
                  <a:gd name="T14" fmla="*/ 12 w 185"/>
                  <a:gd name="T15" fmla="*/ 109 h 185"/>
                  <a:gd name="T16" fmla="*/ 17 w 185"/>
                  <a:gd name="T17" fmla="*/ 125 h 185"/>
                  <a:gd name="T18" fmla="*/ 24 w 185"/>
                  <a:gd name="T19" fmla="*/ 139 h 185"/>
                  <a:gd name="T20" fmla="*/ 34 w 185"/>
                  <a:gd name="T21" fmla="*/ 150 h 185"/>
                  <a:gd name="T22" fmla="*/ 51 w 185"/>
                  <a:gd name="T23" fmla="*/ 164 h 185"/>
                  <a:gd name="T24" fmla="*/ 71 w 185"/>
                  <a:gd name="T25" fmla="*/ 173 h 185"/>
                  <a:gd name="T26" fmla="*/ 92 w 185"/>
                  <a:gd name="T27" fmla="*/ 175 h 185"/>
                  <a:gd name="T28" fmla="*/ 114 w 185"/>
                  <a:gd name="T29" fmla="*/ 173 h 185"/>
                  <a:gd name="T30" fmla="*/ 133 w 185"/>
                  <a:gd name="T31" fmla="*/ 164 h 185"/>
                  <a:gd name="T32" fmla="*/ 150 w 185"/>
                  <a:gd name="T33" fmla="*/ 150 h 185"/>
                  <a:gd name="T34" fmla="*/ 161 w 185"/>
                  <a:gd name="T35" fmla="*/ 139 h 185"/>
                  <a:gd name="T36" fmla="*/ 168 w 185"/>
                  <a:gd name="T37" fmla="*/ 125 h 185"/>
                  <a:gd name="T38" fmla="*/ 173 w 185"/>
                  <a:gd name="T39" fmla="*/ 109 h 185"/>
                  <a:gd name="T40" fmla="*/ 174 w 185"/>
                  <a:gd name="T41" fmla="*/ 93 h 185"/>
                  <a:gd name="T42" fmla="*/ 172 w 185"/>
                  <a:gd name="T43" fmla="*/ 72 h 185"/>
                  <a:gd name="T44" fmla="*/ 163 w 185"/>
                  <a:gd name="T45" fmla="*/ 51 h 185"/>
                  <a:gd name="T46" fmla="*/ 150 w 185"/>
                  <a:gd name="T47" fmla="*/ 34 h 185"/>
                  <a:gd name="T48" fmla="*/ 133 w 185"/>
                  <a:gd name="T49" fmla="*/ 21 h 185"/>
                  <a:gd name="T50" fmla="*/ 114 w 185"/>
                  <a:gd name="T51" fmla="*/ 14 h 185"/>
                  <a:gd name="T52" fmla="*/ 92 w 185"/>
                  <a:gd name="T53" fmla="*/ 10 h 185"/>
                  <a:gd name="T54" fmla="*/ 92 w 185"/>
                  <a:gd name="T55" fmla="*/ 0 h 185"/>
                  <a:gd name="T56" fmla="*/ 110 w 185"/>
                  <a:gd name="T57" fmla="*/ 2 h 185"/>
                  <a:gd name="T58" fmla="*/ 128 w 185"/>
                  <a:gd name="T59" fmla="*/ 6 h 185"/>
                  <a:gd name="T60" fmla="*/ 144 w 185"/>
                  <a:gd name="T61" fmla="*/ 15 h 185"/>
                  <a:gd name="T62" fmla="*/ 158 w 185"/>
                  <a:gd name="T63" fmla="*/ 27 h 185"/>
                  <a:gd name="T64" fmla="*/ 169 w 185"/>
                  <a:gd name="T65" fmla="*/ 41 h 185"/>
                  <a:gd name="T66" fmla="*/ 178 w 185"/>
                  <a:gd name="T67" fmla="*/ 57 h 185"/>
                  <a:gd name="T68" fmla="*/ 183 w 185"/>
                  <a:gd name="T69" fmla="*/ 75 h 185"/>
                  <a:gd name="T70" fmla="*/ 185 w 185"/>
                  <a:gd name="T71" fmla="*/ 93 h 185"/>
                  <a:gd name="T72" fmla="*/ 183 w 185"/>
                  <a:gd name="T73" fmla="*/ 111 h 185"/>
                  <a:gd name="T74" fmla="*/ 178 w 185"/>
                  <a:gd name="T75" fmla="*/ 128 h 185"/>
                  <a:gd name="T76" fmla="*/ 169 w 185"/>
                  <a:gd name="T77" fmla="*/ 144 h 185"/>
                  <a:gd name="T78" fmla="*/ 158 w 185"/>
                  <a:gd name="T79" fmla="*/ 158 h 185"/>
                  <a:gd name="T80" fmla="*/ 144 w 185"/>
                  <a:gd name="T81" fmla="*/ 170 h 185"/>
                  <a:gd name="T82" fmla="*/ 128 w 185"/>
                  <a:gd name="T83" fmla="*/ 178 h 185"/>
                  <a:gd name="T84" fmla="*/ 110 w 185"/>
                  <a:gd name="T85" fmla="*/ 184 h 185"/>
                  <a:gd name="T86" fmla="*/ 92 w 185"/>
                  <a:gd name="T87" fmla="*/ 185 h 185"/>
                  <a:gd name="T88" fmla="*/ 74 w 185"/>
                  <a:gd name="T89" fmla="*/ 184 h 185"/>
                  <a:gd name="T90" fmla="*/ 57 w 185"/>
                  <a:gd name="T91" fmla="*/ 178 h 185"/>
                  <a:gd name="T92" fmla="*/ 40 w 185"/>
                  <a:gd name="T93" fmla="*/ 170 h 185"/>
                  <a:gd name="T94" fmla="*/ 26 w 185"/>
                  <a:gd name="T95" fmla="*/ 158 h 185"/>
                  <a:gd name="T96" fmla="*/ 15 w 185"/>
                  <a:gd name="T97" fmla="*/ 144 h 185"/>
                  <a:gd name="T98" fmla="*/ 7 w 185"/>
                  <a:gd name="T99" fmla="*/ 128 h 185"/>
                  <a:gd name="T100" fmla="*/ 2 w 185"/>
                  <a:gd name="T101" fmla="*/ 111 h 185"/>
                  <a:gd name="T102" fmla="*/ 0 w 185"/>
                  <a:gd name="T103" fmla="*/ 93 h 185"/>
                  <a:gd name="T104" fmla="*/ 2 w 185"/>
                  <a:gd name="T105" fmla="*/ 75 h 185"/>
                  <a:gd name="T106" fmla="*/ 7 w 185"/>
                  <a:gd name="T107" fmla="*/ 57 h 185"/>
                  <a:gd name="T108" fmla="*/ 15 w 185"/>
                  <a:gd name="T109" fmla="*/ 41 h 185"/>
                  <a:gd name="T110" fmla="*/ 26 w 185"/>
                  <a:gd name="T111" fmla="*/ 27 h 185"/>
                  <a:gd name="T112" fmla="*/ 40 w 185"/>
                  <a:gd name="T113" fmla="*/ 15 h 185"/>
                  <a:gd name="T114" fmla="*/ 57 w 185"/>
                  <a:gd name="T115" fmla="*/ 6 h 185"/>
                  <a:gd name="T116" fmla="*/ 74 w 185"/>
                  <a:gd name="T117" fmla="*/ 2 h 185"/>
                  <a:gd name="T118" fmla="*/ 92 w 185"/>
                  <a:gd name="T119" fmla="*/ 0 h 18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85" h="185">
                    <a:moveTo>
                      <a:pt x="92" y="10"/>
                    </a:moveTo>
                    <a:lnTo>
                      <a:pt x="71" y="14"/>
                    </a:lnTo>
                    <a:lnTo>
                      <a:pt x="51" y="21"/>
                    </a:lnTo>
                    <a:lnTo>
                      <a:pt x="34" y="34"/>
                    </a:lnTo>
                    <a:lnTo>
                      <a:pt x="21" y="51"/>
                    </a:lnTo>
                    <a:lnTo>
                      <a:pt x="14" y="72"/>
                    </a:lnTo>
                    <a:lnTo>
                      <a:pt x="10" y="93"/>
                    </a:lnTo>
                    <a:lnTo>
                      <a:pt x="12" y="109"/>
                    </a:lnTo>
                    <a:lnTo>
                      <a:pt x="17" y="125"/>
                    </a:lnTo>
                    <a:lnTo>
                      <a:pt x="24" y="139"/>
                    </a:lnTo>
                    <a:lnTo>
                      <a:pt x="34" y="150"/>
                    </a:lnTo>
                    <a:lnTo>
                      <a:pt x="51" y="164"/>
                    </a:lnTo>
                    <a:lnTo>
                      <a:pt x="71" y="173"/>
                    </a:lnTo>
                    <a:lnTo>
                      <a:pt x="92" y="175"/>
                    </a:lnTo>
                    <a:lnTo>
                      <a:pt x="114" y="173"/>
                    </a:lnTo>
                    <a:lnTo>
                      <a:pt x="133" y="164"/>
                    </a:lnTo>
                    <a:lnTo>
                      <a:pt x="150" y="150"/>
                    </a:lnTo>
                    <a:lnTo>
                      <a:pt x="161" y="139"/>
                    </a:lnTo>
                    <a:lnTo>
                      <a:pt x="168" y="125"/>
                    </a:lnTo>
                    <a:lnTo>
                      <a:pt x="173" y="109"/>
                    </a:lnTo>
                    <a:lnTo>
                      <a:pt x="174" y="93"/>
                    </a:lnTo>
                    <a:lnTo>
                      <a:pt x="172" y="72"/>
                    </a:lnTo>
                    <a:lnTo>
                      <a:pt x="163" y="51"/>
                    </a:lnTo>
                    <a:lnTo>
                      <a:pt x="150" y="34"/>
                    </a:lnTo>
                    <a:lnTo>
                      <a:pt x="133" y="21"/>
                    </a:lnTo>
                    <a:lnTo>
                      <a:pt x="114" y="14"/>
                    </a:lnTo>
                    <a:lnTo>
                      <a:pt x="92" y="10"/>
                    </a:lnTo>
                    <a:close/>
                    <a:moveTo>
                      <a:pt x="92" y="0"/>
                    </a:moveTo>
                    <a:lnTo>
                      <a:pt x="110" y="2"/>
                    </a:lnTo>
                    <a:lnTo>
                      <a:pt x="128" y="6"/>
                    </a:lnTo>
                    <a:lnTo>
                      <a:pt x="144" y="15"/>
                    </a:lnTo>
                    <a:lnTo>
                      <a:pt x="158" y="27"/>
                    </a:lnTo>
                    <a:lnTo>
                      <a:pt x="169" y="41"/>
                    </a:lnTo>
                    <a:lnTo>
                      <a:pt x="178" y="57"/>
                    </a:lnTo>
                    <a:lnTo>
                      <a:pt x="183" y="75"/>
                    </a:lnTo>
                    <a:lnTo>
                      <a:pt x="185" y="93"/>
                    </a:lnTo>
                    <a:lnTo>
                      <a:pt x="183" y="111"/>
                    </a:lnTo>
                    <a:lnTo>
                      <a:pt x="178" y="128"/>
                    </a:lnTo>
                    <a:lnTo>
                      <a:pt x="169" y="144"/>
                    </a:lnTo>
                    <a:lnTo>
                      <a:pt x="158" y="158"/>
                    </a:lnTo>
                    <a:lnTo>
                      <a:pt x="144" y="170"/>
                    </a:lnTo>
                    <a:lnTo>
                      <a:pt x="128" y="178"/>
                    </a:lnTo>
                    <a:lnTo>
                      <a:pt x="110" y="184"/>
                    </a:lnTo>
                    <a:lnTo>
                      <a:pt x="92" y="185"/>
                    </a:lnTo>
                    <a:lnTo>
                      <a:pt x="74" y="184"/>
                    </a:lnTo>
                    <a:lnTo>
                      <a:pt x="57" y="178"/>
                    </a:lnTo>
                    <a:lnTo>
                      <a:pt x="40" y="170"/>
                    </a:lnTo>
                    <a:lnTo>
                      <a:pt x="26" y="158"/>
                    </a:lnTo>
                    <a:lnTo>
                      <a:pt x="15" y="144"/>
                    </a:lnTo>
                    <a:lnTo>
                      <a:pt x="7" y="128"/>
                    </a:lnTo>
                    <a:lnTo>
                      <a:pt x="2" y="111"/>
                    </a:lnTo>
                    <a:lnTo>
                      <a:pt x="0" y="93"/>
                    </a:lnTo>
                    <a:lnTo>
                      <a:pt x="2" y="75"/>
                    </a:lnTo>
                    <a:lnTo>
                      <a:pt x="7" y="57"/>
                    </a:lnTo>
                    <a:lnTo>
                      <a:pt x="15" y="41"/>
                    </a:lnTo>
                    <a:lnTo>
                      <a:pt x="26" y="27"/>
                    </a:lnTo>
                    <a:lnTo>
                      <a:pt x="40" y="15"/>
                    </a:lnTo>
                    <a:lnTo>
                      <a:pt x="57" y="6"/>
                    </a:lnTo>
                    <a:lnTo>
                      <a:pt x="74" y="2"/>
                    </a:lnTo>
                    <a:lnTo>
                      <a:pt x="92" y="0"/>
                    </a:lnTo>
                    <a:close/>
                  </a:path>
                </a:pathLst>
              </a:custGeom>
              <a:solidFill>
                <a:srgbClr val="82A3C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299" name="Freeform 449"/>
              <p:cNvSpPr>
                <a:spLocks/>
              </p:cNvSpPr>
              <p:nvPr/>
            </p:nvSpPr>
            <p:spPr bwMode="auto">
              <a:xfrm>
                <a:off x="2259" y="1795"/>
                <a:ext cx="31" cy="65"/>
              </a:xfrm>
              <a:custGeom>
                <a:avLst/>
                <a:gdLst>
                  <a:gd name="T0" fmla="*/ 12 w 31"/>
                  <a:gd name="T1" fmla="*/ 0 h 65"/>
                  <a:gd name="T2" fmla="*/ 12 w 31"/>
                  <a:gd name="T3" fmla="*/ 2 h 65"/>
                  <a:gd name="T4" fmla="*/ 15 w 31"/>
                  <a:gd name="T5" fmla="*/ 5 h 65"/>
                  <a:gd name="T6" fmla="*/ 18 w 31"/>
                  <a:gd name="T7" fmla="*/ 11 h 65"/>
                  <a:gd name="T8" fmla="*/ 23 w 31"/>
                  <a:gd name="T9" fmla="*/ 19 h 65"/>
                  <a:gd name="T10" fmla="*/ 26 w 31"/>
                  <a:gd name="T11" fmla="*/ 28 h 65"/>
                  <a:gd name="T12" fmla="*/ 29 w 31"/>
                  <a:gd name="T13" fmla="*/ 37 h 65"/>
                  <a:gd name="T14" fmla="*/ 31 w 31"/>
                  <a:gd name="T15" fmla="*/ 46 h 65"/>
                  <a:gd name="T16" fmla="*/ 30 w 31"/>
                  <a:gd name="T17" fmla="*/ 53 h 65"/>
                  <a:gd name="T18" fmla="*/ 28 w 31"/>
                  <a:gd name="T19" fmla="*/ 59 h 65"/>
                  <a:gd name="T20" fmla="*/ 23 w 31"/>
                  <a:gd name="T21" fmla="*/ 63 h 65"/>
                  <a:gd name="T22" fmla="*/ 13 w 31"/>
                  <a:gd name="T23" fmla="*/ 65 h 65"/>
                  <a:gd name="T24" fmla="*/ 12 w 31"/>
                  <a:gd name="T25" fmla="*/ 65 h 65"/>
                  <a:gd name="T26" fmla="*/ 9 w 31"/>
                  <a:gd name="T27" fmla="*/ 64 h 65"/>
                  <a:gd name="T28" fmla="*/ 4 w 31"/>
                  <a:gd name="T29" fmla="*/ 61 h 65"/>
                  <a:gd name="T30" fmla="*/ 1 w 31"/>
                  <a:gd name="T31" fmla="*/ 56 h 65"/>
                  <a:gd name="T32" fmla="*/ 0 w 31"/>
                  <a:gd name="T33" fmla="*/ 47 h 65"/>
                  <a:gd name="T34" fmla="*/ 2 w 31"/>
                  <a:gd name="T35" fmla="*/ 39 h 65"/>
                  <a:gd name="T36" fmla="*/ 4 w 31"/>
                  <a:gd name="T37" fmla="*/ 34 h 65"/>
                  <a:gd name="T38" fmla="*/ 7 w 31"/>
                  <a:gd name="T39" fmla="*/ 30 h 65"/>
                  <a:gd name="T40" fmla="*/ 10 w 31"/>
                  <a:gd name="T41" fmla="*/ 25 h 65"/>
                  <a:gd name="T42" fmla="*/ 11 w 31"/>
                  <a:gd name="T43" fmla="*/ 20 h 65"/>
                  <a:gd name="T44" fmla="*/ 12 w 31"/>
                  <a:gd name="T45" fmla="*/ 11 h 65"/>
                  <a:gd name="T46" fmla="*/ 12 w 31"/>
                  <a:gd name="T47" fmla="*/ 0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1" h="65">
                    <a:moveTo>
                      <a:pt x="12" y="0"/>
                    </a:moveTo>
                    <a:lnTo>
                      <a:pt x="12" y="2"/>
                    </a:lnTo>
                    <a:lnTo>
                      <a:pt x="15" y="5"/>
                    </a:lnTo>
                    <a:lnTo>
                      <a:pt x="18" y="11"/>
                    </a:lnTo>
                    <a:lnTo>
                      <a:pt x="23" y="19"/>
                    </a:lnTo>
                    <a:lnTo>
                      <a:pt x="26" y="28"/>
                    </a:lnTo>
                    <a:lnTo>
                      <a:pt x="29" y="37"/>
                    </a:lnTo>
                    <a:lnTo>
                      <a:pt x="31" y="46"/>
                    </a:lnTo>
                    <a:lnTo>
                      <a:pt x="30" y="53"/>
                    </a:lnTo>
                    <a:lnTo>
                      <a:pt x="28" y="59"/>
                    </a:lnTo>
                    <a:lnTo>
                      <a:pt x="23" y="63"/>
                    </a:lnTo>
                    <a:lnTo>
                      <a:pt x="13" y="65"/>
                    </a:lnTo>
                    <a:lnTo>
                      <a:pt x="12" y="65"/>
                    </a:lnTo>
                    <a:lnTo>
                      <a:pt x="9" y="64"/>
                    </a:lnTo>
                    <a:lnTo>
                      <a:pt x="4" y="61"/>
                    </a:lnTo>
                    <a:lnTo>
                      <a:pt x="1" y="56"/>
                    </a:lnTo>
                    <a:lnTo>
                      <a:pt x="0" y="47"/>
                    </a:lnTo>
                    <a:lnTo>
                      <a:pt x="2" y="39"/>
                    </a:lnTo>
                    <a:lnTo>
                      <a:pt x="4" y="34"/>
                    </a:lnTo>
                    <a:lnTo>
                      <a:pt x="7" y="30"/>
                    </a:lnTo>
                    <a:lnTo>
                      <a:pt x="10" y="25"/>
                    </a:lnTo>
                    <a:lnTo>
                      <a:pt x="11" y="20"/>
                    </a:lnTo>
                    <a:lnTo>
                      <a:pt x="12" y="11"/>
                    </a:lnTo>
                    <a:lnTo>
                      <a:pt x="12" y="0"/>
                    </a:lnTo>
                    <a:close/>
                  </a:path>
                </a:pathLst>
              </a:custGeom>
              <a:solidFill>
                <a:srgbClr val="82A3C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300" name="Freeform 450"/>
              <p:cNvSpPr>
                <a:spLocks/>
              </p:cNvSpPr>
              <p:nvPr/>
            </p:nvSpPr>
            <p:spPr bwMode="auto">
              <a:xfrm>
                <a:off x="2252" y="1863"/>
                <a:ext cx="47" cy="28"/>
              </a:xfrm>
              <a:custGeom>
                <a:avLst/>
                <a:gdLst>
                  <a:gd name="T0" fmla="*/ 23 w 47"/>
                  <a:gd name="T1" fmla="*/ 0 h 28"/>
                  <a:gd name="T2" fmla="*/ 27 w 47"/>
                  <a:gd name="T3" fmla="*/ 0 h 28"/>
                  <a:gd name="T4" fmla="*/ 30 w 47"/>
                  <a:gd name="T5" fmla="*/ 2 h 28"/>
                  <a:gd name="T6" fmla="*/ 33 w 47"/>
                  <a:gd name="T7" fmla="*/ 4 h 28"/>
                  <a:gd name="T8" fmla="*/ 34 w 47"/>
                  <a:gd name="T9" fmla="*/ 6 h 28"/>
                  <a:gd name="T10" fmla="*/ 41 w 47"/>
                  <a:gd name="T11" fmla="*/ 6 h 28"/>
                  <a:gd name="T12" fmla="*/ 43 w 47"/>
                  <a:gd name="T13" fmla="*/ 7 h 28"/>
                  <a:gd name="T14" fmla="*/ 45 w 47"/>
                  <a:gd name="T15" fmla="*/ 8 h 28"/>
                  <a:gd name="T16" fmla="*/ 47 w 47"/>
                  <a:gd name="T17" fmla="*/ 10 h 28"/>
                  <a:gd name="T18" fmla="*/ 47 w 47"/>
                  <a:gd name="T19" fmla="*/ 12 h 28"/>
                  <a:gd name="T20" fmla="*/ 47 w 47"/>
                  <a:gd name="T21" fmla="*/ 16 h 28"/>
                  <a:gd name="T22" fmla="*/ 47 w 47"/>
                  <a:gd name="T23" fmla="*/ 18 h 28"/>
                  <a:gd name="T24" fmla="*/ 45 w 47"/>
                  <a:gd name="T25" fmla="*/ 20 h 28"/>
                  <a:gd name="T26" fmla="*/ 43 w 47"/>
                  <a:gd name="T27" fmla="*/ 22 h 28"/>
                  <a:gd name="T28" fmla="*/ 41 w 47"/>
                  <a:gd name="T29" fmla="*/ 22 h 28"/>
                  <a:gd name="T30" fmla="*/ 34 w 47"/>
                  <a:gd name="T31" fmla="*/ 22 h 28"/>
                  <a:gd name="T32" fmla="*/ 32 w 47"/>
                  <a:gd name="T33" fmla="*/ 24 h 28"/>
                  <a:gd name="T34" fmla="*/ 30 w 47"/>
                  <a:gd name="T35" fmla="*/ 26 h 28"/>
                  <a:gd name="T36" fmla="*/ 27 w 47"/>
                  <a:gd name="T37" fmla="*/ 28 h 28"/>
                  <a:gd name="T38" fmla="*/ 23 w 47"/>
                  <a:gd name="T39" fmla="*/ 28 h 28"/>
                  <a:gd name="T40" fmla="*/ 19 w 47"/>
                  <a:gd name="T41" fmla="*/ 28 h 28"/>
                  <a:gd name="T42" fmla="*/ 16 w 47"/>
                  <a:gd name="T43" fmla="*/ 26 h 28"/>
                  <a:gd name="T44" fmla="*/ 13 w 47"/>
                  <a:gd name="T45" fmla="*/ 24 h 28"/>
                  <a:gd name="T46" fmla="*/ 10 w 47"/>
                  <a:gd name="T47" fmla="*/ 22 h 28"/>
                  <a:gd name="T48" fmla="*/ 6 w 47"/>
                  <a:gd name="T49" fmla="*/ 22 h 28"/>
                  <a:gd name="T50" fmla="*/ 4 w 47"/>
                  <a:gd name="T51" fmla="*/ 22 h 28"/>
                  <a:gd name="T52" fmla="*/ 2 w 47"/>
                  <a:gd name="T53" fmla="*/ 20 h 28"/>
                  <a:gd name="T54" fmla="*/ 0 w 47"/>
                  <a:gd name="T55" fmla="*/ 18 h 28"/>
                  <a:gd name="T56" fmla="*/ 0 w 47"/>
                  <a:gd name="T57" fmla="*/ 16 h 28"/>
                  <a:gd name="T58" fmla="*/ 0 w 47"/>
                  <a:gd name="T59" fmla="*/ 12 h 28"/>
                  <a:gd name="T60" fmla="*/ 0 w 47"/>
                  <a:gd name="T61" fmla="*/ 10 h 28"/>
                  <a:gd name="T62" fmla="*/ 2 w 47"/>
                  <a:gd name="T63" fmla="*/ 8 h 28"/>
                  <a:gd name="T64" fmla="*/ 4 w 47"/>
                  <a:gd name="T65" fmla="*/ 7 h 28"/>
                  <a:gd name="T66" fmla="*/ 6 w 47"/>
                  <a:gd name="T67" fmla="*/ 6 h 28"/>
                  <a:gd name="T68" fmla="*/ 10 w 47"/>
                  <a:gd name="T69" fmla="*/ 6 h 28"/>
                  <a:gd name="T70" fmla="*/ 13 w 47"/>
                  <a:gd name="T71" fmla="*/ 5 h 28"/>
                  <a:gd name="T72" fmla="*/ 15 w 47"/>
                  <a:gd name="T73" fmla="*/ 3 h 28"/>
                  <a:gd name="T74" fmla="*/ 17 w 47"/>
                  <a:gd name="T75" fmla="*/ 2 h 28"/>
                  <a:gd name="T76" fmla="*/ 20 w 47"/>
                  <a:gd name="T77" fmla="*/ 0 h 28"/>
                  <a:gd name="T78" fmla="*/ 23 w 47"/>
                  <a:gd name="T79" fmla="*/ 0 h 2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7" h="28">
                    <a:moveTo>
                      <a:pt x="23" y="0"/>
                    </a:moveTo>
                    <a:lnTo>
                      <a:pt x="27" y="0"/>
                    </a:lnTo>
                    <a:lnTo>
                      <a:pt x="30" y="2"/>
                    </a:lnTo>
                    <a:lnTo>
                      <a:pt x="33" y="4"/>
                    </a:lnTo>
                    <a:lnTo>
                      <a:pt x="34" y="6"/>
                    </a:lnTo>
                    <a:lnTo>
                      <a:pt x="41" y="6"/>
                    </a:lnTo>
                    <a:lnTo>
                      <a:pt x="43" y="7"/>
                    </a:lnTo>
                    <a:lnTo>
                      <a:pt x="45" y="8"/>
                    </a:lnTo>
                    <a:lnTo>
                      <a:pt x="47" y="10"/>
                    </a:lnTo>
                    <a:lnTo>
                      <a:pt x="47" y="12"/>
                    </a:lnTo>
                    <a:lnTo>
                      <a:pt x="47" y="16"/>
                    </a:lnTo>
                    <a:lnTo>
                      <a:pt x="47" y="18"/>
                    </a:lnTo>
                    <a:lnTo>
                      <a:pt x="45" y="20"/>
                    </a:lnTo>
                    <a:lnTo>
                      <a:pt x="43" y="22"/>
                    </a:lnTo>
                    <a:lnTo>
                      <a:pt x="41" y="22"/>
                    </a:lnTo>
                    <a:lnTo>
                      <a:pt x="34" y="22"/>
                    </a:lnTo>
                    <a:lnTo>
                      <a:pt x="32" y="24"/>
                    </a:lnTo>
                    <a:lnTo>
                      <a:pt x="30" y="26"/>
                    </a:lnTo>
                    <a:lnTo>
                      <a:pt x="27" y="28"/>
                    </a:lnTo>
                    <a:lnTo>
                      <a:pt x="23" y="28"/>
                    </a:lnTo>
                    <a:lnTo>
                      <a:pt x="19" y="28"/>
                    </a:lnTo>
                    <a:lnTo>
                      <a:pt x="16" y="26"/>
                    </a:lnTo>
                    <a:lnTo>
                      <a:pt x="13" y="24"/>
                    </a:lnTo>
                    <a:lnTo>
                      <a:pt x="10" y="22"/>
                    </a:lnTo>
                    <a:lnTo>
                      <a:pt x="6" y="22"/>
                    </a:lnTo>
                    <a:lnTo>
                      <a:pt x="4" y="22"/>
                    </a:lnTo>
                    <a:lnTo>
                      <a:pt x="2" y="20"/>
                    </a:lnTo>
                    <a:lnTo>
                      <a:pt x="0" y="18"/>
                    </a:lnTo>
                    <a:lnTo>
                      <a:pt x="0" y="16"/>
                    </a:lnTo>
                    <a:lnTo>
                      <a:pt x="0" y="12"/>
                    </a:lnTo>
                    <a:lnTo>
                      <a:pt x="0" y="10"/>
                    </a:lnTo>
                    <a:lnTo>
                      <a:pt x="2" y="8"/>
                    </a:lnTo>
                    <a:lnTo>
                      <a:pt x="4" y="7"/>
                    </a:lnTo>
                    <a:lnTo>
                      <a:pt x="6" y="6"/>
                    </a:lnTo>
                    <a:lnTo>
                      <a:pt x="10" y="6"/>
                    </a:lnTo>
                    <a:lnTo>
                      <a:pt x="13" y="5"/>
                    </a:lnTo>
                    <a:lnTo>
                      <a:pt x="15" y="3"/>
                    </a:lnTo>
                    <a:lnTo>
                      <a:pt x="17" y="2"/>
                    </a:lnTo>
                    <a:lnTo>
                      <a:pt x="20" y="0"/>
                    </a:lnTo>
                    <a:lnTo>
                      <a:pt x="23" y="0"/>
                    </a:lnTo>
                    <a:close/>
                  </a:path>
                </a:pathLst>
              </a:custGeom>
              <a:solidFill>
                <a:srgbClr val="82A3C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301" name="Freeform 451"/>
              <p:cNvSpPr>
                <a:spLocks/>
              </p:cNvSpPr>
              <p:nvPr/>
            </p:nvSpPr>
            <p:spPr bwMode="auto">
              <a:xfrm>
                <a:off x="2267" y="1927"/>
                <a:ext cx="9" cy="6"/>
              </a:xfrm>
              <a:custGeom>
                <a:avLst/>
                <a:gdLst>
                  <a:gd name="T0" fmla="*/ 8 w 9"/>
                  <a:gd name="T1" fmla="*/ 0 h 6"/>
                  <a:gd name="T2" fmla="*/ 9 w 9"/>
                  <a:gd name="T3" fmla="*/ 2 h 6"/>
                  <a:gd name="T4" fmla="*/ 1 w 9"/>
                  <a:gd name="T5" fmla="*/ 6 h 6"/>
                  <a:gd name="T6" fmla="*/ 0 w 9"/>
                  <a:gd name="T7" fmla="*/ 4 h 6"/>
                  <a:gd name="T8" fmla="*/ 8 w 9"/>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 h="6">
                    <a:moveTo>
                      <a:pt x="8" y="0"/>
                    </a:moveTo>
                    <a:lnTo>
                      <a:pt x="9" y="2"/>
                    </a:lnTo>
                    <a:lnTo>
                      <a:pt x="1" y="6"/>
                    </a:lnTo>
                    <a:lnTo>
                      <a:pt x="0" y="4"/>
                    </a:lnTo>
                    <a:lnTo>
                      <a:pt x="8" y="0"/>
                    </a:lnTo>
                    <a:close/>
                  </a:path>
                </a:pathLst>
              </a:custGeom>
              <a:solidFill>
                <a:srgbClr val="82A3C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302" name="Freeform 452"/>
              <p:cNvSpPr>
                <a:spLocks noEditPoints="1"/>
              </p:cNvSpPr>
              <p:nvPr/>
            </p:nvSpPr>
            <p:spPr bwMode="auto">
              <a:xfrm>
                <a:off x="2267" y="1949"/>
                <a:ext cx="72" cy="765"/>
              </a:xfrm>
              <a:custGeom>
                <a:avLst/>
                <a:gdLst>
                  <a:gd name="T0" fmla="*/ 61 w 72"/>
                  <a:gd name="T1" fmla="*/ 765 h 765"/>
                  <a:gd name="T2" fmla="*/ 69 w 72"/>
                  <a:gd name="T3" fmla="*/ 733 h 765"/>
                  <a:gd name="T4" fmla="*/ 58 w 72"/>
                  <a:gd name="T5" fmla="*/ 734 h 765"/>
                  <a:gd name="T6" fmla="*/ 67 w 72"/>
                  <a:gd name="T7" fmla="*/ 714 h 765"/>
                  <a:gd name="T8" fmla="*/ 67 w 72"/>
                  <a:gd name="T9" fmla="*/ 707 h 765"/>
                  <a:gd name="T10" fmla="*/ 55 w 72"/>
                  <a:gd name="T11" fmla="*/ 690 h 765"/>
                  <a:gd name="T12" fmla="*/ 63 w 72"/>
                  <a:gd name="T13" fmla="*/ 657 h 765"/>
                  <a:gd name="T14" fmla="*/ 52 w 72"/>
                  <a:gd name="T15" fmla="*/ 658 h 765"/>
                  <a:gd name="T16" fmla="*/ 61 w 72"/>
                  <a:gd name="T17" fmla="*/ 638 h 765"/>
                  <a:gd name="T18" fmla="*/ 61 w 72"/>
                  <a:gd name="T19" fmla="*/ 632 h 765"/>
                  <a:gd name="T20" fmla="*/ 49 w 72"/>
                  <a:gd name="T21" fmla="*/ 613 h 765"/>
                  <a:gd name="T22" fmla="*/ 57 w 72"/>
                  <a:gd name="T23" fmla="*/ 581 h 765"/>
                  <a:gd name="T24" fmla="*/ 46 w 72"/>
                  <a:gd name="T25" fmla="*/ 582 h 765"/>
                  <a:gd name="T26" fmla="*/ 56 w 72"/>
                  <a:gd name="T27" fmla="*/ 562 h 765"/>
                  <a:gd name="T28" fmla="*/ 55 w 72"/>
                  <a:gd name="T29" fmla="*/ 555 h 765"/>
                  <a:gd name="T30" fmla="*/ 43 w 72"/>
                  <a:gd name="T31" fmla="*/ 538 h 765"/>
                  <a:gd name="T32" fmla="*/ 51 w 72"/>
                  <a:gd name="T33" fmla="*/ 505 h 765"/>
                  <a:gd name="T34" fmla="*/ 41 w 72"/>
                  <a:gd name="T35" fmla="*/ 506 h 765"/>
                  <a:gd name="T36" fmla="*/ 49 w 72"/>
                  <a:gd name="T37" fmla="*/ 486 h 765"/>
                  <a:gd name="T38" fmla="*/ 49 w 72"/>
                  <a:gd name="T39" fmla="*/ 480 h 765"/>
                  <a:gd name="T40" fmla="*/ 36 w 72"/>
                  <a:gd name="T41" fmla="*/ 462 h 765"/>
                  <a:gd name="T42" fmla="*/ 45 w 72"/>
                  <a:gd name="T43" fmla="*/ 429 h 765"/>
                  <a:gd name="T44" fmla="*/ 34 w 72"/>
                  <a:gd name="T45" fmla="*/ 430 h 765"/>
                  <a:gd name="T46" fmla="*/ 44 w 72"/>
                  <a:gd name="T47" fmla="*/ 410 h 765"/>
                  <a:gd name="T48" fmla="*/ 43 w 72"/>
                  <a:gd name="T49" fmla="*/ 403 h 765"/>
                  <a:gd name="T50" fmla="*/ 31 w 72"/>
                  <a:gd name="T51" fmla="*/ 386 h 765"/>
                  <a:gd name="T52" fmla="*/ 38 w 72"/>
                  <a:gd name="T53" fmla="*/ 353 h 765"/>
                  <a:gd name="T54" fmla="*/ 28 w 72"/>
                  <a:gd name="T55" fmla="*/ 354 h 765"/>
                  <a:gd name="T56" fmla="*/ 37 w 72"/>
                  <a:gd name="T57" fmla="*/ 334 h 765"/>
                  <a:gd name="T58" fmla="*/ 36 w 72"/>
                  <a:gd name="T59" fmla="*/ 328 h 765"/>
                  <a:gd name="T60" fmla="*/ 24 w 72"/>
                  <a:gd name="T61" fmla="*/ 310 h 765"/>
                  <a:gd name="T62" fmla="*/ 33 w 72"/>
                  <a:gd name="T63" fmla="*/ 277 h 765"/>
                  <a:gd name="T64" fmla="*/ 22 w 72"/>
                  <a:gd name="T65" fmla="*/ 278 h 765"/>
                  <a:gd name="T66" fmla="*/ 31 w 72"/>
                  <a:gd name="T67" fmla="*/ 258 h 765"/>
                  <a:gd name="T68" fmla="*/ 31 w 72"/>
                  <a:gd name="T69" fmla="*/ 252 h 765"/>
                  <a:gd name="T70" fmla="*/ 18 w 72"/>
                  <a:gd name="T71" fmla="*/ 234 h 765"/>
                  <a:gd name="T72" fmla="*/ 27 w 72"/>
                  <a:gd name="T73" fmla="*/ 201 h 765"/>
                  <a:gd name="T74" fmla="*/ 16 w 72"/>
                  <a:gd name="T75" fmla="*/ 202 h 765"/>
                  <a:gd name="T76" fmla="*/ 26 w 72"/>
                  <a:gd name="T77" fmla="*/ 183 h 765"/>
                  <a:gd name="T78" fmla="*/ 24 w 72"/>
                  <a:gd name="T79" fmla="*/ 176 h 765"/>
                  <a:gd name="T80" fmla="*/ 13 w 72"/>
                  <a:gd name="T81" fmla="*/ 158 h 765"/>
                  <a:gd name="T82" fmla="*/ 20 w 72"/>
                  <a:gd name="T83" fmla="*/ 126 h 765"/>
                  <a:gd name="T84" fmla="*/ 9 w 72"/>
                  <a:gd name="T85" fmla="*/ 127 h 765"/>
                  <a:gd name="T86" fmla="*/ 19 w 72"/>
                  <a:gd name="T87" fmla="*/ 106 h 765"/>
                  <a:gd name="T88" fmla="*/ 19 w 72"/>
                  <a:gd name="T89" fmla="*/ 101 h 765"/>
                  <a:gd name="T90" fmla="*/ 6 w 72"/>
                  <a:gd name="T91" fmla="*/ 82 h 765"/>
                  <a:gd name="T92" fmla="*/ 15 w 72"/>
                  <a:gd name="T93" fmla="*/ 50 h 765"/>
                  <a:gd name="T94" fmla="*/ 4 w 72"/>
                  <a:gd name="T95" fmla="*/ 51 h 765"/>
                  <a:gd name="T96" fmla="*/ 13 w 72"/>
                  <a:gd name="T97" fmla="*/ 31 h 765"/>
                  <a:gd name="T98" fmla="*/ 13 w 72"/>
                  <a:gd name="T99" fmla="*/ 24 h 765"/>
                  <a:gd name="T100" fmla="*/ 1 w 72"/>
                  <a:gd name="T101" fmla="*/ 6 h 76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 h="765">
                    <a:moveTo>
                      <a:pt x="71" y="758"/>
                    </a:moveTo>
                    <a:lnTo>
                      <a:pt x="72" y="764"/>
                    </a:lnTo>
                    <a:lnTo>
                      <a:pt x="61" y="765"/>
                    </a:lnTo>
                    <a:lnTo>
                      <a:pt x="60" y="759"/>
                    </a:lnTo>
                    <a:lnTo>
                      <a:pt x="71" y="758"/>
                    </a:lnTo>
                    <a:close/>
                    <a:moveTo>
                      <a:pt x="69" y="733"/>
                    </a:moveTo>
                    <a:lnTo>
                      <a:pt x="70" y="739"/>
                    </a:lnTo>
                    <a:lnTo>
                      <a:pt x="59" y="741"/>
                    </a:lnTo>
                    <a:lnTo>
                      <a:pt x="58" y="734"/>
                    </a:lnTo>
                    <a:lnTo>
                      <a:pt x="69" y="733"/>
                    </a:lnTo>
                    <a:close/>
                    <a:moveTo>
                      <a:pt x="67" y="707"/>
                    </a:moveTo>
                    <a:lnTo>
                      <a:pt x="67" y="714"/>
                    </a:lnTo>
                    <a:lnTo>
                      <a:pt x="57" y="715"/>
                    </a:lnTo>
                    <a:lnTo>
                      <a:pt x="57" y="708"/>
                    </a:lnTo>
                    <a:lnTo>
                      <a:pt x="67" y="707"/>
                    </a:lnTo>
                    <a:close/>
                    <a:moveTo>
                      <a:pt x="65" y="682"/>
                    </a:moveTo>
                    <a:lnTo>
                      <a:pt x="65" y="689"/>
                    </a:lnTo>
                    <a:lnTo>
                      <a:pt x="55" y="690"/>
                    </a:lnTo>
                    <a:lnTo>
                      <a:pt x="55" y="683"/>
                    </a:lnTo>
                    <a:lnTo>
                      <a:pt x="65" y="682"/>
                    </a:lnTo>
                    <a:close/>
                    <a:moveTo>
                      <a:pt x="63" y="657"/>
                    </a:moveTo>
                    <a:lnTo>
                      <a:pt x="63" y="663"/>
                    </a:lnTo>
                    <a:lnTo>
                      <a:pt x="52" y="664"/>
                    </a:lnTo>
                    <a:lnTo>
                      <a:pt x="52" y="658"/>
                    </a:lnTo>
                    <a:lnTo>
                      <a:pt x="63" y="657"/>
                    </a:lnTo>
                    <a:close/>
                    <a:moveTo>
                      <a:pt x="61" y="632"/>
                    </a:moveTo>
                    <a:lnTo>
                      <a:pt x="61" y="638"/>
                    </a:lnTo>
                    <a:lnTo>
                      <a:pt x="50" y="639"/>
                    </a:lnTo>
                    <a:lnTo>
                      <a:pt x="50" y="633"/>
                    </a:lnTo>
                    <a:lnTo>
                      <a:pt x="61" y="632"/>
                    </a:lnTo>
                    <a:close/>
                    <a:moveTo>
                      <a:pt x="59" y="606"/>
                    </a:moveTo>
                    <a:lnTo>
                      <a:pt x="60" y="612"/>
                    </a:lnTo>
                    <a:lnTo>
                      <a:pt x="49" y="613"/>
                    </a:lnTo>
                    <a:lnTo>
                      <a:pt x="48" y="607"/>
                    </a:lnTo>
                    <a:lnTo>
                      <a:pt x="59" y="606"/>
                    </a:lnTo>
                    <a:close/>
                    <a:moveTo>
                      <a:pt x="57" y="581"/>
                    </a:moveTo>
                    <a:lnTo>
                      <a:pt x="58" y="588"/>
                    </a:lnTo>
                    <a:lnTo>
                      <a:pt x="47" y="589"/>
                    </a:lnTo>
                    <a:lnTo>
                      <a:pt x="46" y="582"/>
                    </a:lnTo>
                    <a:lnTo>
                      <a:pt x="57" y="581"/>
                    </a:lnTo>
                    <a:close/>
                    <a:moveTo>
                      <a:pt x="55" y="555"/>
                    </a:moveTo>
                    <a:lnTo>
                      <a:pt x="56" y="562"/>
                    </a:lnTo>
                    <a:lnTo>
                      <a:pt x="45" y="563"/>
                    </a:lnTo>
                    <a:lnTo>
                      <a:pt x="44" y="556"/>
                    </a:lnTo>
                    <a:lnTo>
                      <a:pt x="55" y="555"/>
                    </a:lnTo>
                    <a:close/>
                    <a:moveTo>
                      <a:pt x="52" y="531"/>
                    </a:moveTo>
                    <a:lnTo>
                      <a:pt x="53" y="537"/>
                    </a:lnTo>
                    <a:lnTo>
                      <a:pt x="43" y="538"/>
                    </a:lnTo>
                    <a:lnTo>
                      <a:pt x="42" y="532"/>
                    </a:lnTo>
                    <a:lnTo>
                      <a:pt x="52" y="531"/>
                    </a:lnTo>
                    <a:close/>
                    <a:moveTo>
                      <a:pt x="51" y="505"/>
                    </a:moveTo>
                    <a:lnTo>
                      <a:pt x="51" y="511"/>
                    </a:lnTo>
                    <a:lnTo>
                      <a:pt x="41" y="512"/>
                    </a:lnTo>
                    <a:lnTo>
                      <a:pt x="41" y="506"/>
                    </a:lnTo>
                    <a:lnTo>
                      <a:pt x="51" y="505"/>
                    </a:lnTo>
                    <a:close/>
                    <a:moveTo>
                      <a:pt x="49" y="480"/>
                    </a:moveTo>
                    <a:lnTo>
                      <a:pt x="49" y="486"/>
                    </a:lnTo>
                    <a:lnTo>
                      <a:pt x="38" y="487"/>
                    </a:lnTo>
                    <a:lnTo>
                      <a:pt x="38" y="481"/>
                    </a:lnTo>
                    <a:lnTo>
                      <a:pt x="49" y="480"/>
                    </a:lnTo>
                    <a:close/>
                    <a:moveTo>
                      <a:pt x="47" y="454"/>
                    </a:moveTo>
                    <a:lnTo>
                      <a:pt x="47" y="461"/>
                    </a:lnTo>
                    <a:lnTo>
                      <a:pt x="36" y="462"/>
                    </a:lnTo>
                    <a:lnTo>
                      <a:pt x="36" y="455"/>
                    </a:lnTo>
                    <a:lnTo>
                      <a:pt x="47" y="454"/>
                    </a:lnTo>
                    <a:close/>
                    <a:moveTo>
                      <a:pt x="45" y="429"/>
                    </a:moveTo>
                    <a:lnTo>
                      <a:pt x="45" y="436"/>
                    </a:lnTo>
                    <a:lnTo>
                      <a:pt x="34" y="437"/>
                    </a:lnTo>
                    <a:lnTo>
                      <a:pt x="34" y="430"/>
                    </a:lnTo>
                    <a:lnTo>
                      <a:pt x="45" y="429"/>
                    </a:lnTo>
                    <a:close/>
                    <a:moveTo>
                      <a:pt x="43" y="403"/>
                    </a:moveTo>
                    <a:lnTo>
                      <a:pt x="44" y="410"/>
                    </a:lnTo>
                    <a:lnTo>
                      <a:pt x="33" y="411"/>
                    </a:lnTo>
                    <a:lnTo>
                      <a:pt x="32" y="405"/>
                    </a:lnTo>
                    <a:lnTo>
                      <a:pt x="43" y="403"/>
                    </a:lnTo>
                    <a:close/>
                    <a:moveTo>
                      <a:pt x="41" y="379"/>
                    </a:moveTo>
                    <a:lnTo>
                      <a:pt x="42" y="385"/>
                    </a:lnTo>
                    <a:lnTo>
                      <a:pt x="31" y="386"/>
                    </a:lnTo>
                    <a:lnTo>
                      <a:pt x="30" y="380"/>
                    </a:lnTo>
                    <a:lnTo>
                      <a:pt x="41" y="379"/>
                    </a:lnTo>
                    <a:close/>
                    <a:moveTo>
                      <a:pt x="38" y="353"/>
                    </a:moveTo>
                    <a:lnTo>
                      <a:pt x="40" y="359"/>
                    </a:lnTo>
                    <a:lnTo>
                      <a:pt x="29" y="360"/>
                    </a:lnTo>
                    <a:lnTo>
                      <a:pt x="28" y="354"/>
                    </a:lnTo>
                    <a:lnTo>
                      <a:pt x="38" y="353"/>
                    </a:lnTo>
                    <a:close/>
                    <a:moveTo>
                      <a:pt x="36" y="328"/>
                    </a:moveTo>
                    <a:lnTo>
                      <a:pt x="37" y="334"/>
                    </a:lnTo>
                    <a:lnTo>
                      <a:pt x="27" y="336"/>
                    </a:lnTo>
                    <a:lnTo>
                      <a:pt x="26" y="329"/>
                    </a:lnTo>
                    <a:lnTo>
                      <a:pt x="36" y="328"/>
                    </a:lnTo>
                    <a:close/>
                    <a:moveTo>
                      <a:pt x="35" y="302"/>
                    </a:moveTo>
                    <a:lnTo>
                      <a:pt x="35" y="309"/>
                    </a:lnTo>
                    <a:lnTo>
                      <a:pt x="24" y="310"/>
                    </a:lnTo>
                    <a:lnTo>
                      <a:pt x="24" y="303"/>
                    </a:lnTo>
                    <a:lnTo>
                      <a:pt x="35" y="302"/>
                    </a:lnTo>
                    <a:close/>
                    <a:moveTo>
                      <a:pt x="33" y="277"/>
                    </a:moveTo>
                    <a:lnTo>
                      <a:pt x="33" y="284"/>
                    </a:lnTo>
                    <a:lnTo>
                      <a:pt x="22" y="285"/>
                    </a:lnTo>
                    <a:lnTo>
                      <a:pt x="22" y="278"/>
                    </a:lnTo>
                    <a:lnTo>
                      <a:pt x="33" y="277"/>
                    </a:lnTo>
                    <a:close/>
                    <a:moveTo>
                      <a:pt x="31" y="252"/>
                    </a:moveTo>
                    <a:lnTo>
                      <a:pt x="31" y="258"/>
                    </a:lnTo>
                    <a:lnTo>
                      <a:pt x="20" y="259"/>
                    </a:lnTo>
                    <a:lnTo>
                      <a:pt x="20" y="253"/>
                    </a:lnTo>
                    <a:lnTo>
                      <a:pt x="31" y="252"/>
                    </a:lnTo>
                    <a:close/>
                    <a:moveTo>
                      <a:pt x="29" y="227"/>
                    </a:moveTo>
                    <a:lnTo>
                      <a:pt x="29" y="233"/>
                    </a:lnTo>
                    <a:lnTo>
                      <a:pt x="18" y="234"/>
                    </a:lnTo>
                    <a:lnTo>
                      <a:pt x="18" y="228"/>
                    </a:lnTo>
                    <a:lnTo>
                      <a:pt x="29" y="227"/>
                    </a:lnTo>
                    <a:close/>
                    <a:moveTo>
                      <a:pt x="27" y="201"/>
                    </a:moveTo>
                    <a:lnTo>
                      <a:pt x="28" y="207"/>
                    </a:lnTo>
                    <a:lnTo>
                      <a:pt x="17" y="208"/>
                    </a:lnTo>
                    <a:lnTo>
                      <a:pt x="16" y="202"/>
                    </a:lnTo>
                    <a:lnTo>
                      <a:pt x="27" y="201"/>
                    </a:lnTo>
                    <a:close/>
                    <a:moveTo>
                      <a:pt x="24" y="176"/>
                    </a:moveTo>
                    <a:lnTo>
                      <a:pt x="26" y="183"/>
                    </a:lnTo>
                    <a:lnTo>
                      <a:pt x="15" y="184"/>
                    </a:lnTo>
                    <a:lnTo>
                      <a:pt x="14" y="177"/>
                    </a:lnTo>
                    <a:lnTo>
                      <a:pt x="24" y="176"/>
                    </a:lnTo>
                    <a:close/>
                    <a:moveTo>
                      <a:pt x="22" y="151"/>
                    </a:moveTo>
                    <a:lnTo>
                      <a:pt x="23" y="157"/>
                    </a:lnTo>
                    <a:lnTo>
                      <a:pt x="13" y="158"/>
                    </a:lnTo>
                    <a:lnTo>
                      <a:pt x="12" y="152"/>
                    </a:lnTo>
                    <a:lnTo>
                      <a:pt x="22" y="151"/>
                    </a:lnTo>
                    <a:close/>
                    <a:moveTo>
                      <a:pt x="20" y="126"/>
                    </a:moveTo>
                    <a:lnTo>
                      <a:pt x="21" y="132"/>
                    </a:lnTo>
                    <a:lnTo>
                      <a:pt x="10" y="133"/>
                    </a:lnTo>
                    <a:lnTo>
                      <a:pt x="9" y="127"/>
                    </a:lnTo>
                    <a:lnTo>
                      <a:pt x="20" y="126"/>
                    </a:lnTo>
                    <a:close/>
                    <a:moveTo>
                      <a:pt x="19" y="101"/>
                    </a:moveTo>
                    <a:lnTo>
                      <a:pt x="19" y="106"/>
                    </a:lnTo>
                    <a:lnTo>
                      <a:pt x="8" y="107"/>
                    </a:lnTo>
                    <a:lnTo>
                      <a:pt x="8" y="102"/>
                    </a:lnTo>
                    <a:lnTo>
                      <a:pt x="19" y="101"/>
                    </a:lnTo>
                    <a:close/>
                    <a:moveTo>
                      <a:pt x="17" y="75"/>
                    </a:moveTo>
                    <a:lnTo>
                      <a:pt x="17" y="81"/>
                    </a:lnTo>
                    <a:lnTo>
                      <a:pt x="6" y="82"/>
                    </a:lnTo>
                    <a:lnTo>
                      <a:pt x="6" y="76"/>
                    </a:lnTo>
                    <a:lnTo>
                      <a:pt x="17" y="75"/>
                    </a:lnTo>
                    <a:close/>
                    <a:moveTo>
                      <a:pt x="15" y="50"/>
                    </a:moveTo>
                    <a:lnTo>
                      <a:pt x="15" y="56"/>
                    </a:lnTo>
                    <a:lnTo>
                      <a:pt x="4" y="57"/>
                    </a:lnTo>
                    <a:lnTo>
                      <a:pt x="4" y="51"/>
                    </a:lnTo>
                    <a:lnTo>
                      <a:pt x="15" y="50"/>
                    </a:lnTo>
                    <a:close/>
                    <a:moveTo>
                      <a:pt x="13" y="24"/>
                    </a:moveTo>
                    <a:lnTo>
                      <a:pt x="13" y="31"/>
                    </a:lnTo>
                    <a:lnTo>
                      <a:pt x="2" y="32"/>
                    </a:lnTo>
                    <a:lnTo>
                      <a:pt x="2" y="25"/>
                    </a:lnTo>
                    <a:lnTo>
                      <a:pt x="13" y="24"/>
                    </a:lnTo>
                    <a:close/>
                    <a:moveTo>
                      <a:pt x="10" y="0"/>
                    </a:moveTo>
                    <a:lnTo>
                      <a:pt x="12" y="5"/>
                    </a:lnTo>
                    <a:lnTo>
                      <a:pt x="1" y="6"/>
                    </a:lnTo>
                    <a:lnTo>
                      <a:pt x="0" y="1"/>
                    </a:lnTo>
                    <a:lnTo>
                      <a:pt x="10" y="0"/>
                    </a:lnTo>
                    <a:close/>
                  </a:path>
                </a:pathLst>
              </a:custGeom>
              <a:solidFill>
                <a:srgbClr val="82A3C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grpSp>
        <p:sp>
          <p:nvSpPr>
            <p:cNvPr id="2062" name="Rectangle 454"/>
            <p:cNvSpPr>
              <a:spLocks noChangeArrowheads="1"/>
            </p:cNvSpPr>
            <p:nvPr/>
          </p:nvSpPr>
          <p:spPr bwMode="auto">
            <a:xfrm>
              <a:off x="2330" y="2725"/>
              <a:ext cx="11" cy="3"/>
            </a:xfrm>
            <a:prstGeom prst="rect">
              <a:avLst/>
            </a:prstGeom>
            <a:solidFill>
              <a:srgbClr val="82A3CF"/>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eaLnBrk="1" hangingPunct="1"/>
              <a:endParaRPr lang="es-ES" altLang="es-CL" dirty="0">
                <a:solidFill>
                  <a:srgbClr val="333333"/>
                </a:solidFill>
                <a:latin typeface="Arial" pitchFamily="34" charset="0"/>
              </a:endParaRPr>
            </a:p>
          </p:txBody>
        </p:sp>
        <p:sp>
          <p:nvSpPr>
            <p:cNvPr id="2063" name="Freeform 455"/>
            <p:cNvSpPr>
              <a:spLocks/>
            </p:cNvSpPr>
            <p:nvPr/>
          </p:nvSpPr>
          <p:spPr bwMode="auto">
            <a:xfrm>
              <a:off x="1939" y="1274"/>
              <a:ext cx="175" cy="175"/>
            </a:xfrm>
            <a:custGeom>
              <a:avLst/>
              <a:gdLst>
                <a:gd name="T0" fmla="*/ 87 w 175"/>
                <a:gd name="T1" fmla="*/ 0 h 175"/>
                <a:gd name="T2" fmla="*/ 110 w 175"/>
                <a:gd name="T3" fmla="*/ 4 h 175"/>
                <a:gd name="T4" fmla="*/ 131 w 175"/>
                <a:gd name="T5" fmla="*/ 12 h 175"/>
                <a:gd name="T6" fmla="*/ 149 w 175"/>
                <a:gd name="T7" fmla="*/ 26 h 175"/>
                <a:gd name="T8" fmla="*/ 162 w 175"/>
                <a:gd name="T9" fmla="*/ 43 h 175"/>
                <a:gd name="T10" fmla="*/ 172 w 175"/>
                <a:gd name="T11" fmla="*/ 64 h 175"/>
                <a:gd name="T12" fmla="*/ 175 w 175"/>
                <a:gd name="T13" fmla="*/ 88 h 175"/>
                <a:gd name="T14" fmla="*/ 172 w 175"/>
                <a:gd name="T15" fmla="*/ 110 h 175"/>
                <a:gd name="T16" fmla="*/ 162 w 175"/>
                <a:gd name="T17" fmla="*/ 131 h 175"/>
                <a:gd name="T18" fmla="*/ 149 w 175"/>
                <a:gd name="T19" fmla="*/ 149 h 175"/>
                <a:gd name="T20" fmla="*/ 131 w 175"/>
                <a:gd name="T21" fmla="*/ 163 h 175"/>
                <a:gd name="T22" fmla="*/ 110 w 175"/>
                <a:gd name="T23" fmla="*/ 172 h 175"/>
                <a:gd name="T24" fmla="*/ 87 w 175"/>
                <a:gd name="T25" fmla="*/ 175 h 175"/>
                <a:gd name="T26" fmla="*/ 64 w 175"/>
                <a:gd name="T27" fmla="*/ 172 h 175"/>
                <a:gd name="T28" fmla="*/ 44 w 175"/>
                <a:gd name="T29" fmla="*/ 163 h 175"/>
                <a:gd name="T30" fmla="*/ 26 w 175"/>
                <a:gd name="T31" fmla="*/ 149 h 175"/>
                <a:gd name="T32" fmla="*/ 13 w 175"/>
                <a:gd name="T33" fmla="*/ 131 h 175"/>
                <a:gd name="T34" fmla="*/ 3 w 175"/>
                <a:gd name="T35" fmla="*/ 110 h 175"/>
                <a:gd name="T36" fmla="*/ 0 w 175"/>
                <a:gd name="T37" fmla="*/ 88 h 175"/>
                <a:gd name="T38" fmla="*/ 3 w 175"/>
                <a:gd name="T39" fmla="*/ 64 h 175"/>
                <a:gd name="T40" fmla="*/ 13 w 175"/>
                <a:gd name="T41" fmla="*/ 43 h 175"/>
                <a:gd name="T42" fmla="*/ 26 w 175"/>
                <a:gd name="T43" fmla="*/ 26 h 175"/>
                <a:gd name="T44" fmla="*/ 44 w 175"/>
                <a:gd name="T45" fmla="*/ 12 h 175"/>
                <a:gd name="T46" fmla="*/ 64 w 175"/>
                <a:gd name="T47" fmla="*/ 4 h 175"/>
                <a:gd name="T48" fmla="*/ 87 w 175"/>
                <a:gd name="T49" fmla="*/ 0 h 17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75" h="175">
                  <a:moveTo>
                    <a:pt x="87" y="0"/>
                  </a:moveTo>
                  <a:lnTo>
                    <a:pt x="110" y="4"/>
                  </a:lnTo>
                  <a:lnTo>
                    <a:pt x="131" y="12"/>
                  </a:lnTo>
                  <a:lnTo>
                    <a:pt x="149" y="26"/>
                  </a:lnTo>
                  <a:lnTo>
                    <a:pt x="162" y="43"/>
                  </a:lnTo>
                  <a:lnTo>
                    <a:pt x="172" y="64"/>
                  </a:lnTo>
                  <a:lnTo>
                    <a:pt x="175" y="88"/>
                  </a:lnTo>
                  <a:lnTo>
                    <a:pt x="172" y="110"/>
                  </a:lnTo>
                  <a:lnTo>
                    <a:pt x="162" y="131"/>
                  </a:lnTo>
                  <a:lnTo>
                    <a:pt x="149" y="149"/>
                  </a:lnTo>
                  <a:lnTo>
                    <a:pt x="131" y="163"/>
                  </a:lnTo>
                  <a:lnTo>
                    <a:pt x="110" y="172"/>
                  </a:lnTo>
                  <a:lnTo>
                    <a:pt x="87" y="175"/>
                  </a:lnTo>
                  <a:lnTo>
                    <a:pt x="64" y="172"/>
                  </a:lnTo>
                  <a:lnTo>
                    <a:pt x="44" y="163"/>
                  </a:lnTo>
                  <a:lnTo>
                    <a:pt x="26" y="149"/>
                  </a:lnTo>
                  <a:lnTo>
                    <a:pt x="13" y="131"/>
                  </a:lnTo>
                  <a:lnTo>
                    <a:pt x="3" y="110"/>
                  </a:lnTo>
                  <a:lnTo>
                    <a:pt x="0" y="88"/>
                  </a:lnTo>
                  <a:lnTo>
                    <a:pt x="3" y="64"/>
                  </a:lnTo>
                  <a:lnTo>
                    <a:pt x="13" y="43"/>
                  </a:lnTo>
                  <a:lnTo>
                    <a:pt x="26" y="26"/>
                  </a:lnTo>
                  <a:lnTo>
                    <a:pt x="44" y="12"/>
                  </a:lnTo>
                  <a:lnTo>
                    <a:pt x="64" y="4"/>
                  </a:lnTo>
                  <a:lnTo>
                    <a:pt x="87" y="0"/>
                  </a:lnTo>
                  <a:close/>
                </a:path>
              </a:pathLst>
            </a:custGeom>
            <a:solidFill>
              <a:srgbClr val="29426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064" name="Freeform 456"/>
            <p:cNvSpPr>
              <a:spLocks noEditPoints="1"/>
            </p:cNvSpPr>
            <p:nvPr/>
          </p:nvSpPr>
          <p:spPr bwMode="auto">
            <a:xfrm>
              <a:off x="1934" y="1268"/>
              <a:ext cx="186" cy="185"/>
            </a:xfrm>
            <a:custGeom>
              <a:avLst/>
              <a:gdLst>
                <a:gd name="T0" fmla="*/ 94 w 186"/>
                <a:gd name="T1" fmla="*/ 11 h 185"/>
                <a:gd name="T2" fmla="*/ 72 w 186"/>
                <a:gd name="T3" fmla="*/ 13 h 185"/>
                <a:gd name="T4" fmla="*/ 53 w 186"/>
                <a:gd name="T5" fmla="*/ 21 h 185"/>
                <a:gd name="T6" fmla="*/ 36 w 186"/>
                <a:gd name="T7" fmla="*/ 34 h 185"/>
                <a:gd name="T8" fmla="*/ 22 w 186"/>
                <a:gd name="T9" fmla="*/ 52 h 185"/>
                <a:gd name="T10" fmla="*/ 14 w 186"/>
                <a:gd name="T11" fmla="*/ 71 h 185"/>
                <a:gd name="T12" fmla="*/ 11 w 186"/>
                <a:gd name="T13" fmla="*/ 91 h 185"/>
                <a:gd name="T14" fmla="*/ 14 w 186"/>
                <a:gd name="T15" fmla="*/ 113 h 185"/>
                <a:gd name="T16" fmla="*/ 22 w 186"/>
                <a:gd name="T17" fmla="*/ 133 h 185"/>
                <a:gd name="T18" fmla="*/ 36 w 186"/>
                <a:gd name="T19" fmla="*/ 151 h 185"/>
                <a:gd name="T20" fmla="*/ 53 w 186"/>
                <a:gd name="T21" fmla="*/ 164 h 185"/>
                <a:gd name="T22" fmla="*/ 72 w 186"/>
                <a:gd name="T23" fmla="*/ 171 h 185"/>
                <a:gd name="T24" fmla="*/ 94 w 186"/>
                <a:gd name="T25" fmla="*/ 174 h 185"/>
                <a:gd name="T26" fmla="*/ 114 w 186"/>
                <a:gd name="T27" fmla="*/ 171 h 185"/>
                <a:gd name="T28" fmla="*/ 134 w 186"/>
                <a:gd name="T29" fmla="*/ 164 h 185"/>
                <a:gd name="T30" fmla="*/ 151 w 186"/>
                <a:gd name="T31" fmla="*/ 151 h 185"/>
                <a:gd name="T32" fmla="*/ 164 w 186"/>
                <a:gd name="T33" fmla="*/ 133 h 185"/>
                <a:gd name="T34" fmla="*/ 172 w 186"/>
                <a:gd name="T35" fmla="*/ 113 h 185"/>
                <a:gd name="T36" fmla="*/ 175 w 186"/>
                <a:gd name="T37" fmla="*/ 91 h 185"/>
                <a:gd name="T38" fmla="*/ 172 w 186"/>
                <a:gd name="T39" fmla="*/ 71 h 185"/>
                <a:gd name="T40" fmla="*/ 164 w 186"/>
                <a:gd name="T41" fmla="*/ 52 h 185"/>
                <a:gd name="T42" fmla="*/ 151 w 186"/>
                <a:gd name="T43" fmla="*/ 34 h 185"/>
                <a:gd name="T44" fmla="*/ 134 w 186"/>
                <a:gd name="T45" fmla="*/ 21 h 185"/>
                <a:gd name="T46" fmla="*/ 114 w 186"/>
                <a:gd name="T47" fmla="*/ 13 h 185"/>
                <a:gd name="T48" fmla="*/ 94 w 186"/>
                <a:gd name="T49" fmla="*/ 11 h 185"/>
                <a:gd name="T50" fmla="*/ 94 w 186"/>
                <a:gd name="T51" fmla="*/ 0 h 185"/>
                <a:gd name="T52" fmla="*/ 112 w 186"/>
                <a:gd name="T53" fmla="*/ 1 h 185"/>
                <a:gd name="T54" fmla="*/ 128 w 186"/>
                <a:gd name="T55" fmla="*/ 6 h 185"/>
                <a:gd name="T56" fmla="*/ 145 w 186"/>
                <a:gd name="T57" fmla="*/ 15 h 185"/>
                <a:gd name="T58" fmla="*/ 158 w 186"/>
                <a:gd name="T59" fmla="*/ 27 h 185"/>
                <a:gd name="T60" fmla="*/ 170 w 186"/>
                <a:gd name="T61" fmla="*/ 41 h 185"/>
                <a:gd name="T62" fmla="*/ 179 w 186"/>
                <a:gd name="T63" fmla="*/ 57 h 185"/>
                <a:gd name="T64" fmla="*/ 184 w 186"/>
                <a:gd name="T65" fmla="*/ 74 h 185"/>
                <a:gd name="T66" fmla="*/ 186 w 186"/>
                <a:gd name="T67" fmla="*/ 91 h 185"/>
                <a:gd name="T68" fmla="*/ 184 w 186"/>
                <a:gd name="T69" fmla="*/ 111 h 185"/>
                <a:gd name="T70" fmla="*/ 179 w 186"/>
                <a:gd name="T71" fmla="*/ 128 h 185"/>
                <a:gd name="T72" fmla="*/ 170 w 186"/>
                <a:gd name="T73" fmla="*/ 144 h 185"/>
                <a:gd name="T74" fmla="*/ 158 w 186"/>
                <a:gd name="T75" fmla="*/ 158 h 185"/>
                <a:gd name="T76" fmla="*/ 145 w 186"/>
                <a:gd name="T77" fmla="*/ 170 h 185"/>
                <a:gd name="T78" fmla="*/ 128 w 186"/>
                <a:gd name="T79" fmla="*/ 179 h 185"/>
                <a:gd name="T80" fmla="*/ 112 w 186"/>
                <a:gd name="T81" fmla="*/ 184 h 185"/>
                <a:gd name="T82" fmla="*/ 94 w 186"/>
                <a:gd name="T83" fmla="*/ 185 h 185"/>
                <a:gd name="T84" fmla="*/ 76 w 186"/>
                <a:gd name="T85" fmla="*/ 184 h 185"/>
                <a:gd name="T86" fmla="*/ 57 w 186"/>
                <a:gd name="T87" fmla="*/ 179 h 185"/>
                <a:gd name="T88" fmla="*/ 41 w 186"/>
                <a:gd name="T89" fmla="*/ 170 h 185"/>
                <a:gd name="T90" fmla="*/ 27 w 186"/>
                <a:gd name="T91" fmla="*/ 158 h 185"/>
                <a:gd name="T92" fmla="*/ 15 w 186"/>
                <a:gd name="T93" fmla="*/ 144 h 185"/>
                <a:gd name="T94" fmla="*/ 7 w 186"/>
                <a:gd name="T95" fmla="*/ 128 h 185"/>
                <a:gd name="T96" fmla="*/ 3 w 186"/>
                <a:gd name="T97" fmla="*/ 111 h 185"/>
                <a:gd name="T98" fmla="*/ 0 w 186"/>
                <a:gd name="T99" fmla="*/ 91 h 185"/>
                <a:gd name="T100" fmla="*/ 3 w 186"/>
                <a:gd name="T101" fmla="*/ 74 h 185"/>
                <a:gd name="T102" fmla="*/ 7 w 186"/>
                <a:gd name="T103" fmla="*/ 57 h 185"/>
                <a:gd name="T104" fmla="*/ 15 w 186"/>
                <a:gd name="T105" fmla="*/ 41 h 185"/>
                <a:gd name="T106" fmla="*/ 27 w 186"/>
                <a:gd name="T107" fmla="*/ 27 h 185"/>
                <a:gd name="T108" fmla="*/ 41 w 186"/>
                <a:gd name="T109" fmla="*/ 15 h 185"/>
                <a:gd name="T110" fmla="*/ 57 w 186"/>
                <a:gd name="T111" fmla="*/ 6 h 185"/>
                <a:gd name="T112" fmla="*/ 76 w 186"/>
                <a:gd name="T113" fmla="*/ 1 h 185"/>
                <a:gd name="T114" fmla="*/ 94 w 186"/>
                <a:gd name="T115" fmla="*/ 0 h 18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86" h="185">
                  <a:moveTo>
                    <a:pt x="94" y="11"/>
                  </a:moveTo>
                  <a:lnTo>
                    <a:pt x="72" y="13"/>
                  </a:lnTo>
                  <a:lnTo>
                    <a:pt x="53" y="21"/>
                  </a:lnTo>
                  <a:lnTo>
                    <a:pt x="36" y="34"/>
                  </a:lnTo>
                  <a:lnTo>
                    <a:pt x="22" y="52"/>
                  </a:lnTo>
                  <a:lnTo>
                    <a:pt x="14" y="71"/>
                  </a:lnTo>
                  <a:lnTo>
                    <a:pt x="11" y="91"/>
                  </a:lnTo>
                  <a:lnTo>
                    <a:pt x="14" y="113"/>
                  </a:lnTo>
                  <a:lnTo>
                    <a:pt x="22" y="133"/>
                  </a:lnTo>
                  <a:lnTo>
                    <a:pt x="36" y="151"/>
                  </a:lnTo>
                  <a:lnTo>
                    <a:pt x="53" y="164"/>
                  </a:lnTo>
                  <a:lnTo>
                    <a:pt x="72" y="171"/>
                  </a:lnTo>
                  <a:lnTo>
                    <a:pt x="94" y="174"/>
                  </a:lnTo>
                  <a:lnTo>
                    <a:pt x="114" y="171"/>
                  </a:lnTo>
                  <a:lnTo>
                    <a:pt x="134" y="164"/>
                  </a:lnTo>
                  <a:lnTo>
                    <a:pt x="151" y="151"/>
                  </a:lnTo>
                  <a:lnTo>
                    <a:pt x="164" y="133"/>
                  </a:lnTo>
                  <a:lnTo>
                    <a:pt x="172" y="113"/>
                  </a:lnTo>
                  <a:lnTo>
                    <a:pt x="175" y="91"/>
                  </a:lnTo>
                  <a:lnTo>
                    <a:pt x="172" y="71"/>
                  </a:lnTo>
                  <a:lnTo>
                    <a:pt x="164" y="52"/>
                  </a:lnTo>
                  <a:lnTo>
                    <a:pt x="151" y="34"/>
                  </a:lnTo>
                  <a:lnTo>
                    <a:pt x="134" y="21"/>
                  </a:lnTo>
                  <a:lnTo>
                    <a:pt x="114" y="13"/>
                  </a:lnTo>
                  <a:lnTo>
                    <a:pt x="94" y="11"/>
                  </a:lnTo>
                  <a:close/>
                  <a:moveTo>
                    <a:pt x="94" y="0"/>
                  </a:moveTo>
                  <a:lnTo>
                    <a:pt x="112" y="1"/>
                  </a:lnTo>
                  <a:lnTo>
                    <a:pt x="128" y="6"/>
                  </a:lnTo>
                  <a:lnTo>
                    <a:pt x="145" y="15"/>
                  </a:lnTo>
                  <a:lnTo>
                    <a:pt x="158" y="27"/>
                  </a:lnTo>
                  <a:lnTo>
                    <a:pt x="170" y="41"/>
                  </a:lnTo>
                  <a:lnTo>
                    <a:pt x="179" y="57"/>
                  </a:lnTo>
                  <a:lnTo>
                    <a:pt x="184" y="74"/>
                  </a:lnTo>
                  <a:lnTo>
                    <a:pt x="186" y="91"/>
                  </a:lnTo>
                  <a:lnTo>
                    <a:pt x="184" y="111"/>
                  </a:lnTo>
                  <a:lnTo>
                    <a:pt x="179" y="128"/>
                  </a:lnTo>
                  <a:lnTo>
                    <a:pt x="170" y="144"/>
                  </a:lnTo>
                  <a:lnTo>
                    <a:pt x="158" y="158"/>
                  </a:lnTo>
                  <a:lnTo>
                    <a:pt x="145" y="170"/>
                  </a:lnTo>
                  <a:lnTo>
                    <a:pt x="128" y="179"/>
                  </a:lnTo>
                  <a:lnTo>
                    <a:pt x="112" y="184"/>
                  </a:lnTo>
                  <a:lnTo>
                    <a:pt x="94" y="185"/>
                  </a:lnTo>
                  <a:lnTo>
                    <a:pt x="76" y="184"/>
                  </a:lnTo>
                  <a:lnTo>
                    <a:pt x="57" y="179"/>
                  </a:lnTo>
                  <a:lnTo>
                    <a:pt x="41" y="170"/>
                  </a:lnTo>
                  <a:lnTo>
                    <a:pt x="27" y="158"/>
                  </a:lnTo>
                  <a:lnTo>
                    <a:pt x="15" y="144"/>
                  </a:lnTo>
                  <a:lnTo>
                    <a:pt x="7" y="128"/>
                  </a:lnTo>
                  <a:lnTo>
                    <a:pt x="3" y="111"/>
                  </a:lnTo>
                  <a:lnTo>
                    <a:pt x="0" y="91"/>
                  </a:lnTo>
                  <a:lnTo>
                    <a:pt x="3" y="74"/>
                  </a:lnTo>
                  <a:lnTo>
                    <a:pt x="7" y="57"/>
                  </a:lnTo>
                  <a:lnTo>
                    <a:pt x="15" y="41"/>
                  </a:lnTo>
                  <a:lnTo>
                    <a:pt x="27" y="27"/>
                  </a:lnTo>
                  <a:lnTo>
                    <a:pt x="41" y="15"/>
                  </a:lnTo>
                  <a:lnTo>
                    <a:pt x="57" y="6"/>
                  </a:lnTo>
                  <a:lnTo>
                    <a:pt x="76" y="1"/>
                  </a:lnTo>
                  <a:lnTo>
                    <a:pt x="94" y="0"/>
                  </a:lnTo>
                  <a:close/>
                </a:path>
              </a:pathLst>
            </a:custGeom>
            <a:solidFill>
              <a:srgbClr val="D7273A"/>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065" name="Freeform 457"/>
            <p:cNvSpPr>
              <a:spLocks noEditPoints="1"/>
            </p:cNvSpPr>
            <p:nvPr/>
          </p:nvSpPr>
          <p:spPr bwMode="auto">
            <a:xfrm>
              <a:off x="2001" y="1317"/>
              <a:ext cx="64" cy="69"/>
            </a:xfrm>
            <a:custGeom>
              <a:avLst/>
              <a:gdLst>
                <a:gd name="T0" fmla="*/ 10 w 64"/>
                <a:gd name="T1" fmla="*/ 9 h 69"/>
                <a:gd name="T2" fmla="*/ 10 w 64"/>
                <a:gd name="T3" fmla="*/ 35 h 69"/>
                <a:gd name="T4" fmla="*/ 40 w 64"/>
                <a:gd name="T5" fmla="*/ 35 h 69"/>
                <a:gd name="T6" fmla="*/ 40 w 64"/>
                <a:gd name="T7" fmla="*/ 9 h 69"/>
                <a:gd name="T8" fmla="*/ 10 w 64"/>
                <a:gd name="T9" fmla="*/ 9 h 69"/>
                <a:gd name="T10" fmla="*/ 0 w 64"/>
                <a:gd name="T11" fmla="*/ 0 h 69"/>
                <a:gd name="T12" fmla="*/ 47 w 64"/>
                <a:gd name="T13" fmla="*/ 0 h 69"/>
                <a:gd name="T14" fmla="*/ 47 w 64"/>
                <a:gd name="T15" fmla="*/ 65 h 69"/>
                <a:gd name="T16" fmla="*/ 59 w 64"/>
                <a:gd name="T17" fmla="*/ 65 h 69"/>
                <a:gd name="T18" fmla="*/ 59 w 64"/>
                <a:gd name="T19" fmla="*/ 41 h 69"/>
                <a:gd name="T20" fmla="*/ 55 w 64"/>
                <a:gd name="T21" fmla="*/ 41 h 69"/>
                <a:gd name="T22" fmla="*/ 55 w 64"/>
                <a:gd name="T23" fmla="*/ 28 h 69"/>
                <a:gd name="T24" fmla="*/ 59 w 64"/>
                <a:gd name="T25" fmla="*/ 28 h 69"/>
                <a:gd name="T26" fmla="*/ 59 w 64"/>
                <a:gd name="T27" fmla="*/ 26 h 69"/>
                <a:gd name="T28" fmla="*/ 51 w 64"/>
                <a:gd name="T29" fmla="*/ 21 h 69"/>
                <a:gd name="T30" fmla="*/ 53 w 64"/>
                <a:gd name="T31" fmla="*/ 18 h 69"/>
                <a:gd name="T32" fmla="*/ 64 w 64"/>
                <a:gd name="T33" fmla="*/ 25 h 69"/>
                <a:gd name="T34" fmla="*/ 64 w 64"/>
                <a:gd name="T35" fmla="*/ 69 h 69"/>
                <a:gd name="T36" fmla="*/ 0 w 64"/>
                <a:gd name="T37" fmla="*/ 69 h 69"/>
                <a:gd name="T38" fmla="*/ 0 w 64"/>
                <a:gd name="T39" fmla="*/ 0 h 6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4" h="69">
                  <a:moveTo>
                    <a:pt x="10" y="9"/>
                  </a:moveTo>
                  <a:lnTo>
                    <a:pt x="10" y="35"/>
                  </a:lnTo>
                  <a:lnTo>
                    <a:pt x="40" y="35"/>
                  </a:lnTo>
                  <a:lnTo>
                    <a:pt x="40" y="9"/>
                  </a:lnTo>
                  <a:lnTo>
                    <a:pt x="10" y="9"/>
                  </a:lnTo>
                  <a:close/>
                  <a:moveTo>
                    <a:pt x="0" y="0"/>
                  </a:moveTo>
                  <a:lnTo>
                    <a:pt x="47" y="0"/>
                  </a:lnTo>
                  <a:lnTo>
                    <a:pt x="47" y="65"/>
                  </a:lnTo>
                  <a:lnTo>
                    <a:pt x="59" y="65"/>
                  </a:lnTo>
                  <a:lnTo>
                    <a:pt x="59" y="41"/>
                  </a:lnTo>
                  <a:lnTo>
                    <a:pt x="55" y="41"/>
                  </a:lnTo>
                  <a:lnTo>
                    <a:pt x="55" y="28"/>
                  </a:lnTo>
                  <a:lnTo>
                    <a:pt x="59" y="28"/>
                  </a:lnTo>
                  <a:lnTo>
                    <a:pt x="59" y="26"/>
                  </a:lnTo>
                  <a:lnTo>
                    <a:pt x="51" y="21"/>
                  </a:lnTo>
                  <a:lnTo>
                    <a:pt x="53" y="18"/>
                  </a:lnTo>
                  <a:lnTo>
                    <a:pt x="64" y="25"/>
                  </a:lnTo>
                  <a:lnTo>
                    <a:pt x="64" y="69"/>
                  </a:lnTo>
                  <a:lnTo>
                    <a:pt x="0" y="69"/>
                  </a:lnTo>
                  <a:lnTo>
                    <a:pt x="0" y="0"/>
                  </a:lnTo>
                  <a:close/>
                </a:path>
              </a:pathLst>
            </a:custGeom>
            <a:solidFill>
              <a:srgbClr val="D7273A"/>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066" name="Rectangle 458"/>
            <p:cNvSpPr>
              <a:spLocks noChangeArrowheads="1"/>
            </p:cNvSpPr>
            <p:nvPr/>
          </p:nvSpPr>
          <p:spPr bwMode="auto">
            <a:xfrm>
              <a:off x="1994" y="1390"/>
              <a:ext cx="72" cy="8"/>
            </a:xfrm>
            <a:prstGeom prst="rect">
              <a:avLst/>
            </a:prstGeom>
            <a:solidFill>
              <a:srgbClr val="D7273A"/>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eaLnBrk="1" hangingPunct="1"/>
              <a:endParaRPr lang="es-ES" altLang="es-CL" dirty="0">
                <a:solidFill>
                  <a:srgbClr val="333333"/>
                </a:solidFill>
                <a:latin typeface="Arial" pitchFamily="34" charset="0"/>
              </a:endParaRPr>
            </a:p>
          </p:txBody>
        </p:sp>
        <p:sp>
          <p:nvSpPr>
            <p:cNvPr id="2067" name="Rectangle 459"/>
            <p:cNvSpPr>
              <a:spLocks noChangeArrowheads="1"/>
            </p:cNvSpPr>
            <p:nvPr/>
          </p:nvSpPr>
          <p:spPr bwMode="auto">
            <a:xfrm>
              <a:off x="2027" y="1442"/>
              <a:ext cx="11" cy="1"/>
            </a:xfrm>
            <a:prstGeom prst="rect">
              <a:avLst/>
            </a:prstGeom>
            <a:solidFill>
              <a:srgbClr val="D7273A"/>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eaLnBrk="1" hangingPunct="1"/>
              <a:endParaRPr lang="es-ES" altLang="es-CL" dirty="0">
                <a:solidFill>
                  <a:srgbClr val="333333"/>
                </a:solidFill>
                <a:latin typeface="Arial" pitchFamily="34" charset="0"/>
              </a:endParaRPr>
            </a:p>
          </p:txBody>
        </p:sp>
        <p:sp>
          <p:nvSpPr>
            <p:cNvPr id="2068" name="Freeform 460"/>
            <p:cNvSpPr>
              <a:spLocks noEditPoints="1"/>
            </p:cNvSpPr>
            <p:nvPr/>
          </p:nvSpPr>
          <p:spPr bwMode="auto">
            <a:xfrm>
              <a:off x="2030" y="1461"/>
              <a:ext cx="257" cy="1275"/>
            </a:xfrm>
            <a:custGeom>
              <a:avLst/>
              <a:gdLst>
                <a:gd name="T0" fmla="*/ 257 w 257"/>
                <a:gd name="T1" fmla="*/ 1271 h 1275"/>
                <a:gd name="T2" fmla="*/ 252 w 257"/>
                <a:gd name="T3" fmla="*/ 1246 h 1275"/>
                <a:gd name="T4" fmla="*/ 247 w 257"/>
                <a:gd name="T5" fmla="*/ 1221 h 1275"/>
                <a:gd name="T6" fmla="*/ 242 w 257"/>
                <a:gd name="T7" fmla="*/ 1196 h 1275"/>
                <a:gd name="T8" fmla="*/ 238 w 257"/>
                <a:gd name="T9" fmla="*/ 1171 h 1275"/>
                <a:gd name="T10" fmla="*/ 232 w 257"/>
                <a:gd name="T11" fmla="*/ 1146 h 1275"/>
                <a:gd name="T12" fmla="*/ 228 w 257"/>
                <a:gd name="T13" fmla="*/ 1121 h 1275"/>
                <a:gd name="T14" fmla="*/ 223 w 257"/>
                <a:gd name="T15" fmla="*/ 1096 h 1275"/>
                <a:gd name="T16" fmla="*/ 218 w 257"/>
                <a:gd name="T17" fmla="*/ 1071 h 1275"/>
                <a:gd name="T18" fmla="*/ 213 w 257"/>
                <a:gd name="T19" fmla="*/ 1047 h 1275"/>
                <a:gd name="T20" fmla="*/ 209 w 257"/>
                <a:gd name="T21" fmla="*/ 1022 h 1275"/>
                <a:gd name="T22" fmla="*/ 203 w 257"/>
                <a:gd name="T23" fmla="*/ 997 h 1275"/>
                <a:gd name="T24" fmla="*/ 199 w 257"/>
                <a:gd name="T25" fmla="*/ 971 h 1275"/>
                <a:gd name="T26" fmla="*/ 194 w 257"/>
                <a:gd name="T27" fmla="*/ 946 h 1275"/>
                <a:gd name="T28" fmla="*/ 189 w 257"/>
                <a:gd name="T29" fmla="*/ 922 h 1275"/>
                <a:gd name="T30" fmla="*/ 184 w 257"/>
                <a:gd name="T31" fmla="*/ 897 h 1275"/>
                <a:gd name="T32" fmla="*/ 180 w 257"/>
                <a:gd name="T33" fmla="*/ 872 h 1275"/>
                <a:gd name="T34" fmla="*/ 174 w 257"/>
                <a:gd name="T35" fmla="*/ 847 h 1275"/>
                <a:gd name="T36" fmla="*/ 170 w 257"/>
                <a:gd name="T37" fmla="*/ 822 h 1275"/>
                <a:gd name="T38" fmla="*/ 165 w 257"/>
                <a:gd name="T39" fmla="*/ 798 h 1275"/>
                <a:gd name="T40" fmla="*/ 160 w 257"/>
                <a:gd name="T41" fmla="*/ 772 h 1275"/>
                <a:gd name="T42" fmla="*/ 156 w 257"/>
                <a:gd name="T43" fmla="*/ 747 h 1275"/>
                <a:gd name="T44" fmla="*/ 151 w 257"/>
                <a:gd name="T45" fmla="*/ 722 h 1275"/>
                <a:gd name="T46" fmla="*/ 146 w 257"/>
                <a:gd name="T47" fmla="*/ 698 h 1275"/>
                <a:gd name="T48" fmla="*/ 141 w 257"/>
                <a:gd name="T49" fmla="*/ 673 h 1275"/>
                <a:gd name="T50" fmla="*/ 137 w 257"/>
                <a:gd name="T51" fmla="*/ 648 h 1275"/>
                <a:gd name="T52" fmla="*/ 131 w 257"/>
                <a:gd name="T53" fmla="*/ 623 h 1275"/>
                <a:gd name="T54" fmla="*/ 127 w 257"/>
                <a:gd name="T55" fmla="*/ 597 h 1275"/>
                <a:gd name="T56" fmla="*/ 122 w 257"/>
                <a:gd name="T57" fmla="*/ 573 h 1275"/>
                <a:gd name="T58" fmla="*/ 117 w 257"/>
                <a:gd name="T59" fmla="*/ 548 h 1275"/>
                <a:gd name="T60" fmla="*/ 112 w 257"/>
                <a:gd name="T61" fmla="*/ 523 h 1275"/>
                <a:gd name="T62" fmla="*/ 108 w 257"/>
                <a:gd name="T63" fmla="*/ 498 h 1275"/>
                <a:gd name="T64" fmla="*/ 102 w 257"/>
                <a:gd name="T65" fmla="*/ 474 h 1275"/>
                <a:gd name="T66" fmla="*/ 98 w 257"/>
                <a:gd name="T67" fmla="*/ 449 h 1275"/>
                <a:gd name="T68" fmla="*/ 93 w 257"/>
                <a:gd name="T69" fmla="*/ 423 h 1275"/>
                <a:gd name="T70" fmla="*/ 88 w 257"/>
                <a:gd name="T71" fmla="*/ 398 h 1275"/>
                <a:gd name="T72" fmla="*/ 83 w 257"/>
                <a:gd name="T73" fmla="*/ 373 h 1275"/>
                <a:gd name="T74" fmla="*/ 79 w 257"/>
                <a:gd name="T75" fmla="*/ 349 h 1275"/>
                <a:gd name="T76" fmla="*/ 73 w 257"/>
                <a:gd name="T77" fmla="*/ 324 h 1275"/>
                <a:gd name="T78" fmla="*/ 69 w 257"/>
                <a:gd name="T79" fmla="*/ 299 h 1275"/>
                <a:gd name="T80" fmla="*/ 64 w 257"/>
                <a:gd name="T81" fmla="*/ 274 h 1275"/>
                <a:gd name="T82" fmla="*/ 59 w 257"/>
                <a:gd name="T83" fmla="*/ 248 h 1275"/>
                <a:gd name="T84" fmla="*/ 54 w 257"/>
                <a:gd name="T85" fmla="*/ 224 h 1275"/>
                <a:gd name="T86" fmla="*/ 50 w 257"/>
                <a:gd name="T87" fmla="*/ 199 h 1275"/>
                <a:gd name="T88" fmla="*/ 44 w 257"/>
                <a:gd name="T89" fmla="*/ 174 h 1275"/>
                <a:gd name="T90" fmla="*/ 40 w 257"/>
                <a:gd name="T91" fmla="*/ 149 h 1275"/>
                <a:gd name="T92" fmla="*/ 35 w 257"/>
                <a:gd name="T93" fmla="*/ 125 h 1275"/>
                <a:gd name="T94" fmla="*/ 30 w 257"/>
                <a:gd name="T95" fmla="*/ 100 h 1275"/>
                <a:gd name="T96" fmla="*/ 25 w 257"/>
                <a:gd name="T97" fmla="*/ 74 h 1275"/>
                <a:gd name="T98" fmla="*/ 21 w 257"/>
                <a:gd name="T99" fmla="*/ 49 h 1275"/>
                <a:gd name="T100" fmla="*/ 16 w 257"/>
                <a:gd name="T101" fmla="*/ 24 h 1275"/>
                <a:gd name="T102" fmla="*/ 11 w 257"/>
                <a:gd name="T103" fmla="*/ 0 h 127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57" h="1275">
                  <a:moveTo>
                    <a:pt x="257" y="1271"/>
                  </a:moveTo>
                  <a:lnTo>
                    <a:pt x="257" y="1273"/>
                  </a:lnTo>
                  <a:lnTo>
                    <a:pt x="246" y="1275"/>
                  </a:lnTo>
                  <a:lnTo>
                    <a:pt x="246" y="1273"/>
                  </a:lnTo>
                  <a:lnTo>
                    <a:pt x="257" y="1271"/>
                  </a:lnTo>
                  <a:close/>
                  <a:moveTo>
                    <a:pt x="252" y="1246"/>
                  </a:moveTo>
                  <a:lnTo>
                    <a:pt x="253" y="1252"/>
                  </a:lnTo>
                  <a:lnTo>
                    <a:pt x="242" y="1254"/>
                  </a:lnTo>
                  <a:lnTo>
                    <a:pt x="241" y="1248"/>
                  </a:lnTo>
                  <a:lnTo>
                    <a:pt x="252" y="1246"/>
                  </a:lnTo>
                  <a:close/>
                  <a:moveTo>
                    <a:pt x="247" y="1221"/>
                  </a:moveTo>
                  <a:lnTo>
                    <a:pt x="249" y="1227"/>
                  </a:lnTo>
                  <a:lnTo>
                    <a:pt x="238" y="1230"/>
                  </a:lnTo>
                  <a:lnTo>
                    <a:pt x="237" y="1223"/>
                  </a:lnTo>
                  <a:lnTo>
                    <a:pt x="247" y="1221"/>
                  </a:lnTo>
                  <a:close/>
                  <a:moveTo>
                    <a:pt x="242" y="1196"/>
                  </a:moveTo>
                  <a:lnTo>
                    <a:pt x="243" y="1203"/>
                  </a:lnTo>
                  <a:lnTo>
                    <a:pt x="232" y="1205"/>
                  </a:lnTo>
                  <a:lnTo>
                    <a:pt x="231" y="1198"/>
                  </a:lnTo>
                  <a:lnTo>
                    <a:pt x="242" y="1196"/>
                  </a:lnTo>
                  <a:close/>
                  <a:moveTo>
                    <a:pt x="238" y="1171"/>
                  </a:moveTo>
                  <a:lnTo>
                    <a:pt x="239" y="1177"/>
                  </a:lnTo>
                  <a:lnTo>
                    <a:pt x="228" y="1179"/>
                  </a:lnTo>
                  <a:lnTo>
                    <a:pt x="227" y="1174"/>
                  </a:lnTo>
                  <a:lnTo>
                    <a:pt x="238" y="1171"/>
                  </a:lnTo>
                  <a:close/>
                  <a:moveTo>
                    <a:pt x="232" y="1146"/>
                  </a:moveTo>
                  <a:lnTo>
                    <a:pt x="233" y="1152"/>
                  </a:lnTo>
                  <a:lnTo>
                    <a:pt x="223" y="1154"/>
                  </a:lnTo>
                  <a:lnTo>
                    <a:pt x="222" y="1148"/>
                  </a:lnTo>
                  <a:lnTo>
                    <a:pt x="232" y="1146"/>
                  </a:lnTo>
                  <a:close/>
                  <a:moveTo>
                    <a:pt x="228" y="1121"/>
                  </a:moveTo>
                  <a:lnTo>
                    <a:pt x="229" y="1127"/>
                  </a:lnTo>
                  <a:lnTo>
                    <a:pt x="218" y="1129"/>
                  </a:lnTo>
                  <a:lnTo>
                    <a:pt x="217" y="1123"/>
                  </a:lnTo>
                  <a:lnTo>
                    <a:pt x="228" y="1121"/>
                  </a:lnTo>
                  <a:close/>
                  <a:moveTo>
                    <a:pt x="223" y="1096"/>
                  </a:moveTo>
                  <a:lnTo>
                    <a:pt x="224" y="1103"/>
                  </a:lnTo>
                  <a:lnTo>
                    <a:pt x="213" y="1105"/>
                  </a:lnTo>
                  <a:lnTo>
                    <a:pt x="212" y="1098"/>
                  </a:lnTo>
                  <a:lnTo>
                    <a:pt x="223" y="1096"/>
                  </a:lnTo>
                  <a:close/>
                  <a:moveTo>
                    <a:pt x="218" y="1071"/>
                  </a:moveTo>
                  <a:lnTo>
                    <a:pt x="220" y="1078"/>
                  </a:lnTo>
                  <a:lnTo>
                    <a:pt x="209" y="1080"/>
                  </a:lnTo>
                  <a:lnTo>
                    <a:pt x="208" y="1073"/>
                  </a:lnTo>
                  <a:lnTo>
                    <a:pt x="218" y="1071"/>
                  </a:lnTo>
                  <a:close/>
                  <a:moveTo>
                    <a:pt x="213" y="1047"/>
                  </a:moveTo>
                  <a:lnTo>
                    <a:pt x="214" y="1053"/>
                  </a:lnTo>
                  <a:lnTo>
                    <a:pt x="203" y="1055"/>
                  </a:lnTo>
                  <a:lnTo>
                    <a:pt x="202" y="1049"/>
                  </a:lnTo>
                  <a:lnTo>
                    <a:pt x="213" y="1047"/>
                  </a:lnTo>
                  <a:close/>
                  <a:moveTo>
                    <a:pt x="209" y="1022"/>
                  </a:moveTo>
                  <a:lnTo>
                    <a:pt x="210" y="1028"/>
                  </a:lnTo>
                  <a:lnTo>
                    <a:pt x="199" y="1030"/>
                  </a:lnTo>
                  <a:lnTo>
                    <a:pt x="198" y="1024"/>
                  </a:lnTo>
                  <a:lnTo>
                    <a:pt x="209" y="1022"/>
                  </a:lnTo>
                  <a:close/>
                  <a:moveTo>
                    <a:pt x="203" y="997"/>
                  </a:moveTo>
                  <a:lnTo>
                    <a:pt x="204" y="1002"/>
                  </a:lnTo>
                  <a:lnTo>
                    <a:pt x="194" y="1005"/>
                  </a:lnTo>
                  <a:lnTo>
                    <a:pt x="193" y="999"/>
                  </a:lnTo>
                  <a:lnTo>
                    <a:pt x="203" y="997"/>
                  </a:lnTo>
                  <a:close/>
                  <a:moveTo>
                    <a:pt x="199" y="971"/>
                  </a:moveTo>
                  <a:lnTo>
                    <a:pt x="200" y="978"/>
                  </a:lnTo>
                  <a:lnTo>
                    <a:pt x="189" y="980"/>
                  </a:lnTo>
                  <a:lnTo>
                    <a:pt x="188" y="973"/>
                  </a:lnTo>
                  <a:lnTo>
                    <a:pt x="199" y="971"/>
                  </a:lnTo>
                  <a:close/>
                  <a:moveTo>
                    <a:pt x="194" y="946"/>
                  </a:moveTo>
                  <a:lnTo>
                    <a:pt x="196" y="953"/>
                  </a:lnTo>
                  <a:lnTo>
                    <a:pt x="185" y="955"/>
                  </a:lnTo>
                  <a:lnTo>
                    <a:pt x="183" y="949"/>
                  </a:lnTo>
                  <a:lnTo>
                    <a:pt x="194" y="946"/>
                  </a:lnTo>
                  <a:close/>
                  <a:moveTo>
                    <a:pt x="189" y="922"/>
                  </a:moveTo>
                  <a:lnTo>
                    <a:pt x="190" y="928"/>
                  </a:lnTo>
                  <a:lnTo>
                    <a:pt x="180" y="930"/>
                  </a:lnTo>
                  <a:lnTo>
                    <a:pt x="179" y="924"/>
                  </a:lnTo>
                  <a:lnTo>
                    <a:pt x="189" y="922"/>
                  </a:lnTo>
                  <a:close/>
                  <a:moveTo>
                    <a:pt x="184" y="897"/>
                  </a:moveTo>
                  <a:lnTo>
                    <a:pt x="186" y="903"/>
                  </a:lnTo>
                  <a:lnTo>
                    <a:pt x="175" y="905"/>
                  </a:lnTo>
                  <a:lnTo>
                    <a:pt x="173" y="899"/>
                  </a:lnTo>
                  <a:lnTo>
                    <a:pt x="184" y="897"/>
                  </a:lnTo>
                  <a:close/>
                  <a:moveTo>
                    <a:pt x="180" y="872"/>
                  </a:moveTo>
                  <a:lnTo>
                    <a:pt x="181" y="879"/>
                  </a:lnTo>
                  <a:lnTo>
                    <a:pt x="170" y="881"/>
                  </a:lnTo>
                  <a:lnTo>
                    <a:pt x="169" y="874"/>
                  </a:lnTo>
                  <a:lnTo>
                    <a:pt x="180" y="872"/>
                  </a:lnTo>
                  <a:close/>
                  <a:moveTo>
                    <a:pt x="174" y="847"/>
                  </a:moveTo>
                  <a:lnTo>
                    <a:pt x="176" y="854"/>
                  </a:lnTo>
                  <a:lnTo>
                    <a:pt x="166" y="856"/>
                  </a:lnTo>
                  <a:lnTo>
                    <a:pt x="164" y="849"/>
                  </a:lnTo>
                  <a:lnTo>
                    <a:pt x="174" y="847"/>
                  </a:lnTo>
                  <a:close/>
                  <a:moveTo>
                    <a:pt x="170" y="822"/>
                  </a:moveTo>
                  <a:lnTo>
                    <a:pt x="171" y="828"/>
                  </a:lnTo>
                  <a:lnTo>
                    <a:pt x="160" y="830"/>
                  </a:lnTo>
                  <a:lnTo>
                    <a:pt x="159" y="825"/>
                  </a:lnTo>
                  <a:lnTo>
                    <a:pt x="170" y="822"/>
                  </a:lnTo>
                  <a:close/>
                  <a:moveTo>
                    <a:pt x="165" y="798"/>
                  </a:moveTo>
                  <a:lnTo>
                    <a:pt x="167" y="803"/>
                  </a:lnTo>
                  <a:lnTo>
                    <a:pt x="156" y="805"/>
                  </a:lnTo>
                  <a:lnTo>
                    <a:pt x="154" y="800"/>
                  </a:lnTo>
                  <a:lnTo>
                    <a:pt x="165" y="798"/>
                  </a:lnTo>
                  <a:close/>
                  <a:moveTo>
                    <a:pt x="160" y="772"/>
                  </a:moveTo>
                  <a:lnTo>
                    <a:pt x="161" y="778"/>
                  </a:lnTo>
                  <a:lnTo>
                    <a:pt x="151" y="780"/>
                  </a:lnTo>
                  <a:lnTo>
                    <a:pt x="150" y="774"/>
                  </a:lnTo>
                  <a:lnTo>
                    <a:pt x="160" y="772"/>
                  </a:lnTo>
                  <a:close/>
                  <a:moveTo>
                    <a:pt x="156" y="747"/>
                  </a:moveTo>
                  <a:lnTo>
                    <a:pt x="157" y="754"/>
                  </a:lnTo>
                  <a:lnTo>
                    <a:pt x="146" y="756"/>
                  </a:lnTo>
                  <a:lnTo>
                    <a:pt x="145" y="749"/>
                  </a:lnTo>
                  <a:lnTo>
                    <a:pt x="156" y="747"/>
                  </a:lnTo>
                  <a:close/>
                  <a:moveTo>
                    <a:pt x="151" y="722"/>
                  </a:moveTo>
                  <a:lnTo>
                    <a:pt x="152" y="729"/>
                  </a:lnTo>
                  <a:lnTo>
                    <a:pt x="141" y="731"/>
                  </a:lnTo>
                  <a:lnTo>
                    <a:pt x="140" y="724"/>
                  </a:lnTo>
                  <a:lnTo>
                    <a:pt x="151" y="722"/>
                  </a:lnTo>
                  <a:close/>
                  <a:moveTo>
                    <a:pt x="146" y="698"/>
                  </a:moveTo>
                  <a:lnTo>
                    <a:pt x="147" y="704"/>
                  </a:lnTo>
                  <a:lnTo>
                    <a:pt x="137" y="706"/>
                  </a:lnTo>
                  <a:lnTo>
                    <a:pt x="136" y="700"/>
                  </a:lnTo>
                  <a:lnTo>
                    <a:pt x="146" y="698"/>
                  </a:lnTo>
                  <a:close/>
                  <a:moveTo>
                    <a:pt x="141" y="673"/>
                  </a:moveTo>
                  <a:lnTo>
                    <a:pt x="142" y="679"/>
                  </a:lnTo>
                  <a:lnTo>
                    <a:pt x="131" y="681"/>
                  </a:lnTo>
                  <a:lnTo>
                    <a:pt x="130" y="675"/>
                  </a:lnTo>
                  <a:lnTo>
                    <a:pt x="141" y="673"/>
                  </a:lnTo>
                  <a:close/>
                  <a:moveTo>
                    <a:pt x="137" y="648"/>
                  </a:moveTo>
                  <a:lnTo>
                    <a:pt x="138" y="653"/>
                  </a:lnTo>
                  <a:lnTo>
                    <a:pt x="127" y="656"/>
                  </a:lnTo>
                  <a:lnTo>
                    <a:pt x="126" y="650"/>
                  </a:lnTo>
                  <a:lnTo>
                    <a:pt x="137" y="648"/>
                  </a:lnTo>
                  <a:close/>
                  <a:moveTo>
                    <a:pt x="131" y="623"/>
                  </a:moveTo>
                  <a:lnTo>
                    <a:pt x="132" y="629"/>
                  </a:lnTo>
                  <a:lnTo>
                    <a:pt x="122" y="631"/>
                  </a:lnTo>
                  <a:lnTo>
                    <a:pt x="121" y="625"/>
                  </a:lnTo>
                  <a:lnTo>
                    <a:pt x="131" y="623"/>
                  </a:lnTo>
                  <a:close/>
                  <a:moveTo>
                    <a:pt x="127" y="597"/>
                  </a:moveTo>
                  <a:lnTo>
                    <a:pt x="128" y="604"/>
                  </a:lnTo>
                  <a:lnTo>
                    <a:pt x="117" y="606"/>
                  </a:lnTo>
                  <a:lnTo>
                    <a:pt x="116" y="600"/>
                  </a:lnTo>
                  <a:lnTo>
                    <a:pt x="127" y="597"/>
                  </a:lnTo>
                  <a:close/>
                  <a:moveTo>
                    <a:pt x="122" y="573"/>
                  </a:moveTo>
                  <a:lnTo>
                    <a:pt x="123" y="579"/>
                  </a:lnTo>
                  <a:lnTo>
                    <a:pt x="112" y="581"/>
                  </a:lnTo>
                  <a:lnTo>
                    <a:pt x="111" y="575"/>
                  </a:lnTo>
                  <a:lnTo>
                    <a:pt x="122" y="573"/>
                  </a:lnTo>
                  <a:close/>
                  <a:moveTo>
                    <a:pt x="117" y="548"/>
                  </a:moveTo>
                  <a:lnTo>
                    <a:pt x="118" y="554"/>
                  </a:lnTo>
                  <a:lnTo>
                    <a:pt x="108" y="556"/>
                  </a:lnTo>
                  <a:lnTo>
                    <a:pt x="107" y="550"/>
                  </a:lnTo>
                  <a:lnTo>
                    <a:pt x="117" y="548"/>
                  </a:lnTo>
                  <a:close/>
                  <a:moveTo>
                    <a:pt x="112" y="523"/>
                  </a:moveTo>
                  <a:lnTo>
                    <a:pt x="113" y="530"/>
                  </a:lnTo>
                  <a:lnTo>
                    <a:pt x="102" y="532"/>
                  </a:lnTo>
                  <a:lnTo>
                    <a:pt x="101" y="525"/>
                  </a:lnTo>
                  <a:lnTo>
                    <a:pt x="112" y="523"/>
                  </a:lnTo>
                  <a:close/>
                  <a:moveTo>
                    <a:pt x="108" y="498"/>
                  </a:moveTo>
                  <a:lnTo>
                    <a:pt x="109" y="505"/>
                  </a:lnTo>
                  <a:lnTo>
                    <a:pt x="98" y="507"/>
                  </a:lnTo>
                  <a:lnTo>
                    <a:pt x="97" y="500"/>
                  </a:lnTo>
                  <a:lnTo>
                    <a:pt x="108" y="498"/>
                  </a:lnTo>
                  <a:close/>
                  <a:moveTo>
                    <a:pt x="102" y="474"/>
                  </a:moveTo>
                  <a:lnTo>
                    <a:pt x="103" y="479"/>
                  </a:lnTo>
                  <a:lnTo>
                    <a:pt x="93" y="481"/>
                  </a:lnTo>
                  <a:lnTo>
                    <a:pt x="92" y="476"/>
                  </a:lnTo>
                  <a:lnTo>
                    <a:pt x="102" y="474"/>
                  </a:lnTo>
                  <a:close/>
                  <a:moveTo>
                    <a:pt x="98" y="449"/>
                  </a:moveTo>
                  <a:lnTo>
                    <a:pt x="99" y="454"/>
                  </a:lnTo>
                  <a:lnTo>
                    <a:pt x="88" y="456"/>
                  </a:lnTo>
                  <a:lnTo>
                    <a:pt x="87" y="451"/>
                  </a:lnTo>
                  <a:lnTo>
                    <a:pt x="98" y="449"/>
                  </a:lnTo>
                  <a:close/>
                  <a:moveTo>
                    <a:pt x="93" y="423"/>
                  </a:moveTo>
                  <a:lnTo>
                    <a:pt x="94" y="429"/>
                  </a:lnTo>
                  <a:lnTo>
                    <a:pt x="83" y="432"/>
                  </a:lnTo>
                  <a:lnTo>
                    <a:pt x="82" y="425"/>
                  </a:lnTo>
                  <a:lnTo>
                    <a:pt x="93" y="423"/>
                  </a:lnTo>
                  <a:close/>
                  <a:moveTo>
                    <a:pt x="88" y="398"/>
                  </a:moveTo>
                  <a:lnTo>
                    <a:pt x="89" y="405"/>
                  </a:lnTo>
                  <a:lnTo>
                    <a:pt x="79" y="407"/>
                  </a:lnTo>
                  <a:lnTo>
                    <a:pt x="78" y="400"/>
                  </a:lnTo>
                  <a:lnTo>
                    <a:pt x="88" y="398"/>
                  </a:lnTo>
                  <a:close/>
                  <a:moveTo>
                    <a:pt x="83" y="373"/>
                  </a:moveTo>
                  <a:lnTo>
                    <a:pt x="84" y="380"/>
                  </a:lnTo>
                  <a:lnTo>
                    <a:pt x="73" y="382"/>
                  </a:lnTo>
                  <a:lnTo>
                    <a:pt x="72" y="376"/>
                  </a:lnTo>
                  <a:lnTo>
                    <a:pt x="83" y="373"/>
                  </a:lnTo>
                  <a:close/>
                  <a:moveTo>
                    <a:pt x="79" y="349"/>
                  </a:moveTo>
                  <a:lnTo>
                    <a:pt x="80" y="355"/>
                  </a:lnTo>
                  <a:lnTo>
                    <a:pt x="69" y="357"/>
                  </a:lnTo>
                  <a:lnTo>
                    <a:pt x="68" y="351"/>
                  </a:lnTo>
                  <a:lnTo>
                    <a:pt x="79" y="349"/>
                  </a:lnTo>
                  <a:close/>
                  <a:moveTo>
                    <a:pt x="73" y="324"/>
                  </a:moveTo>
                  <a:lnTo>
                    <a:pt x="74" y="330"/>
                  </a:lnTo>
                  <a:lnTo>
                    <a:pt x="64" y="332"/>
                  </a:lnTo>
                  <a:lnTo>
                    <a:pt x="62" y="326"/>
                  </a:lnTo>
                  <a:lnTo>
                    <a:pt x="73" y="324"/>
                  </a:lnTo>
                  <a:close/>
                  <a:moveTo>
                    <a:pt x="69" y="299"/>
                  </a:moveTo>
                  <a:lnTo>
                    <a:pt x="70" y="304"/>
                  </a:lnTo>
                  <a:lnTo>
                    <a:pt x="59" y="307"/>
                  </a:lnTo>
                  <a:lnTo>
                    <a:pt x="58" y="301"/>
                  </a:lnTo>
                  <a:lnTo>
                    <a:pt x="69" y="299"/>
                  </a:lnTo>
                  <a:close/>
                  <a:moveTo>
                    <a:pt x="64" y="274"/>
                  </a:moveTo>
                  <a:lnTo>
                    <a:pt x="65" y="280"/>
                  </a:lnTo>
                  <a:lnTo>
                    <a:pt x="54" y="282"/>
                  </a:lnTo>
                  <a:lnTo>
                    <a:pt x="53" y="276"/>
                  </a:lnTo>
                  <a:lnTo>
                    <a:pt x="64" y="274"/>
                  </a:lnTo>
                  <a:close/>
                  <a:moveTo>
                    <a:pt x="59" y="248"/>
                  </a:moveTo>
                  <a:lnTo>
                    <a:pt x="60" y="255"/>
                  </a:lnTo>
                  <a:lnTo>
                    <a:pt x="50" y="257"/>
                  </a:lnTo>
                  <a:lnTo>
                    <a:pt x="49" y="251"/>
                  </a:lnTo>
                  <a:lnTo>
                    <a:pt x="59" y="248"/>
                  </a:lnTo>
                  <a:close/>
                  <a:moveTo>
                    <a:pt x="54" y="224"/>
                  </a:moveTo>
                  <a:lnTo>
                    <a:pt x="55" y="230"/>
                  </a:lnTo>
                  <a:lnTo>
                    <a:pt x="44" y="232"/>
                  </a:lnTo>
                  <a:lnTo>
                    <a:pt x="43" y="226"/>
                  </a:lnTo>
                  <a:lnTo>
                    <a:pt x="54" y="224"/>
                  </a:lnTo>
                  <a:close/>
                  <a:moveTo>
                    <a:pt x="50" y="199"/>
                  </a:moveTo>
                  <a:lnTo>
                    <a:pt x="51" y="205"/>
                  </a:lnTo>
                  <a:lnTo>
                    <a:pt x="40" y="208"/>
                  </a:lnTo>
                  <a:lnTo>
                    <a:pt x="39" y="201"/>
                  </a:lnTo>
                  <a:lnTo>
                    <a:pt x="50" y="199"/>
                  </a:lnTo>
                  <a:close/>
                  <a:moveTo>
                    <a:pt x="44" y="174"/>
                  </a:moveTo>
                  <a:lnTo>
                    <a:pt x="46" y="181"/>
                  </a:lnTo>
                  <a:lnTo>
                    <a:pt x="36" y="183"/>
                  </a:lnTo>
                  <a:lnTo>
                    <a:pt x="33" y="176"/>
                  </a:lnTo>
                  <a:lnTo>
                    <a:pt x="44" y="174"/>
                  </a:lnTo>
                  <a:close/>
                  <a:moveTo>
                    <a:pt x="40" y="149"/>
                  </a:moveTo>
                  <a:lnTo>
                    <a:pt x="41" y="156"/>
                  </a:lnTo>
                  <a:lnTo>
                    <a:pt x="30" y="158"/>
                  </a:lnTo>
                  <a:lnTo>
                    <a:pt x="29" y="152"/>
                  </a:lnTo>
                  <a:lnTo>
                    <a:pt x="40" y="149"/>
                  </a:lnTo>
                  <a:close/>
                  <a:moveTo>
                    <a:pt x="35" y="125"/>
                  </a:moveTo>
                  <a:lnTo>
                    <a:pt x="37" y="131"/>
                  </a:lnTo>
                  <a:lnTo>
                    <a:pt x="26" y="133"/>
                  </a:lnTo>
                  <a:lnTo>
                    <a:pt x="24" y="127"/>
                  </a:lnTo>
                  <a:lnTo>
                    <a:pt x="35" y="125"/>
                  </a:lnTo>
                  <a:close/>
                  <a:moveTo>
                    <a:pt x="30" y="100"/>
                  </a:moveTo>
                  <a:lnTo>
                    <a:pt x="31" y="105"/>
                  </a:lnTo>
                  <a:lnTo>
                    <a:pt x="21" y="107"/>
                  </a:lnTo>
                  <a:lnTo>
                    <a:pt x="19" y="102"/>
                  </a:lnTo>
                  <a:lnTo>
                    <a:pt x="30" y="100"/>
                  </a:lnTo>
                  <a:close/>
                  <a:moveTo>
                    <a:pt x="25" y="74"/>
                  </a:moveTo>
                  <a:lnTo>
                    <a:pt x="27" y="80"/>
                  </a:lnTo>
                  <a:lnTo>
                    <a:pt x="16" y="83"/>
                  </a:lnTo>
                  <a:lnTo>
                    <a:pt x="14" y="76"/>
                  </a:lnTo>
                  <a:lnTo>
                    <a:pt x="25" y="74"/>
                  </a:lnTo>
                  <a:close/>
                  <a:moveTo>
                    <a:pt x="21" y="49"/>
                  </a:moveTo>
                  <a:lnTo>
                    <a:pt x="22" y="56"/>
                  </a:lnTo>
                  <a:lnTo>
                    <a:pt x="11" y="58"/>
                  </a:lnTo>
                  <a:lnTo>
                    <a:pt x="10" y="51"/>
                  </a:lnTo>
                  <a:lnTo>
                    <a:pt x="21" y="49"/>
                  </a:lnTo>
                  <a:close/>
                  <a:moveTo>
                    <a:pt x="16" y="24"/>
                  </a:moveTo>
                  <a:lnTo>
                    <a:pt x="17" y="31"/>
                  </a:lnTo>
                  <a:lnTo>
                    <a:pt x="7" y="33"/>
                  </a:lnTo>
                  <a:lnTo>
                    <a:pt x="5" y="27"/>
                  </a:lnTo>
                  <a:lnTo>
                    <a:pt x="16" y="24"/>
                  </a:lnTo>
                  <a:close/>
                  <a:moveTo>
                    <a:pt x="11" y="0"/>
                  </a:moveTo>
                  <a:lnTo>
                    <a:pt x="12" y="6"/>
                  </a:lnTo>
                  <a:lnTo>
                    <a:pt x="1" y="8"/>
                  </a:lnTo>
                  <a:lnTo>
                    <a:pt x="0" y="2"/>
                  </a:lnTo>
                  <a:lnTo>
                    <a:pt x="11" y="0"/>
                  </a:lnTo>
                  <a:close/>
                </a:path>
              </a:pathLst>
            </a:custGeom>
            <a:solidFill>
              <a:srgbClr val="D7273A"/>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069" name="Freeform 461"/>
            <p:cNvSpPr>
              <a:spLocks/>
            </p:cNvSpPr>
            <p:nvPr/>
          </p:nvSpPr>
          <p:spPr bwMode="auto">
            <a:xfrm>
              <a:off x="2279" y="2740"/>
              <a:ext cx="10" cy="9"/>
            </a:xfrm>
            <a:custGeom>
              <a:avLst/>
              <a:gdLst>
                <a:gd name="T0" fmla="*/ 8 w 10"/>
                <a:gd name="T1" fmla="*/ 0 h 9"/>
                <a:gd name="T2" fmla="*/ 10 w 10"/>
                <a:gd name="T3" fmla="*/ 3 h 9"/>
                <a:gd name="T4" fmla="*/ 2 w 10"/>
                <a:gd name="T5" fmla="*/ 9 h 9"/>
                <a:gd name="T6" fmla="*/ 0 w 10"/>
                <a:gd name="T7" fmla="*/ 6 h 9"/>
                <a:gd name="T8" fmla="*/ 8 w 10"/>
                <a:gd name="T9" fmla="*/ 0 h 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9">
                  <a:moveTo>
                    <a:pt x="8" y="0"/>
                  </a:moveTo>
                  <a:lnTo>
                    <a:pt x="10" y="3"/>
                  </a:lnTo>
                  <a:lnTo>
                    <a:pt x="2" y="9"/>
                  </a:lnTo>
                  <a:lnTo>
                    <a:pt x="0" y="6"/>
                  </a:lnTo>
                  <a:lnTo>
                    <a:pt x="8" y="0"/>
                  </a:lnTo>
                  <a:close/>
                </a:path>
              </a:pathLst>
            </a:custGeom>
            <a:solidFill>
              <a:srgbClr val="D7273A"/>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070" name="Freeform 462"/>
            <p:cNvSpPr>
              <a:spLocks/>
            </p:cNvSpPr>
            <p:nvPr/>
          </p:nvSpPr>
          <p:spPr bwMode="auto">
            <a:xfrm>
              <a:off x="1791" y="1777"/>
              <a:ext cx="175" cy="175"/>
            </a:xfrm>
            <a:custGeom>
              <a:avLst/>
              <a:gdLst>
                <a:gd name="T0" fmla="*/ 87 w 175"/>
                <a:gd name="T1" fmla="*/ 0 h 175"/>
                <a:gd name="T2" fmla="*/ 111 w 175"/>
                <a:gd name="T3" fmla="*/ 4 h 175"/>
                <a:gd name="T4" fmla="*/ 132 w 175"/>
                <a:gd name="T5" fmla="*/ 12 h 175"/>
                <a:gd name="T6" fmla="*/ 149 w 175"/>
                <a:gd name="T7" fmla="*/ 26 h 175"/>
                <a:gd name="T8" fmla="*/ 163 w 175"/>
                <a:gd name="T9" fmla="*/ 43 h 175"/>
                <a:gd name="T10" fmla="*/ 171 w 175"/>
                <a:gd name="T11" fmla="*/ 65 h 175"/>
                <a:gd name="T12" fmla="*/ 175 w 175"/>
                <a:gd name="T13" fmla="*/ 88 h 175"/>
                <a:gd name="T14" fmla="*/ 171 w 175"/>
                <a:gd name="T15" fmla="*/ 111 h 175"/>
                <a:gd name="T16" fmla="*/ 163 w 175"/>
                <a:gd name="T17" fmla="*/ 132 h 175"/>
                <a:gd name="T18" fmla="*/ 149 w 175"/>
                <a:gd name="T19" fmla="*/ 150 h 175"/>
                <a:gd name="T20" fmla="*/ 132 w 175"/>
                <a:gd name="T21" fmla="*/ 163 h 175"/>
                <a:gd name="T22" fmla="*/ 111 w 175"/>
                <a:gd name="T23" fmla="*/ 172 h 175"/>
                <a:gd name="T24" fmla="*/ 87 w 175"/>
                <a:gd name="T25" fmla="*/ 175 h 175"/>
                <a:gd name="T26" fmla="*/ 65 w 175"/>
                <a:gd name="T27" fmla="*/ 172 h 175"/>
                <a:gd name="T28" fmla="*/ 43 w 175"/>
                <a:gd name="T29" fmla="*/ 163 h 175"/>
                <a:gd name="T30" fmla="*/ 26 w 175"/>
                <a:gd name="T31" fmla="*/ 150 h 175"/>
                <a:gd name="T32" fmla="*/ 12 w 175"/>
                <a:gd name="T33" fmla="*/ 132 h 175"/>
                <a:gd name="T34" fmla="*/ 4 w 175"/>
                <a:gd name="T35" fmla="*/ 111 h 175"/>
                <a:gd name="T36" fmla="*/ 0 w 175"/>
                <a:gd name="T37" fmla="*/ 88 h 175"/>
                <a:gd name="T38" fmla="*/ 4 w 175"/>
                <a:gd name="T39" fmla="*/ 65 h 175"/>
                <a:gd name="T40" fmla="*/ 12 w 175"/>
                <a:gd name="T41" fmla="*/ 43 h 175"/>
                <a:gd name="T42" fmla="*/ 26 w 175"/>
                <a:gd name="T43" fmla="*/ 26 h 175"/>
                <a:gd name="T44" fmla="*/ 43 w 175"/>
                <a:gd name="T45" fmla="*/ 12 h 175"/>
                <a:gd name="T46" fmla="*/ 65 w 175"/>
                <a:gd name="T47" fmla="*/ 4 h 175"/>
                <a:gd name="T48" fmla="*/ 87 w 175"/>
                <a:gd name="T49" fmla="*/ 0 h 17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75" h="175">
                  <a:moveTo>
                    <a:pt x="87" y="0"/>
                  </a:moveTo>
                  <a:lnTo>
                    <a:pt x="111" y="4"/>
                  </a:lnTo>
                  <a:lnTo>
                    <a:pt x="132" y="12"/>
                  </a:lnTo>
                  <a:lnTo>
                    <a:pt x="149" y="26"/>
                  </a:lnTo>
                  <a:lnTo>
                    <a:pt x="163" y="43"/>
                  </a:lnTo>
                  <a:lnTo>
                    <a:pt x="171" y="65"/>
                  </a:lnTo>
                  <a:lnTo>
                    <a:pt x="175" y="88"/>
                  </a:lnTo>
                  <a:lnTo>
                    <a:pt x="171" y="111"/>
                  </a:lnTo>
                  <a:lnTo>
                    <a:pt x="163" y="132"/>
                  </a:lnTo>
                  <a:lnTo>
                    <a:pt x="149" y="150"/>
                  </a:lnTo>
                  <a:lnTo>
                    <a:pt x="132" y="163"/>
                  </a:lnTo>
                  <a:lnTo>
                    <a:pt x="111" y="172"/>
                  </a:lnTo>
                  <a:lnTo>
                    <a:pt x="87" y="175"/>
                  </a:lnTo>
                  <a:lnTo>
                    <a:pt x="65" y="172"/>
                  </a:lnTo>
                  <a:lnTo>
                    <a:pt x="43" y="163"/>
                  </a:lnTo>
                  <a:lnTo>
                    <a:pt x="26" y="150"/>
                  </a:lnTo>
                  <a:lnTo>
                    <a:pt x="12" y="132"/>
                  </a:lnTo>
                  <a:lnTo>
                    <a:pt x="4" y="111"/>
                  </a:lnTo>
                  <a:lnTo>
                    <a:pt x="0" y="88"/>
                  </a:lnTo>
                  <a:lnTo>
                    <a:pt x="4" y="65"/>
                  </a:lnTo>
                  <a:lnTo>
                    <a:pt x="12" y="43"/>
                  </a:lnTo>
                  <a:lnTo>
                    <a:pt x="26" y="26"/>
                  </a:lnTo>
                  <a:lnTo>
                    <a:pt x="43" y="12"/>
                  </a:lnTo>
                  <a:lnTo>
                    <a:pt x="65" y="4"/>
                  </a:lnTo>
                  <a:lnTo>
                    <a:pt x="87" y="0"/>
                  </a:lnTo>
                  <a:close/>
                </a:path>
              </a:pathLst>
            </a:custGeom>
            <a:solidFill>
              <a:srgbClr val="29426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071" name="Freeform 463"/>
            <p:cNvSpPr>
              <a:spLocks noEditPoints="1"/>
            </p:cNvSpPr>
            <p:nvPr/>
          </p:nvSpPr>
          <p:spPr bwMode="auto">
            <a:xfrm>
              <a:off x="1787" y="1771"/>
              <a:ext cx="185" cy="186"/>
            </a:xfrm>
            <a:custGeom>
              <a:avLst/>
              <a:gdLst>
                <a:gd name="T0" fmla="*/ 91 w 185"/>
                <a:gd name="T1" fmla="*/ 11 h 186"/>
                <a:gd name="T2" fmla="*/ 75 w 185"/>
                <a:gd name="T3" fmla="*/ 13 h 186"/>
                <a:gd name="T4" fmla="*/ 60 w 185"/>
                <a:gd name="T5" fmla="*/ 17 h 186"/>
                <a:gd name="T6" fmla="*/ 46 w 185"/>
                <a:gd name="T7" fmla="*/ 25 h 186"/>
                <a:gd name="T8" fmla="*/ 34 w 185"/>
                <a:gd name="T9" fmla="*/ 35 h 186"/>
                <a:gd name="T10" fmla="*/ 22 w 185"/>
                <a:gd name="T11" fmla="*/ 53 h 186"/>
                <a:gd name="T12" fmla="*/ 13 w 185"/>
                <a:gd name="T13" fmla="*/ 72 h 186"/>
                <a:gd name="T14" fmla="*/ 10 w 185"/>
                <a:gd name="T15" fmla="*/ 94 h 186"/>
                <a:gd name="T16" fmla="*/ 13 w 185"/>
                <a:gd name="T17" fmla="*/ 114 h 186"/>
                <a:gd name="T18" fmla="*/ 22 w 185"/>
                <a:gd name="T19" fmla="*/ 133 h 186"/>
                <a:gd name="T20" fmla="*/ 34 w 185"/>
                <a:gd name="T21" fmla="*/ 151 h 186"/>
                <a:gd name="T22" fmla="*/ 46 w 185"/>
                <a:gd name="T23" fmla="*/ 161 h 186"/>
                <a:gd name="T24" fmla="*/ 60 w 185"/>
                <a:gd name="T25" fmla="*/ 169 h 186"/>
                <a:gd name="T26" fmla="*/ 75 w 185"/>
                <a:gd name="T27" fmla="*/ 173 h 186"/>
                <a:gd name="T28" fmla="*/ 91 w 185"/>
                <a:gd name="T29" fmla="*/ 174 h 186"/>
                <a:gd name="T30" fmla="*/ 113 w 185"/>
                <a:gd name="T31" fmla="*/ 172 h 186"/>
                <a:gd name="T32" fmla="*/ 133 w 185"/>
                <a:gd name="T33" fmla="*/ 164 h 186"/>
                <a:gd name="T34" fmla="*/ 151 w 185"/>
                <a:gd name="T35" fmla="*/ 151 h 186"/>
                <a:gd name="T36" fmla="*/ 164 w 185"/>
                <a:gd name="T37" fmla="*/ 133 h 186"/>
                <a:gd name="T38" fmla="*/ 172 w 185"/>
                <a:gd name="T39" fmla="*/ 114 h 186"/>
                <a:gd name="T40" fmla="*/ 174 w 185"/>
                <a:gd name="T41" fmla="*/ 94 h 186"/>
                <a:gd name="T42" fmla="*/ 172 w 185"/>
                <a:gd name="T43" fmla="*/ 72 h 186"/>
                <a:gd name="T44" fmla="*/ 164 w 185"/>
                <a:gd name="T45" fmla="*/ 53 h 186"/>
                <a:gd name="T46" fmla="*/ 151 w 185"/>
                <a:gd name="T47" fmla="*/ 35 h 186"/>
                <a:gd name="T48" fmla="*/ 133 w 185"/>
                <a:gd name="T49" fmla="*/ 21 h 186"/>
                <a:gd name="T50" fmla="*/ 113 w 185"/>
                <a:gd name="T51" fmla="*/ 14 h 186"/>
                <a:gd name="T52" fmla="*/ 91 w 185"/>
                <a:gd name="T53" fmla="*/ 11 h 186"/>
                <a:gd name="T54" fmla="*/ 91 w 185"/>
                <a:gd name="T55" fmla="*/ 0 h 186"/>
                <a:gd name="T56" fmla="*/ 116 w 185"/>
                <a:gd name="T57" fmla="*/ 3 h 186"/>
                <a:gd name="T58" fmla="*/ 139 w 185"/>
                <a:gd name="T59" fmla="*/ 12 h 186"/>
                <a:gd name="T60" fmla="*/ 158 w 185"/>
                <a:gd name="T61" fmla="*/ 27 h 186"/>
                <a:gd name="T62" fmla="*/ 170 w 185"/>
                <a:gd name="T63" fmla="*/ 41 h 186"/>
                <a:gd name="T64" fmla="*/ 179 w 185"/>
                <a:gd name="T65" fmla="*/ 57 h 186"/>
                <a:gd name="T66" fmla="*/ 184 w 185"/>
                <a:gd name="T67" fmla="*/ 75 h 186"/>
                <a:gd name="T68" fmla="*/ 185 w 185"/>
                <a:gd name="T69" fmla="*/ 94 h 186"/>
                <a:gd name="T70" fmla="*/ 184 w 185"/>
                <a:gd name="T71" fmla="*/ 112 h 186"/>
                <a:gd name="T72" fmla="*/ 179 w 185"/>
                <a:gd name="T73" fmla="*/ 129 h 186"/>
                <a:gd name="T74" fmla="*/ 170 w 185"/>
                <a:gd name="T75" fmla="*/ 144 h 186"/>
                <a:gd name="T76" fmla="*/ 158 w 185"/>
                <a:gd name="T77" fmla="*/ 158 h 186"/>
                <a:gd name="T78" fmla="*/ 139 w 185"/>
                <a:gd name="T79" fmla="*/ 173 h 186"/>
                <a:gd name="T80" fmla="*/ 116 w 185"/>
                <a:gd name="T81" fmla="*/ 183 h 186"/>
                <a:gd name="T82" fmla="*/ 91 w 185"/>
                <a:gd name="T83" fmla="*/ 186 h 186"/>
                <a:gd name="T84" fmla="*/ 74 w 185"/>
                <a:gd name="T85" fmla="*/ 184 h 186"/>
                <a:gd name="T86" fmla="*/ 57 w 185"/>
                <a:gd name="T87" fmla="*/ 179 h 186"/>
                <a:gd name="T88" fmla="*/ 41 w 185"/>
                <a:gd name="T89" fmla="*/ 170 h 186"/>
                <a:gd name="T90" fmla="*/ 27 w 185"/>
                <a:gd name="T91" fmla="*/ 158 h 186"/>
                <a:gd name="T92" fmla="*/ 15 w 185"/>
                <a:gd name="T93" fmla="*/ 144 h 186"/>
                <a:gd name="T94" fmla="*/ 7 w 185"/>
                <a:gd name="T95" fmla="*/ 129 h 186"/>
                <a:gd name="T96" fmla="*/ 1 w 185"/>
                <a:gd name="T97" fmla="*/ 112 h 186"/>
                <a:gd name="T98" fmla="*/ 0 w 185"/>
                <a:gd name="T99" fmla="*/ 94 h 186"/>
                <a:gd name="T100" fmla="*/ 1 w 185"/>
                <a:gd name="T101" fmla="*/ 75 h 186"/>
                <a:gd name="T102" fmla="*/ 7 w 185"/>
                <a:gd name="T103" fmla="*/ 57 h 186"/>
                <a:gd name="T104" fmla="*/ 15 w 185"/>
                <a:gd name="T105" fmla="*/ 41 h 186"/>
                <a:gd name="T106" fmla="*/ 27 w 185"/>
                <a:gd name="T107" fmla="*/ 27 h 186"/>
                <a:gd name="T108" fmla="*/ 41 w 185"/>
                <a:gd name="T109" fmla="*/ 15 h 186"/>
                <a:gd name="T110" fmla="*/ 57 w 185"/>
                <a:gd name="T111" fmla="*/ 7 h 186"/>
                <a:gd name="T112" fmla="*/ 74 w 185"/>
                <a:gd name="T113" fmla="*/ 2 h 186"/>
                <a:gd name="T114" fmla="*/ 91 w 185"/>
                <a:gd name="T115" fmla="*/ 0 h 18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85" h="186">
                  <a:moveTo>
                    <a:pt x="91" y="11"/>
                  </a:moveTo>
                  <a:lnTo>
                    <a:pt x="75" y="13"/>
                  </a:lnTo>
                  <a:lnTo>
                    <a:pt x="60" y="17"/>
                  </a:lnTo>
                  <a:lnTo>
                    <a:pt x="46" y="25"/>
                  </a:lnTo>
                  <a:lnTo>
                    <a:pt x="34" y="35"/>
                  </a:lnTo>
                  <a:lnTo>
                    <a:pt x="22" y="53"/>
                  </a:lnTo>
                  <a:lnTo>
                    <a:pt x="13" y="72"/>
                  </a:lnTo>
                  <a:lnTo>
                    <a:pt x="10" y="94"/>
                  </a:lnTo>
                  <a:lnTo>
                    <a:pt x="13" y="114"/>
                  </a:lnTo>
                  <a:lnTo>
                    <a:pt x="22" y="133"/>
                  </a:lnTo>
                  <a:lnTo>
                    <a:pt x="34" y="151"/>
                  </a:lnTo>
                  <a:lnTo>
                    <a:pt x="46" y="161"/>
                  </a:lnTo>
                  <a:lnTo>
                    <a:pt x="60" y="169"/>
                  </a:lnTo>
                  <a:lnTo>
                    <a:pt x="75" y="173"/>
                  </a:lnTo>
                  <a:lnTo>
                    <a:pt x="91" y="174"/>
                  </a:lnTo>
                  <a:lnTo>
                    <a:pt x="113" y="172"/>
                  </a:lnTo>
                  <a:lnTo>
                    <a:pt x="133" y="164"/>
                  </a:lnTo>
                  <a:lnTo>
                    <a:pt x="151" y="151"/>
                  </a:lnTo>
                  <a:lnTo>
                    <a:pt x="164" y="133"/>
                  </a:lnTo>
                  <a:lnTo>
                    <a:pt x="172" y="114"/>
                  </a:lnTo>
                  <a:lnTo>
                    <a:pt x="174" y="94"/>
                  </a:lnTo>
                  <a:lnTo>
                    <a:pt x="172" y="72"/>
                  </a:lnTo>
                  <a:lnTo>
                    <a:pt x="164" y="53"/>
                  </a:lnTo>
                  <a:lnTo>
                    <a:pt x="151" y="35"/>
                  </a:lnTo>
                  <a:lnTo>
                    <a:pt x="133" y="21"/>
                  </a:lnTo>
                  <a:lnTo>
                    <a:pt x="113" y="14"/>
                  </a:lnTo>
                  <a:lnTo>
                    <a:pt x="91" y="11"/>
                  </a:lnTo>
                  <a:close/>
                  <a:moveTo>
                    <a:pt x="91" y="0"/>
                  </a:moveTo>
                  <a:lnTo>
                    <a:pt x="116" y="3"/>
                  </a:lnTo>
                  <a:lnTo>
                    <a:pt x="139" y="12"/>
                  </a:lnTo>
                  <a:lnTo>
                    <a:pt x="158" y="27"/>
                  </a:lnTo>
                  <a:lnTo>
                    <a:pt x="170" y="41"/>
                  </a:lnTo>
                  <a:lnTo>
                    <a:pt x="179" y="57"/>
                  </a:lnTo>
                  <a:lnTo>
                    <a:pt x="184" y="75"/>
                  </a:lnTo>
                  <a:lnTo>
                    <a:pt x="185" y="94"/>
                  </a:lnTo>
                  <a:lnTo>
                    <a:pt x="184" y="112"/>
                  </a:lnTo>
                  <a:lnTo>
                    <a:pt x="179" y="129"/>
                  </a:lnTo>
                  <a:lnTo>
                    <a:pt x="170" y="144"/>
                  </a:lnTo>
                  <a:lnTo>
                    <a:pt x="158" y="158"/>
                  </a:lnTo>
                  <a:lnTo>
                    <a:pt x="139" y="173"/>
                  </a:lnTo>
                  <a:lnTo>
                    <a:pt x="116" y="183"/>
                  </a:lnTo>
                  <a:lnTo>
                    <a:pt x="91" y="186"/>
                  </a:lnTo>
                  <a:lnTo>
                    <a:pt x="74" y="184"/>
                  </a:lnTo>
                  <a:lnTo>
                    <a:pt x="57" y="179"/>
                  </a:lnTo>
                  <a:lnTo>
                    <a:pt x="41" y="170"/>
                  </a:lnTo>
                  <a:lnTo>
                    <a:pt x="27" y="158"/>
                  </a:lnTo>
                  <a:lnTo>
                    <a:pt x="15" y="144"/>
                  </a:lnTo>
                  <a:lnTo>
                    <a:pt x="7" y="129"/>
                  </a:lnTo>
                  <a:lnTo>
                    <a:pt x="1" y="112"/>
                  </a:lnTo>
                  <a:lnTo>
                    <a:pt x="0" y="94"/>
                  </a:lnTo>
                  <a:lnTo>
                    <a:pt x="1" y="75"/>
                  </a:lnTo>
                  <a:lnTo>
                    <a:pt x="7" y="57"/>
                  </a:lnTo>
                  <a:lnTo>
                    <a:pt x="15" y="41"/>
                  </a:lnTo>
                  <a:lnTo>
                    <a:pt x="27" y="27"/>
                  </a:lnTo>
                  <a:lnTo>
                    <a:pt x="41" y="15"/>
                  </a:lnTo>
                  <a:lnTo>
                    <a:pt x="57" y="7"/>
                  </a:lnTo>
                  <a:lnTo>
                    <a:pt x="74" y="2"/>
                  </a:lnTo>
                  <a:lnTo>
                    <a:pt x="91" y="0"/>
                  </a:lnTo>
                  <a:close/>
                </a:path>
              </a:pathLst>
            </a:custGeom>
            <a:solidFill>
              <a:srgbClr val="35977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072" name="Freeform 464"/>
            <p:cNvSpPr>
              <a:spLocks/>
            </p:cNvSpPr>
            <p:nvPr/>
          </p:nvSpPr>
          <p:spPr bwMode="auto">
            <a:xfrm>
              <a:off x="1847" y="1839"/>
              <a:ext cx="68" cy="65"/>
            </a:xfrm>
            <a:custGeom>
              <a:avLst/>
              <a:gdLst>
                <a:gd name="T0" fmla="*/ 34 w 68"/>
                <a:gd name="T1" fmla="*/ 0 h 65"/>
                <a:gd name="T2" fmla="*/ 37 w 68"/>
                <a:gd name="T3" fmla="*/ 2 h 65"/>
                <a:gd name="T4" fmla="*/ 42 w 68"/>
                <a:gd name="T5" fmla="*/ 5 h 65"/>
                <a:gd name="T6" fmla="*/ 49 w 68"/>
                <a:gd name="T7" fmla="*/ 9 h 65"/>
                <a:gd name="T8" fmla="*/ 56 w 68"/>
                <a:gd name="T9" fmla="*/ 15 h 65"/>
                <a:gd name="T10" fmla="*/ 62 w 68"/>
                <a:gd name="T11" fmla="*/ 19 h 65"/>
                <a:gd name="T12" fmla="*/ 67 w 68"/>
                <a:gd name="T13" fmla="*/ 22 h 65"/>
                <a:gd name="T14" fmla="*/ 68 w 68"/>
                <a:gd name="T15" fmla="*/ 24 h 65"/>
                <a:gd name="T16" fmla="*/ 68 w 68"/>
                <a:gd name="T17" fmla="*/ 49 h 65"/>
                <a:gd name="T18" fmla="*/ 68 w 68"/>
                <a:gd name="T19" fmla="*/ 54 h 65"/>
                <a:gd name="T20" fmla="*/ 67 w 68"/>
                <a:gd name="T21" fmla="*/ 57 h 65"/>
                <a:gd name="T22" fmla="*/ 65 w 68"/>
                <a:gd name="T23" fmla="*/ 60 h 65"/>
                <a:gd name="T24" fmla="*/ 62 w 68"/>
                <a:gd name="T25" fmla="*/ 63 h 65"/>
                <a:gd name="T26" fmla="*/ 58 w 68"/>
                <a:gd name="T27" fmla="*/ 64 h 65"/>
                <a:gd name="T28" fmla="*/ 54 w 68"/>
                <a:gd name="T29" fmla="*/ 65 h 65"/>
                <a:gd name="T30" fmla="*/ 44 w 68"/>
                <a:gd name="T31" fmla="*/ 65 h 65"/>
                <a:gd name="T32" fmla="*/ 44 w 68"/>
                <a:gd name="T33" fmla="*/ 45 h 65"/>
                <a:gd name="T34" fmla="*/ 44 w 68"/>
                <a:gd name="T35" fmla="*/ 41 h 65"/>
                <a:gd name="T36" fmla="*/ 42 w 68"/>
                <a:gd name="T37" fmla="*/ 38 h 65"/>
                <a:gd name="T38" fmla="*/ 40 w 68"/>
                <a:gd name="T39" fmla="*/ 36 h 65"/>
                <a:gd name="T40" fmla="*/ 37 w 68"/>
                <a:gd name="T41" fmla="*/ 35 h 65"/>
                <a:gd name="T42" fmla="*/ 34 w 68"/>
                <a:gd name="T43" fmla="*/ 35 h 65"/>
                <a:gd name="T44" fmla="*/ 30 w 68"/>
                <a:gd name="T45" fmla="*/ 35 h 65"/>
                <a:gd name="T46" fmla="*/ 27 w 68"/>
                <a:gd name="T47" fmla="*/ 37 h 65"/>
                <a:gd name="T48" fmla="*/ 24 w 68"/>
                <a:gd name="T49" fmla="*/ 40 h 65"/>
                <a:gd name="T50" fmla="*/ 23 w 68"/>
                <a:gd name="T51" fmla="*/ 43 h 65"/>
                <a:gd name="T52" fmla="*/ 22 w 68"/>
                <a:gd name="T53" fmla="*/ 46 h 65"/>
                <a:gd name="T54" fmla="*/ 22 w 68"/>
                <a:gd name="T55" fmla="*/ 65 h 65"/>
                <a:gd name="T56" fmla="*/ 16 w 68"/>
                <a:gd name="T57" fmla="*/ 65 h 65"/>
                <a:gd name="T58" fmla="*/ 12 w 68"/>
                <a:gd name="T59" fmla="*/ 65 h 65"/>
                <a:gd name="T60" fmla="*/ 9 w 68"/>
                <a:gd name="T61" fmla="*/ 63 h 65"/>
                <a:gd name="T62" fmla="*/ 6 w 68"/>
                <a:gd name="T63" fmla="*/ 61 h 65"/>
                <a:gd name="T64" fmla="*/ 2 w 68"/>
                <a:gd name="T65" fmla="*/ 58 h 65"/>
                <a:gd name="T66" fmla="*/ 0 w 68"/>
                <a:gd name="T67" fmla="*/ 55 h 65"/>
                <a:gd name="T68" fmla="*/ 0 w 68"/>
                <a:gd name="T69" fmla="*/ 51 h 65"/>
                <a:gd name="T70" fmla="*/ 0 w 68"/>
                <a:gd name="T71" fmla="*/ 26 h 65"/>
                <a:gd name="T72" fmla="*/ 1 w 68"/>
                <a:gd name="T73" fmla="*/ 24 h 65"/>
                <a:gd name="T74" fmla="*/ 7 w 68"/>
                <a:gd name="T75" fmla="*/ 20 h 65"/>
                <a:gd name="T76" fmla="*/ 13 w 68"/>
                <a:gd name="T77" fmla="*/ 16 h 65"/>
                <a:gd name="T78" fmla="*/ 20 w 68"/>
                <a:gd name="T79" fmla="*/ 10 h 65"/>
                <a:gd name="T80" fmla="*/ 26 w 68"/>
                <a:gd name="T81" fmla="*/ 5 h 65"/>
                <a:gd name="T82" fmla="*/ 31 w 68"/>
                <a:gd name="T83" fmla="*/ 2 h 65"/>
                <a:gd name="T84" fmla="*/ 34 w 68"/>
                <a:gd name="T85" fmla="*/ 0 h 6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68" h="65">
                  <a:moveTo>
                    <a:pt x="34" y="0"/>
                  </a:moveTo>
                  <a:lnTo>
                    <a:pt x="37" y="2"/>
                  </a:lnTo>
                  <a:lnTo>
                    <a:pt x="42" y="5"/>
                  </a:lnTo>
                  <a:lnTo>
                    <a:pt x="49" y="9"/>
                  </a:lnTo>
                  <a:lnTo>
                    <a:pt x="56" y="15"/>
                  </a:lnTo>
                  <a:lnTo>
                    <a:pt x="62" y="19"/>
                  </a:lnTo>
                  <a:lnTo>
                    <a:pt x="67" y="22"/>
                  </a:lnTo>
                  <a:lnTo>
                    <a:pt x="68" y="24"/>
                  </a:lnTo>
                  <a:lnTo>
                    <a:pt x="68" y="49"/>
                  </a:lnTo>
                  <a:lnTo>
                    <a:pt x="68" y="54"/>
                  </a:lnTo>
                  <a:lnTo>
                    <a:pt x="67" y="57"/>
                  </a:lnTo>
                  <a:lnTo>
                    <a:pt x="65" y="60"/>
                  </a:lnTo>
                  <a:lnTo>
                    <a:pt x="62" y="63"/>
                  </a:lnTo>
                  <a:lnTo>
                    <a:pt x="58" y="64"/>
                  </a:lnTo>
                  <a:lnTo>
                    <a:pt x="54" y="65"/>
                  </a:lnTo>
                  <a:lnTo>
                    <a:pt x="44" y="65"/>
                  </a:lnTo>
                  <a:lnTo>
                    <a:pt x="44" y="45"/>
                  </a:lnTo>
                  <a:lnTo>
                    <a:pt x="44" y="41"/>
                  </a:lnTo>
                  <a:lnTo>
                    <a:pt x="42" y="38"/>
                  </a:lnTo>
                  <a:lnTo>
                    <a:pt x="40" y="36"/>
                  </a:lnTo>
                  <a:lnTo>
                    <a:pt x="37" y="35"/>
                  </a:lnTo>
                  <a:lnTo>
                    <a:pt x="34" y="35"/>
                  </a:lnTo>
                  <a:lnTo>
                    <a:pt x="30" y="35"/>
                  </a:lnTo>
                  <a:lnTo>
                    <a:pt x="27" y="37"/>
                  </a:lnTo>
                  <a:lnTo>
                    <a:pt x="24" y="40"/>
                  </a:lnTo>
                  <a:lnTo>
                    <a:pt x="23" y="43"/>
                  </a:lnTo>
                  <a:lnTo>
                    <a:pt x="22" y="46"/>
                  </a:lnTo>
                  <a:lnTo>
                    <a:pt x="22" y="65"/>
                  </a:lnTo>
                  <a:lnTo>
                    <a:pt x="16" y="65"/>
                  </a:lnTo>
                  <a:lnTo>
                    <a:pt x="12" y="65"/>
                  </a:lnTo>
                  <a:lnTo>
                    <a:pt x="9" y="63"/>
                  </a:lnTo>
                  <a:lnTo>
                    <a:pt x="6" y="61"/>
                  </a:lnTo>
                  <a:lnTo>
                    <a:pt x="2" y="58"/>
                  </a:lnTo>
                  <a:lnTo>
                    <a:pt x="0" y="55"/>
                  </a:lnTo>
                  <a:lnTo>
                    <a:pt x="0" y="51"/>
                  </a:lnTo>
                  <a:lnTo>
                    <a:pt x="0" y="26"/>
                  </a:lnTo>
                  <a:lnTo>
                    <a:pt x="1" y="24"/>
                  </a:lnTo>
                  <a:lnTo>
                    <a:pt x="7" y="20"/>
                  </a:lnTo>
                  <a:lnTo>
                    <a:pt x="13" y="16"/>
                  </a:lnTo>
                  <a:lnTo>
                    <a:pt x="20" y="10"/>
                  </a:lnTo>
                  <a:lnTo>
                    <a:pt x="26" y="5"/>
                  </a:lnTo>
                  <a:lnTo>
                    <a:pt x="31" y="2"/>
                  </a:lnTo>
                  <a:lnTo>
                    <a:pt x="34" y="0"/>
                  </a:lnTo>
                  <a:close/>
                </a:path>
              </a:pathLst>
            </a:custGeom>
            <a:solidFill>
              <a:srgbClr val="35977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073" name="Freeform 465"/>
            <p:cNvSpPr>
              <a:spLocks/>
            </p:cNvSpPr>
            <p:nvPr/>
          </p:nvSpPr>
          <p:spPr bwMode="auto">
            <a:xfrm>
              <a:off x="1831" y="1824"/>
              <a:ext cx="98" cy="41"/>
            </a:xfrm>
            <a:custGeom>
              <a:avLst/>
              <a:gdLst>
                <a:gd name="T0" fmla="*/ 50 w 98"/>
                <a:gd name="T1" fmla="*/ 0 h 41"/>
                <a:gd name="T2" fmla="*/ 70 w 98"/>
                <a:gd name="T3" fmla="*/ 15 h 41"/>
                <a:gd name="T4" fmla="*/ 70 w 98"/>
                <a:gd name="T5" fmla="*/ 14 h 41"/>
                <a:gd name="T6" fmla="*/ 71 w 98"/>
                <a:gd name="T7" fmla="*/ 11 h 41"/>
                <a:gd name="T8" fmla="*/ 72 w 98"/>
                <a:gd name="T9" fmla="*/ 9 h 41"/>
                <a:gd name="T10" fmla="*/ 74 w 98"/>
                <a:gd name="T11" fmla="*/ 8 h 41"/>
                <a:gd name="T12" fmla="*/ 77 w 98"/>
                <a:gd name="T13" fmla="*/ 7 h 41"/>
                <a:gd name="T14" fmla="*/ 80 w 98"/>
                <a:gd name="T15" fmla="*/ 8 h 41"/>
                <a:gd name="T16" fmla="*/ 82 w 98"/>
                <a:gd name="T17" fmla="*/ 9 h 41"/>
                <a:gd name="T18" fmla="*/ 84 w 98"/>
                <a:gd name="T19" fmla="*/ 11 h 41"/>
                <a:gd name="T20" fmla="*/ 84 w 98"/>
                <a:gd name="T21" fmla="*/ 14 h 41"/>
                <a:gd name="T22" fmla="*/ 84 w 98"/>
                <a:gd name="T23" fmla="*/ 24 h 41"/>
                <a:gd name="T24" fmla="*/ 97 w 98"/>
                <a:gd name="T25" fmla="*/ 34 h 41"/>
                <a:gd name="T26" fmla="*/ 98 w 98"/>
                <a:gd name="T27" fmla="*/ 35 h 41"/>
                <a:gd name="T28" fmla="*/ 98 w 98"/>
                <a:gd name="T29" fmla="*/ 36 h 41"/>
                <a:gd name="T30" fmla="*/ 98 w 98"/>
                <a:gd name="T31" fmla="*/ 37 h 41"/>
                <a:gd name="T32" fmla="*/ 97 w 98"/>
                <a:gd name="T33" fmla="*/ 38 h 41"/>
                <a:gd name="T34" fmla="*/ 96 w 98"/>
                <a:gd name="T35" fmla="*/ 38 h 41"/>
                <a:gd name="T36" fmla="*/ 94 w 98"/>
                <a:gd name="T37" fmla="*/ 37 h 41"/>
                <a:gd name="T38" fmla="*/ 50 w 98"/>
                <a:gd name="T39" fmla="*/ 6 h 41"/>
                <a:gd name="T40" fmla="*/ 3 w 98"/>
                <a:gd name="T41" fmla="*/ 41 h 41"/>
                <a:gd name="T42" fmla="*/ 2 w 98"/>
                <a:gd name="T43" fmla="*/ 41 h 41"/>
                <a:gd name="T44" fmla="*/ 2 w 98"/>
                <a:gd name="T45" fmla="*/ 41 h 41"/>
                <a:gd name="T46" fmla="*/ 1 w 98"/>
                <a:gd name="T47" fmla="*/ 41 h 41"/>
                <a:gd name="T48" fmla="*/ 0 w 98"/>
                <a:gd name="T49" fmla="*/ 39 h 41"/>
                <a:gd name="T50" fmla="*/ 0 w 98"/>
                <a:gd name="T51" fmla="*/ 39 h 41"/>
                <a:gd name="T52" fmla="*/ 0 w 98"/>
                <a:gd name="T53" fmla="*/ 36 h 41"/>
                <a:gd name="T54" fmla="*/ 50 w 98"/>
                <a:gd name="T55" fmla="*/ 0 h 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98" h="41">
                  <a:moveTo>
                    <a:pt x="50" y="0"/>
                  </a:moveTo>
                  <a:lnTo>
                    <a:pt x="70" y="15"/>
                  </a:lnTo>
                  <a:lnTo>
                    <a:pt x="70" y="14"/>
                  </a:lnTo>
                  <a:lnTo>
                    <a:pt x="71" y="11"/>
                  </a:lnTo>
                  <a:lnTo>
                    <a:pt x="72" y="9"/>
                  </a:lnTo>
                  <a:lnTo>
                    <a:pt x="74" y="8"/>
                  </a:lnTo>
                  <a:lnTo>
                    <a:pt x="77" y="7"/>
                  </a:lnTo>
                  <a:lnTo>
                    <a:pt x="80" y="8"/>
                  </a:lnTo>
                  <a:lnTo>
                    <a:pt x="82" y="9"/>
                  </a:lnTo>
                  <a:lnTo>
                    <a:pt x="84" y="11"/>
                  </a:lnTo>
                  <a:lnTo>
                    <a:pt x="84" y="14"/>
                  </a:lnTo>
                  <a:lnTo>
                    <a:pt x="84" y="24"/>
                  </a:lnTo>
                  <a:lnTo>
                    <a:pt x="97" y="34"/>
                  </a:lnTo>
                  <a:lnTo>
                    <a:pt x="98" y="35"/>
                  </a:lnTo>
                  <a:lnTo>
                    <a:pt x="98" y="36"/>
                  </a:lnTo>
                  <a:lnTo>
                    <a:pt x="98" y="37"/>
                  </a:lnTo>
                  <a:lnTo>
                    <a:pt x="97" y="38"/>
                  </a:lnTo>
                  <a:lnTo>
                    <a:pt x="96" y="38"/>
                  </a:lnTo>
                  <a:lnTo>
                    <a:pt x="94" y="37"/>
                  </a:lnTo>
                  <a:lnTo>
                    <a:pt x="50" y="6"/>
                  </a:lnTo>
                  <a:lnTo>
                    <a:pt x="3" y="41"/>
                  </a:lnTo>
                  <a:lnTo>
                    <a:pt x="2" y="41"/>
                  </a:lnTo>
                  <a:lnTo>
                    <a:pt x="1" y="41"/>
                  </a:lnTo>
                  <a:lnTo>
                    <a:pt x="0" y="39"/>
                  </a:lnTo>
                  <a:lnTo>
                    <a:pt x="0" y="36"/>
                  </a:lnTo>
                  <a:lnTo>
                    <a:pt x="50" y="0"/>
                  </a:lnTo>
                  <a:close/>
                </a:path>
              </a:pathLst>
            </a:custGeom>
            <a:solidFill>
              <a:srgbClr val="35977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074" name="Freeform 466"/>
            <p:cNvSpPr>
              <a:spLocks/>
            </p:cNvSpPr>
            <p:nvPr/>
          </p:nvSpPr>
          <p:spPr bwMode="auto">
            <a:xfrm>
              <a:off x="1901" y="1831"/>
              <a:ext cx="14" cy="10"/>
            </a:xfrm>
            <a:custGeom>
              <a:avLst/>
              <a:gdLst>
                <a:gd name="T0" fmla="*/ 4 w 14"/>
                <a:gd name="T1" fmla="*/ 0 h 10"/>
                <a:gd name="T2" fmla="*/ 8 w 14"/>
                <a:gd name="T3" fmla="*/ 0 h 10"/>
                <a:gd name="T4" fmla="*/ 11 w 14"/>
                <a:gd name="T5" fmla="*/ 0 h 10"/>
                <a:gd name="T6" fmla="*/ 13 w 14"/>
                <a:gd name="T7" fmla="*/ 1 h 10"/>
                <a:gd name="T8" fmla="*/ 14 w 14"/>
                <a:gd name="T9" fmla="*/ 3 h 10"/>
                <a:gd name="T10" fmla="*/ 14 w 14"/>
                <a:gd name="T11" fmla="*/ 6 h 10"/>
                <a:gd name="T12" fmla="*/ 14 w 14"/>
                <a:gd name="T13" fmla="*/ 7 h 10"/>
                <a:gd name="T14" fmla="*/ 13 w 14"/>
                <a:gd name="T15" fmla="*/ 9 h 10"/>
                <a:gd name="T16" fmla="*/ 11 w 14"/>
                <a:gd name="T17" fmla="*/ 10 h 10"/>
                <a:gd name="T18" fmla="*/ 10 w 14"/>
                <a:gd name="T19" fmla="*/ 10 h 10"/>
                <a:gd name="T20" fmla="*/ 4 w 14"/>
                <a:gd name="T21" fmla="*/ 10 h 10"/>
                <a:gd name="T22" fmla="*/ 2 w 14"/>
                <a:gd name="T23" fmla="*/ 9 h 10"/>
                <a:gd name="T24" fmla="*/ 1 w 14"/>
                <a:gd name="T25" fmla="*/ 8 h 10"/>
                <a:gd name="T26" fmla="*/ 0 w 14"/>
                <a:gd name="T27" fmla="*/ 6 h 10"/>
                <a:gd name="T28" fmla="*/ 0 w 14"/>
                <a:gd name="T29" fmla="*/ 3 h 10"/>
                <a:gd name="T30" fmla="*/ 1 w 14"/>
                <a:gd name="T31" fmla="*/ 1 h 10"/>
                <a:gd name="T32" fmla="*/ 2 w 14"/>
                <a:gd name="T33" fmla="*/ 0 h 10"/>
                <a:gd name="T34" fmla="*/ 4 w 14"/>
                <a:gd name="T35" fmla="*/ 0 h 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4" h="10">
                  <a:moveTo>
                    <a:pt x="4" y="0"/>
                  </a:moveTo>
                  <a:lnTo>
                    <a:pt x="8" y="0"/>
                  </a:lnTo>
                  <a:lnTo>
                    <a:pt x="11" y="0"/>
                  </a:lnTo>
                  <a:lnTo>
                    <a:pt x="13" y="1"/>
                  </a:lnTo>
                  <a:lnTo>
                    <a:pt x="14" y="3"/>
                  </a:lnTo>
                  <a:lnTo>
                    <a:pt x="14" y="6"/>
                  </a:lnTo>
                  <a:lnTo>
                    <a:pt x="14" y="7"/>
                  </a:lnTo>
                  <a:lnTo>
                    <a:pt x="13" y="9"/>
                  </a:lnTo>
                  <a:lnTo>
                    <a:pt x="11" y="10"/>
                  </a:lnTo>
                  <a:lnTo>
                    <a:pt x="10" y="10"/>
                  </a:lnTo>
                  <a:lnTo>
                    <a:pt x="4" y="10"/>
                  </a:lnTo>
                  <a:lnTo>
                    <a:pt x="2" y="9"/>
                  </a:lnTo>
                  <a:lnTo>
                    <a:pt x="1" y="8"/>
                  </a:lnTo>
                  <a:lnTo>
                    <a:pt x="0" y="6"/>
                  </a:lnTo>
                  <a:lnTo>
                    <a:pt x="0" y="3"/>
                  </a:lnTo>
                  <a:lnTo>
                    <a:pt x="1" y="1"/>
                  </a:lnTo>
                  <a:lnTo>
                    <a:pt x="2" y="0"/>
                  </a:lnTo>
                  <a:lnTo>
                    <a:pt x="4" y="0"/>
                  </a:lnTo>
                  <a:close/>
                </a:path>
              </a:pathLst>
            </a:custGeom>
            <a:solidFill>
              <a:srgbClr val="35977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075" name="Rectangle 467"/>
            <p:cNvSpPr>
              <a:spLocks noChangeArrowheads="1"/>
            </p:cNvSpPr>
            <p:nvPr/>
          </p:nvSpPr>
          <p:spPr bwMode="auto">
            <a:xfrm>
              <a:off x="2236" y="2765"/>
              <a:ext cx="10" cy="3"/>
            </a:xfrm>
            <a:prstGeom prst="rect">
              <a:avLst/>
            </a:prstGeom>
            <a:solidFill>
              <a:srgbClr val="35977F"/>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eaLnBrk="1" hangingPunct="1"/>
              <a:endParaRPr lang="es-ES" altLang="es-CL" dirty="0">
                <a:solidFill>
                  <a:srgbClr val="333333"/>
                </a:solidFill>
                <a:latin typeface="Arial" pitchFamily="34" charset="0"/>
              </a:endParaRPr>
            </a:p>
          </p:txBody>
        </p:sp>
        <p:sp>
          <p:nvSpPr>
            <p:cNvPr id="2076" name="Freeform 468"/>
            <p:cNvSpPr>
              <a:spLocks noEditPoints="1"/>
            </p:cNvSpPr>
            <p:nvPr/>
          </p:nvSpPr>
          <p:spPr bwMode="auto">
            <a:xfrm>
              <a:off x="1904" y="1969"/>
              <a:ext cx="334" cy="784"/>
            </a:xfrm>
            <a:custGeom>
              <a:avLst/>
              <a:gdLst>
                <a:gd name="T0" fmla="*/ 324 w 334"/>
                <a:gd name="T1" fmla="*/ 784 h 784"/>
                <a:gd name="T2" fmla="*/ 321 w 334"/>
                <a:gd name="T3" fmla="*/ 751 h 784"/>
                <a:gd name="T4" fmla="*/ 311 w 334"/>
                <a:gd name="T5" fmla="*/ 755 h 784"/>
                <a:gd name="T6" fmla="*/ 313 w 334"/>
                <a:gd name="T7" fmla="*/ 732 h 784"/>
                <a:gd name="T8" fmla="*/ 311 w 334"/>
                <a:gd name="T9" fmla="*/ 727 h 784"/>
                <a:gd name="T10" fmla="*/ 294 w 334"/>
                <a:gd name="T11" fmla="*/ 714 h 784"/>
                <a:gd name="T12" fmla="*/ 292 w 334"/>
                <a:gd name="T13" fmla="*/ 681 h 784"/>
                <a:gd name="T14" fmla="*/ 282 w 334"/>
                <a:gd name="T15" fmla="*/ 685 h 784"/>
                <a:gd name="T16" fmla="*/ 284 w 334"/>
                <a:gd name="T17" fmla="*/ 662 h 784"/>
                <a:gd name="T18" fmla="*/ 282 w 334"/>
                <a:gd name="T19" fmla="*/ 657 h 784"/>
                <a:gd name="T20" fmla="*/ 265 w 334"/>
                <a:gd name="T21" fmla="*/ 643 h 784"/>
                <a:gd name="T22" fmla="*/ 263 w 334"/>
                <a:gd name="T23" fmla="*/ 610 h 784"/>
                <a:gd name="T24" fmla="*/ 253 w 334"/>
                <a:gd name="T25" fmla="*/ 614 h 784"/>
                <a:gd name="T26" fmla="*/ 255 w 334"/>
                <a:gd name="T27" fmla="*/ 592 h 784"/>
                <a:gd name="T28" fmla="*/ 253 w 334"/>
                <a:gd name="T29" fmla="*/ 586 h 784"/>
                <a:gd name="T30" fmla="*/ 236 w 334"/>
                <a:gd name="T31" fmla="*/ 573 h 784"/>
                <a:gd name="T32" fmla="*/ 234 w 334"/>
                <a:gd name="T33" fmla="*/ 540 h 784"/>
                <a:gd name="T34" fmla="*/ 224 w 334"/>
                <a:gd name="T35" fmla="*/ 544 h 784"/>
                <a:gd name="T36" fmla="*/ 226 w 334"/>
                <a:gd name="T37" fmla="*/ 522 h 784"/>
                <a:gd name="T38" fmla="*/ 224 w 334"/>
                <a:gd name="T39" fmla="*/ 516 h 784"/>
                <a:gd name="T40" fmla="*/ 207 w 334"/>
                <a:gd name="T41" fmla="*/ 503 h 784"/>
                <a:gd name="T42" fmla="*/ 205 w 334"/>
                <a:gd name="T43" fmla="*/ 470 h 784"/>
                <a:gd name="T44" fmla="*/ 195 w 334"/>
                <a:gd name="T45" fmla="*/ 474 h 784"/>
                <a:gd name="T46" fmla="*/ 197 w 334"/>
                <a:gd name="T47" fmla="*/ 451 h 784"/>
                <a:gd name="T48" fmla="*/ 195 w 334"/>
                <a:gd name="T49" fmla="*/ 446 h 784"/>
                <a:gd name="T50" fmla="*/ 178 w 334"/>
                <a:gd name="T51" fmla="*/ 432 h 784"/>
                <a:gd name="T52" fmla="*/ 176 w 334"/>
                <a:gd name="T53" fmla="*/ 399 h 784"/>
                <a:gd name="T54" fmla="*/ 166 w 334"/>
                <a:gd name="T55" fmla="*/ 403 h 784"/>
                <a:gd name="T56" fmla="*/ 168 w 334"/>
                <a:gd name="T57" fmla="*/ 381 h 784"/>
                <a:gd name="T58" fmla="*/ 166 w 334"/>
                <a:gd name="T59" fmla="*/ 375 h 784"/>
                <a:gd name="T60" fmla="*/ 149 w 334"/>
                <a:gd name="T61" fmla="*/ 362 h 784"/>
                <a:gd name="T62" fmla="*/ 147 w 334"/>
                <a:gd name="T63" fmla="*/ 329 h 784"/>
                <a:gd name="T64" fmla="*/ 137 w 334"/>
                <a:gd name="T65" fmla="*/ 333 h 784"/>
                <a:gd name="T66" fmla="*/ 139 w 334"/>
                <a:gd name="T67" fmla="*/ 311 h 784"/>
                <a:gd name="T68" fmla="*/ 137 w 334"/>
                <a:gd name="T69" fmla="*/ 305 h 784"/>
                <a:gd name="T70" fmla="*/ 120 w 334"/>
                <a:gd name="T71" fmla="*/ 292 h 784"/>
                <a:gd name="T72" fmla="*/ 118 w 334"/>
                <a:gd name="T73" fmla="*/ 258 h 784"/>
                <a:gd name="T74" fmla="*/ 108 w 334"/>
                <a:gd name="T75" fmla="*/ 263 h 784"/>
                <a:gd name="T76" fmla="*/ 110 w 334"/>
                <a:gd name="T77" fmla="*/ 240 h 784"/>
                <a:gd name="T78" fmla="*/ 107 w 334"/>
                <a:gd name="T79" fmla="*/ 235 h 784"/>
                <a:gd name="T80" fmla="*/ 91 w 334"/>
                <a:gd name="T81" fmla="*/ 222 h 784"/>
                <a:gd name="T82" fmla="*/ 87 w 334"/>
                <a:gd name="T83" fmla="*/ 187 h 784"/>
                <a:gd name="T84" fmla="*/ 78 w 334"/>
                <a:gd name="T85" fmla="*/ 192 h 784"/>
                <a:gd name="T86" fmla="*/ 81 w 334"/>
                <a:gd name="T87" fmla="*/ 170 h 784"/>
                <a:gd name="T88" fmla="*/ 78 w 334"/>
                <a:gd name="T89" fmla="*/ 165 h 784"/>
                <a:gd name="T90" fmla="*/ 62 w 334"/>
                <a:gd name="T91" fmla="*/ 151 h 784"/>
                <a:gd name="T92" fmla="*/ 58 w 334"/>
                <a:gd name="T93" fmla="*/ 117 h 784"/>
                <a:gd name="T94" fmla="*/ 49 w 334"/>
                <a:gd name="T95" fmla="*/ 122 h 784"/>
                <a:gd name="T96" fmla="*/ 52 w 334"/>
                <a:gd name="T97" fmla="*/ 100 h 784"/>
                <a:gd name="T98" fmla="*/ 49 w 334"/>
                <a:gd name="T99" fmla="*/ 94 h 784"/>
                <a:gd name="T100" fmla="*/ 33 w 334"/>
                <a:gd name="T101" fmla="*/ 81 h 784"/>
                <a:gd name="T102" fmla="*/ 29 w 334"/>
                <a:gd name="T103" fmla="*/ 47 h 784"/>
                <a:gd name="T104" fmla="*/ 20 w 334"/>
                <a:gd name="T105" fmla="*/ 52 h 784"/>
                <a:gd name="T106" fmla="*/ 22 w 334"/>
                <a:gd name="T107" fmla="*/ 29 h 784"/>
                <a:gd name="T108" fmla="*/ 20 w 334"/>
                <a:gd name="T109" fmla="*/ 24 h 784"/>
                <a:gd name="T110" fmla="*/ 2 w 334"/>
                <a:gd name="T111" fmla="*/ 11 h 78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34" h="784">
                  <a:moveTo>
                    <a:pt x="330" y="774"/>
                  </a:moveTo>
                  <a:lnTo>
                    <a:pt x="334" y="780"/>
                  </a:lnTo>
                  <a:lnTo>
                    <a:pt x="324" y="784"/>
                  </a:lnTo>
                  <a:lnTo>
                    <a:pt x="321" y="779"/>
                  </a:lnTo>
                  <a:lnTo>
                    <a:pt x="330" y="774"/>
                  </a:lnTo>
                  <a:close/>
                  <a:moveTo>
                    <a:pt x="321" y="751"/>
                  </a:moveTo>
                  <a:lnTo>
                    <a:pt x="323" y="756"/>
                  </a:lnTo>
                  <a:lnTo>
                    <a:pt x="313" y="760"/>
                  </a:lnTo>
                  <a:lnTo>
                    <a:pt x="311" y="755"/>
                  </a:lnTo>
                  <a:lnTo>
                    <a:pt x="321" y="751"/>
                  </a:lnTo>
                  <a:close/>
                  <a:moveTo>
                    <a:pt x="311" y="727"/>
                  </a:moveTo>
                  <a:lnTo>
                    <a:pt x="313" y="732"/>
                  </a:lnTo>
                  <a:lnTo>
                    <a:pt x="304" y="737"/>
                  </a:lnTo>
                  <a:lnTo>
                    <a:pt x="301" y="731"/>
                  </a:lnTo>
                  <a:lnTo>
                    <a:pt x="311" y="727"/>
                  </a:lnTo>
                  <a:close/>
                  <a:moveTo>
                    <a:pt x="301" y="703"/>
                  </a:moveTo>
                  <a:lnTo>
                    <a:pt x="304" y="710"/>
                  </a:lnTo>
                  <a:lnTo>
                    <a:pt x="294" y="714"/>
                  </a:lnTo>
                  <a:lnTo>
                    <a:pt x="292" y="708"/>
                  </a:lnTo>
                  <a:lnTo>
                    <a:pt x="301" y="703"/>
                  </a:lnTo>
                  <a:close/>
                  <a:moveTo>
                    <a:pt x="292" y="681"/>
                  </a:moveTo>
                  <a:lnTo>
                    <a:pt x="294" y="686"/>
                  </a:lnTo>
                  <a:lnTo>
                    <a:pt x="284" y="690"/>
                  </a:lnTo>
                  <a:lnTo>
                    <a:pt x="282" y="685"/>
                  </a:lnTo>
                  <a:lnTo>
                    <a:pt x="292" y="681"/>
                  </a:lnTo>
                  <a:close/>
                  <a:moveTo>
                    <a:pt x="282" y="657"/>
                  </a:moveTo>
                  <a:lnTo>
                    <a:pt x="284" y="662"/>
                  </a:lnTo>
                  <a:lnTo>
                    <a:pt x="275" y="667"/>
                  </a:lnTo>
                  <a:lnTo>
                    <a:pt x="272" y="661"/>
                  </a:lnTo>
                  <a:lnTo>
                    <a:pt x="282" y="657"/>
                  </a:lnTo>
                  <a:close/>
                  <a:moveTo>
                    <a:pt x="272" y="633"/>
                  </a:moveTo>
                  <a:lnTo>
                    <a:pt x="275" y="639"/>
                  </a:lnTo>
                  <a:lnTo>
                    <a:pt x="265" y="643"/>
                  </a:lnTo>
                  <a:lnTo>
                    <a:pt x="263" y="638"/>
                  </a:lnTo>
                  <a:lnTo>
                    <a:pt x="272" y="633"/>
                  </a:lnTo>
                  <a:close/>
                  <a:moveTo>
                    <a:pt x="263" y="610"/>
                  </a:moveTo>
                  <a:lnTo>
                    <a:pt x="265" y="616"/>
                  </a:lnTo>
                  <a:lnTo>
                    <a:pt x="255" y="620"/>
                  </a:lnTo>
                  <a:lnTo>
                    <a:pt x="253" y="614"/>
                  </a:lnTo>
                  <a:lnTo>
                    <a:pt x="263" y="610"/>
                  </a:lnTo>
                  <a:close/>
                  <a:moveTo>
                    <a:pt x="253" y="586"/>
                  </a:moveTo>
                  <a:lnTo>
                    <a:pt x="255" y="592"/>
                  </a:lnTo>
                  <a:lnTo>
                    <a:pt x="245" y="597"/>
                  </a:lnTo>
                  <a:lnTo>
                    <a:pt x="243" y="590"/>
                  </a:lnTo>
                  <a:lnTo>
                    <a:pt x="253" y="586"/>
                  </a:lnTo>
                  <a:close/>
                  <a:moveTo>
                    <a:pt x="243" y="563"/>
                  </a:moveTo>
                  <a:lnTo>
                    <a:pt x="245" y="569"/>
                  </a:lnTo>
                  <a:lnTo>
                    <a:pt x="236" y="573"/>
                  </a:lnTo>
                  <a:lnTo>
                    <a:pt x="234" y="568"/>
                  </a:lnTo>
                  <a:lnTo>
                    <a:pt x="243" y="563"/>
                  </a:lnTo>
                  <a:close/>
                  <a:moveTo>
                    <a:pt x="234" y="540"/>
                  </a:moveTo>
                  <a:lnTo>
                    <a:pt x="236" y="545"/>
                  </a:lnTo>
                  <a:lnTo>
                    <a:pt x="226" y="549"/>
                  </a:lnTo>
                  <a:lnTo>
                    <a:pt x="224" y="544"/>
                  </a:lnTo>
                  <a:lnTo>
                    <a:pt x="234" y="540"/>
                  </a:lnTo>
                  <a:close/>
                  <a:moveTo>
                    <a:pt x="224" y="516"/>
                  </a:moveTo>
                  <a:lnTo>
                    <a:pt x="226" y="522"/>
                  </a:lnTo>
                  <a:lnTo>
                    <a:pt x="216" y="527"/>
                  </a:lnTo>
                  <a:lnTo>
                    <a:pt x="214" y="520"/>
                  </a:lnTo>
                  <a:lnTo>
                    <a:pt x="224" y="516"/>
                  </a:lnTo>
                  <a:close/>
                  <a:moveTo>
                    <a:pt x="214" y="492"/>
                  </a:moveTo>
                  <a:lnTo>
                    <a:pt x="216" y="499"/>
                  </a:lnTo>
                  <a:lnTo>
                    <a:pt x="207" y="503"/>
                  </a:lnTo>
                  <a:lnTo>
                    <a:pt x="205" y="497"/>
                  </a:lnTo>
                  <a:lnTo>
                    <a:pt x="214" y="492"/>
                  </a:lnTo>
                  <a:close/>
                  <a:moveTo>
                    <a:pt x="205" y="470"/>
                  </a:moveTo>
                  <a:lnTo>
                    <a:pt x="207" y="475"/>
                  </a:lnTo>
                  <a:lnTo>
                    <a:pt x="197" y="479"/>
                  </a:lnTo>
                  <a:lnTo>
                    <a:pt x="195" y="474"/>
                  </a:lnTo>
                  <a:lnTo>
                    <a:pt x="205" y="470"/>
                  </a:lnTo>
                  <a:close/>
                  <a:moveTo>
                    <a:pt x="195" y="446"/>
                  </a:moveTo>
                  <a:lnTo>
                    <a:pt x="197" y="451"/>
                  </a:lnTo>
                  <a:lnTo>
                    <a:pt x="187" y="456"/>
                  </a:lnTo>
                  <a:lnTo>
                    <a:pt x="185" y="450"/>
                  </a:lnTo>
                  <a:lnTo>
                    <a:pt x="195" y="446"/>
                  </a:lnTo>
                  <a:close/>
                  <a:moveTo>
                    <a:pt x="185" y="422"/>
                  </a:moveTo>
                  <a:lnTo>
                    <a:pt x="187" y="428"/>
                  </a:lnTo>
                  <a:lnTo>
                    <a:pt x="178" y="432"/>
                  </a:lnTo>
                  <a:lnTo>
                    <a:pt x="176" y="427"/>
                  </a:lnTo>
                  <a:lnTo>
                    <a:pt x="185" y="422"/>
                  </a:lnTo>
                  <a:close/>
                  <a:moveTo>
                    <a:pt x="176" y="399"/>
                  </a:moveTo>
                  <a:lnTo>
                    <a:pt x="178" y="405"/>
                  </a:lnTo>
                  <a:lnTo>
                    <a:pt x="168" y="409"/>
                  </a:lnTo>
                  <a:lnTo>
                    <a:pt x="166" y="403"/>
                  </a:lnTo>
                  <a:lnTo>
                    <a:pt x="176" y="399"/>
                  </a:lnTo>
                  <a:close/>
                  <a:moveTo>
                    <a:pt x="166" y="375"/>
                  </a:moveTo>
                  <a:lnTo>
                    <a:pt x="168" y="381"/>
                  </a:lnTo>
                  <a:lnTo>
                    <a:pt x="158" y="386"/>
                  </a:lnTo>
                  <a:lnTo>
                    <a:pt x="156" y="379"/>
                  </a:lnTo>
                  <a:lnTo>
                    <a:pt x="166" y="375"/>
                  </a:lnTo>
                  <a:close/>
                  <a:moveTo>
                    <a:pt x="156" y="352"/>
                  </a:moveTo>
                  <a:lnTo>
                    <a:pt x="158" y="358"/>
                  </a:lnTo>
                  <a:lnTo>
                    <a:pt x="149" y="362"/>
                  </a:lnTo>
                  <a:lnTo>
                    <a:pt x="147" y="357"/>
                  </a:lnTo>
                  <a:lnTo>
                    <a:pt x="156" y="352"/>
                  </a:lnTo>
                  <a:close/>
                  <a:moveTo>
                    <a:pt x="147" y="329"/>
                  </a:moveTo>
                  <a:lnTo>
                    <a:pt x="149" y="334"/>
                  </a:lnTo>
                  <a:lnTo>
                    <a:pt x="139" y="338"/>
                  </a:lnTo>
                  <a:lnTo>
                    <a:pt x="137" y="333"/>
                  </a:lnTo>
                  <a:lnTo>
                    <a:pt x="147" y="329"/>
                  </a:lnTo>
                  <a:close/>
                  <a:moveTo>
                    <a:pt x="137" y="305"/>
                  </a:moveTo>
                  <a:lnTo>
                    <a:pt x="139" y="311"/>
                  </a:lnTo>
                  <a:lnTo>
                    <a:pt x="129" y="316"/>
                  </a:lnTo>
                  <a:lnTo>
                    <a:pt x="127" y="309"/>
                  </a:lnTo>
                  <a:lnTo>
                    <a:pt x="137" y="305"/>
                  </a:lnTo>
                  <a:close/>
                  <a:moveTo>
                    <a:pt x="127" y="281"/>
                  </a:moveTo>
                  <a:lnTo>
                    <a:pt x="129" y="288"/>
                  </a:lnTo>
                  <a:lnTo>
                    <a:pt x="120" y="292"/>
                  </a:lnTo>
                  <a:lnTo>
                    <a:pt x="118" y="285"/>
                  </a:lnTo>
                  <a:lnTo>
                    <a:pt x="127" y="281"/>
                  </a:lnTo>
                  <a:close/>
                  <a:moveTo>
                    <a:pt x="118" y="258"/>
                  </a:moveTo>
                  <a:lnTo>
                    <a:pt x="120" y="264"/>
                  </a:lnTo>
                  <a:lnTo>
                    <a:pt x="110" y="268"/>
                  </a:lnTo>
                  <a:lnTo>
                    <a:pt x="108" y="263"/>
                  </a:lnTo>
                  <a:lnTo>
                    <a:pt x="118" y="258"/>
                  </a:lnTo>
                  <a:close/>
                  <a:moveTo>
                    <a:pt x="107" y="235"/>
                  </a:moveTo>
                  <a:lnTo>
                    <a:pt x="110" y="240"/>
                  </a:lnTo>
                  <a:lnTo>
                    <a:pt x="100" y="244"/>
                  </a:lnTo>
                  <a:lnTo>
                    <a:pt x="97" y="239"/>
                  </a:lnTo>
                  <a:lnTo>
                    <a:pt x="107" y="235"/>
                  </a:lnTo>
                  <a:close/>
                  <a:moveTo>
                    <a:pt x="97" y="211"/>
                  </a:moveTo>
                  <a:lnTo>
                    <a:pt x="100" y="218"/>
                  </a:lnTo>
                  <a:lnTo>
                    <a:pt x="91" y="222"/>
                  </a:lnTo>
                  <a:lnTo>
                    <a:pt x="87" y="215"/>
                  </a:lnTo>
                  <a:lnTo>
                    <a:pt x="97" y="211"/>
                  </a:lnTo>
                  <a:close/>
                  <a:moveTo>
                    <a:pt x="87" y="187"/>
                  </a:moveTo>
                  <a:lnTo>
                    <a:pt x="91" y="194"/>
                  </a:lnTo>
                  <a:lnTo>
                    <a:pt x="81" y="198"/>
                  </a:lnTo>
                  <a:lnTo>
                    <a:pt x="78" y="192"/>
                  </a:lnTo>
                  <a:lnTo>
                    <a:pt x="87" y="187"/>
                  </a:lnTo>
                  <a:close/>
                  <a:moveTo>
                    <a:pt x="78" y="165"/>
                  </a:moveTo>
                  <a:lnTo>
                    <a:pt x="81" y="170"/>
                  </a:lnTo>
                  <a:lnTo>
                    <a:pt x="71" y="174"/>
                  </a:lnTo>
                  <a:lnTo>
                    <a:pt x="68" y="169"/>
                  </a:lnTo>
                  <a:lnTo>
                    <a:pt x="78" y="165"/>
                  </a:lnTo>
                  <a:close/>
                  <a:moveTo>
                    <a:pt x="68" y="141"/>
                  </a:moveTo>
                  <a:lnTo>
                    <a:pt x="71" y="146"/>
                  </a:lnTo>
                  <a:lnTo>
                    <a:pt x="62" y="151"/>
                  </a:lnTo>
                  <a:lnTo>
                    <a:pt x="58" y="145"/>
                  </a:lnTo>
                  <a:lnTo>
                    <a:pt x="68" y="141"/>
                  </a:lnTo>
                  <a:close/>
                  <a:moveTo>
                    <a:pt x="58" y="117"/>
                  </a:moveTo>
                  <a:lnTo>
                    <a:pt x="62" y="123"/>
                  </a:lnTo>
                  <a:lnTo>
                    <a:pt x="52" y="127"/>
                  </a:lnTo>
                  <a:lnTo>
                    <a:pt x="49" y="122"/>
                  </a:lnTo>
                  <a:lnTo>
                    <a:pt x="58" y="117"/>
                  </a:lnTo>
                  <a:close/>
                  <a:moveTo>
                    <a:pt x="49" y="94"/>
                  </a:moveTo>
                  <a:lnTo>
                    <a:pt x="52" y="100"/>
                  </a:lnTo>
                  <a:lnTo>
                    <a:pt x="42" y="104"/>
                  </a:lnTo>
                  <a:lnTo>
                    <a:pt x="39" y="98"/>
                  </a:lnTo>
                  <a:lnTo>
                    <a:pt x="49" y="94"/>
                  </a:lnTo>
                  <a:close/>
                  <a:moveTo>
                    <a:pt x="39" y="70"/>
                  </a:moveTo>
                  <a:lnTo>
                    <a:pt x="42" y="76"/>
                  </a:lnTo>
                  <a:lnTo>
                    <a:pt x="33" y="81"/>
                  </a:lnTo>
                  <a:lnTo>
                    <a:pt x="29" y="74"/>
                  </a:lnTo>
                  <a:lnTo>
                    <a:pt x="39" y="70"/>
                  </a:lnTo>
                  <a:close/>
                  <a:moveTo>
                    <a:pt x="29" y="47"/>
                  </a:moveTo>
                  <a:lnTo>
                    <a:pt x="31" y="53"/>
                  </a:lnTo>
                  <a:lnTo>
                    <a:pt x="22" y="57"/>
                  </a:lnTo>
                  <a:lnTo>
                    <a:pt x="20" y="52"/>
                  </a:lnTo>
                  <a:lnTo>
                    <a:pt x="29" y="47"/>
                  </a:lnTo>
                  <a:close/>
                  <a:moveTo>
                    <a:pt x="20" y="24"/>
                  </a:moveTo>
                  <a:lnTo>
                    <a:pt x="22" y="29"/>
                  </a:lnTo>
                  <a:lnTo>
                    <a:pt x="12" y="33"/>
                  </a:lnTo>
                  <a:lnTo>
                    <a:pt x="10" y="28"/>
                  </a:lnTo>
                  <a:lnTo>
                    <a:pt x="20" y="24"/>
                  </a:lnTo>
                  <a:close/>
                  <a:moveTo>
                    <a:pt x="10" y="0"/>
                  </a:moveTo>
                  <a:lnTo>
                    <a:pt x="12" y="6"/>
                  </a:lnTo>
                  <a:lnTo>
                    <a:pt x="2" y="11"/>
                  </a:lnTo>
                  <a:lnTo>
                    <a:pt x="0" y="4"/>
                  </a:lnTo>
                  <a:lnTo>
                    <a:pt x="10" y="0"/>
                  </a:lnTo>
                  <a:close/>
                </a:path>
              </a:pathLst>
            </a:custGeom>
            <a:solidFill>
              <a:srgbClr val="35977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077" name="Rectangle 469"/>
            <p:cNvSpPr>
              <a:spLocks noChangeArrowheads="1"/>
            </p:cNvSpPr>
            <p:nvPr/>
          </p:nvSpPr>
          <p:spPr bwMode="auto">
            <a:xfrm>
              <a:off x="1896" y="1949"/>
              <a:ext cx="10" cy="3"/>
            </a:xfrm>
            <a:prstGeom prst="rect">
              <a:avLst/>
            </a:prstGeom>
            <a:solidFill>
              <a:srgbClr val="35977F"/>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eaLnBrk="1" hangingPunct="1"/>
              <a:endParaRPr lang="es-ES" altLang="es-CL" dirty="0">
                <a:solidFill>
                  <a:srgbClr val="333333"/>
                </a:solidFill>
                <a:latin typeface="Arial" pitchFamily="34" charset="0"/>
              </a:endParaRPr>
            </a:p>
          </p:txBody>
        </p:sp>
        <p:sp>
          <p:nvSpPr>
            <p:cNvPr id="2078" name="Freeform 470"/>
            <p:cNvSpPr>
              <a:spLocks/>
            </p:cNvSpPr>
            <p:nvPr/>
          </p:nvSpPr>
          <p:spPr bwMode="auto">
            <a:xfrm>
              <a:off x="1275" y="1512"/>
              <a:ext cx="174" cy="175"/>
            </a:xfrm>
            <a:custGeom>
              <a:avLst/>
              <a:gdLst>
                <a:gd name="T0" fmla="*/ 87 w 174"/>
                <a:gd name="T1" fmla="*/ 0 h 175"/>
                <a:gd name="T2" fmla="*/ 110 w 174"/>
                <a:gd name="T3" fmla="*/ 4 h 175"/>
                <a:gd name="T4" fmla="*/ 131 w 174"/>
                <a:gd name="T5" fmla="*/ 12 h 175"/>
                <a:gd name="T6" fmla="*/ 149 w 174"/>
                <a:gd name="T7" fmla="*/ 26 h 175"/>
                <a:gd name="T8" fmla="*/ 163 w 174"/>
                <a:gd name="T9" fmla="*/ 43 h 175"/>
                <a:gd name="T10" fmla="*/ 171 w 174"/>
                <a:gd name="T11" fmla="*/ 65 h 175"/>
                <a:gd name="T12" fmla="*/ 174 w 174"/>
                <a:gd name="T13" fmla="*/ 88 h 175"/>
                <a:gd name="T14" fmla="*/ 171 w 174"/>
                <a:gd name="T15" fmla="*/ 110 h 175"/>
                <a:gd name="T16" fmla="*/ 163 w 174"/>
                <a:gd name="T17" fmla="*/ 131 h 175"/>
                <a:gd name="T18" fmla="*/ 149 w 174"/>
                <a:gd name="T19" fmla="*/ 149 h 175"/>
                <a:gd name="T20" fmla="*/ 131 w 174"/>
                <a:gd name="T21" fmla="*/ 163 h 175"/>
                <a:gd name="T22" fmla="*/ 110 w 174"/>
                <a:gd name="T23" fmla="*/ 172 h 175"/>
                <a:gd name="T24" fmla="*/ 87 w 174"/>
                <a:gd name="T25" fmla="*/ 175 h 175"/>
                <a:gd name="T26" fmla="*/ 64 w 174"/>
                <a:gd name="T27" fmla="*/ 172 h 175"/>
                <a:gd name="T28" fmla="*/ 42 w 174"/>
                <a:gd name="T29" fmla="*/ 163 h 175"/>
                <a:gd name="T30" fmla="*/ 25 w 174"/>
                <a:gd name="T31" fmla="*/ 149 h 175"/>
                <a:gd name="T32" fmla="*/ 12 w 174"/>
                <a:gd name="T33" fmla="*/ 131 h 175"/>
                <a:gd name="T34" fmla="*/ 3 w 174"/>
                <a:gd name="T35" fmla="*/ 110 h 175"/>
                <a:gd name="T36" fmla="*/ 0 w 174"/>
                <a:gd name="T37" fmla="*/ 88 h 175"/>
                <a:gd name="T38" fmla="*/ 3 w 174"/>
                <a:gd name="T39" fmla="*/ 65 h 175"/>
                <a:gd name="T40" fmla="*/ 12 w 174"/>
                <a:gd name="T41" fmla="*/ 43 h 175"/>
                <a:gd name="T42" fmla="*/ 25 w 174"/>
                <a:gd name="T43" fmla="*/ 26 h 175"/>
                <a:gd name="T44" fmla="*/ 42 w 174"/>
                <a:gd name="T45" fmla="*/ 12 h 175"/>
                <a:gd name="T46" fmla="*/ 64 w 174"/>
                <a:gd name="T47" fmla="*/ 4 h 175"/>
                <a:gd name="T48" fmla="*/ 87 w 174"/>
                <a:gd name="T49" fmla="*/ 0 h 17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74" h="175">
                  <a:moveTo>
                    <a:pt x="87" y="0"/>
                  </a:moveTo>
                  <a:lnTo>
                    <a:pt x="110" y="4"/>
                  </a:lnTo>
                  <a:lnTo>
                    <a:pt x="131" y="12"/>
                  </a:lnTo>
                  <a:lnTo>
                    <a:pt x="149" y="26"/>
                  </a:lnTo>
                  <a:lnTo>
                    <a:pt x="163" y="43"/>
                  </a:lnTo>
                  <a:lnTo>
                    <a:pt x="171" y="65"/>
                  </a:lnTo>
                  <a:lnTo>
                    <a:pt x="174" y="88"/>
                  </a:lnTo>
                  <a:lnTo>
                    <a:pt x="171" y="110"/>
                  </a:lnTo>
                  <a:lnTo>
                    <a:pt x="163" y="131"/>
                  </a:lnTo>
                  <a:lnTo>
                    <a:pt x="149" y="149"/>
                  </a:lnTo>
                  <a:lnTo>
                    <a:pt x="131" y="163"/>
                  </a:lnTo>
                  <a:lnTo>
                    <a:pt x="110" y="172"/>
                  </a:lnTo>
                  <a:lnTo>
                    <a:pt x="87" y="175"/>
                  </a:lnTo>
                  <a:lnTo>
                    <a:pt x="64" y="172"/>
                  </a:lnTo>
                  <a:lnTo>
                    <a:pt x="42" y="163"/>
                  </a:lnTo>
                  <a:lnTo>
                    <a:pt x="25" y="149"/>
                  </a:lnTo>
                  <a:lnTo>
                    <a:pt x="12" y="131"/>
                  </a:lnTo>
                  <a:lnTo>
                    <a:pt x="3" y="110"/>
                  </a:lnTo>
                  <a:lnTo>
                    <a:pt x="0" y="88"/>
                  </a:lnTo>
                  <a:lnTo>
                    <a:pt x="3" y="65"/>
                  </a:lnTo>
                  <a:lnTo>
                    <a:pt x="12" y="43"/>
                  </a:lnTo>
                  <a:lnTo>
                    <a:pt x="25" y="26"/>
                  </a:lnTo>
                  <a:lnTo>
                    <a:pt x="42" y="12"/>
                  </a:lnTo>
                  <a:lnTo>
                    <a:pt x="64" y="4"/>
                  </a:lnTo>
                  <a:lnTo>
                    <a:pt x="87" y="0"/>
                  </a:lnTo>
                  <a:close/>
                </a:path>
              </a:pathLst>
            </a:custGeom>
            <a:solidFill>
              <a:srgbClr val="29426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079" name="Freeform 471"/>
            <p:cNvSpPr>
              <a:spLocks noEditPoints="1"/>
            </p:cNvSpPr>
            <p:nvPr/>
          </p:nvSpPr>
          <p:spPr bwMode="auto">
            <a:xfrm>
              <a:off x="1270" y="1506"/>
              <a:ext cx="186" cy="185"/>
            </a:xfrm>
            <a:custGeom>
              <a:avLst/>
              <a:gdLst>
                <a:gd name="T0" fmla="*/ 92 w 186"/>
                <a:gd name="T1" fmla="*/ 11 h 185"/>
                <a:gd name="T2" fmla="*/ 76 w 186"/>
                <a:gd name="T3" fmla="*/ 13 h 185"/>
                <a:gd name="T4" fmla="*/ 61 w 186"/>
                <a:gd name="T5" fmla="*/ 17 h 185"/>
                <a:gd name="T6" fmla="*/ 47 w 186"/>
                <a:gd name="T7" fmla="*/ 25 h 185"/>
                <a:gd name="T8" fmla="*/ 35 w 186"/>
                <a:gd name="T9" fmla="*/ 34 h 185"/>
                <a:gd name="T10" fmla="*/ 25 w 186"/>
                <a:gd name="T11" fmla="*/ 46 h 185"/>
                <a:gd name="T12" fmla="*/ 17 w 186"/>
                <a:gd name="T13" fmla="*/ 60 h 185"/>
                <a:gd name="T14" fmla="*/ 13 w 186"/>
                <a:gd name="T15" fmla="*/ 75 h 185"/>
                <a:gd name="T16" fmla="*/ 12 w 186"/>
                <a:gd name="T17" fmla="*/ 91 h 185"/>
                <a:gd name="T18" fmla="*/ 14 w 186"/>
                <a:gd name="T19" fmla="*/ 113 h 185"/>
                <a:gd name="T20" fmla="*/ 21 w 186"/>
                <a:gd name="T21" fmla="*/ 133 h 185"/>
                <a:gd name="T22" fmla="*/ 35 w 186"/>
                <a:gd name="T23" fmla="*/ 151 h 185"/>
                <a:gd name="T24" fmla="*/ 47 w 186"/>
                <a:gd name="T25" fmla="*/ 161 h 185"/>
                <a:gd name="T26" fmla="*/ 61 w 186"/>
                <a:gd name="T27" fmla="*/ 169 h 185"/>
                <a:gd name="T28" fmla="*/ 76 w 186"/>
                <a:gd name="T29" fmla="*/ 173 h 185"/>
                <a:gd name="T30" fmla="*/ 92 w 186"/>
                <a:gd name="T31" fmla="*/ 174 h 185"/>
                <a:gd name="T32" fmla="*/ 114 w 186"/>
                <a:gd name="T33" fmla="*/ 172 h 185"/>
                <a:gd name="T34" fmla="*/ 133 w 186"/>
                <a:gd name="T35" fmla="*/ 164 h 185"/>
                <a:gd name="T36" fmla="*/ 150 w 186"/>
                <a:gd name="T37" fmla="*/ 151 h 185"/>
                <a:gd name="T38" fmla="*/ 164 w 186"/>
                <a:gd name="T39" fmla="*/ 133 h 185"/>
                <a:gd name="T40" fmla="*/ 172 w 186"/>
                <a:gd name="T41" fmla="*/ 113 h 185"/>
                <a:gd name="T42" fmla="*/ 175 w 186"/>
                <a:gd name="T43" fmla="*/ 91 h 185"/>
                <a:gd name="T44" fmla="*/ 173 w 186"/>
                <a:gd name="T45" fmla="*/ 75 h 185"/>
                <a:gd name="T46" fmla="*/ 169 w 186"/>
                <a:gd name="T47" fmla="*/ 60 h 185"/>
                <a:gd name="T48" fmla="*/ 161 w 186"/>
                <a:gd name="T49" fmla="*/ 46 h 185"/>
                <a:gd name="T50" fmla="*/ 150 w 186"/>
                <a:gd name="T51" fmla="*/ 34 h 185"/>
                <a:gd name="T52" fmla="*/ 133 w 186"/>
                <a:gd name="T53" fmla="*/ 21 h 185"/>
                <a:gd name="T54" fmla="*/ 114 w 186"/>
                <a:gd name="T55" fmla="*/ 14 h 185"/>
                <a:gd name="T56" fmla="*/ 92 w 186"/>
                <a:gd name="T57" fmla="*/ 11 h 185"/>
                <a:gd name="T58" fmla="*/ 92 w 186"/>
                <a:gd name="T59" fmla="*/ 0 h 185"/>
                <a:gd name="T60" fmla="*/ 111 w 186"/>
                <a:gd name="T61" fmla="*/ 2 h 185"/>
                <a:gd name="T62" fmla="*/ 128 w 186"/>
                <a:gd name="T63" fmla="*/ 6 h 185"/>
                <a:gd name="T64" fmla="*/ 145 w 186"/>
                <a:gd name="T65" fmla="*/ 15 h 185"/>
                <a:gd name="T66" fmla="*/ 159 w 186"/>
                <a:gd name="T67" fmla="*/ 27 h 185"/>
                <a:gd name="T68" fmla="*/ 171 w 186"/>
                <a:gd name="T69" fmla="*/ 41 h 185"/>
                <a:gd name="T70" fmla="*/ 178 w 186"/>
                <a:gd name="T71" fmla="*/ 57 h 185"/>
                <a:gd name="T72" fmla="*/ 184 w 186"/>
                <a:gd name="T73" fmla="*/ 74 h 185"/>
                <a:gd name="T74" fmla="*/ 186 w 186"/>
                <a:gd name="T75" fmla="*/ 91 h 185"/>
                <a:gd name="T76" fmla="*/ 184 w 186"/>
                <a:gd name="T77" fmla="*/ 111 h 185"/>
                <a:gd name="T78" fmla="*/ 178 w 186"/>
                <a:gd name="T79" fmla="*/ 128 h 185"/>
                <a:gd name="T80" fmla="*/ 171 w 186"/>
                <a:gd name="T81" fmla="*/ 144 h 185"/>
                <a:gd name="T82" fmla="*/ 159 w 186"/>
                <a:gd name="T83" fmla="*/ 158 h 185"/>
                <a:gd name="T84" fmla="*/ 145 w 186"/>
                <a:gd name="T85" fmla="*/ 170 h 185"/>
                <a:gd name="T86" fmla="*/ 128 w 186"/>
                <a:gd name="T87" fmla="*/ 179 h 185"/>
                <a:gd name="T88" fmla="*/ 111 w 186"/>
                <a:gd name="T89" fmla="*/ 184 h 185"/>
                <a:gd name="T90" fmla="*/ 92 w 186"/>
                <a:gd name="T91" fmla="*/ 185 h 185"/>
                <a:gd name="T92" fmla="*/ 74 w 186"/>
                <a:gd name="T93" fmla="*/ 184 h 185"/>
                <a:gd name="T94" fmla="*/ 58 w 186"/>
                <a:gd name="T95" fmla="*/ 179 h 185"/>
                <a:gd name="T96" fmla="*/ 42 w 186"/>
                <a:gd name="T97" fmla="*/ 170 h 185"/>
                <a:gd name="T98" fmla="*/ 27 w 186"/>
                <a:gd name="T99" fmla="*/ 158 h 185"/>
                <a:gd name="T100" fmla="*/ 16 w 186"/>
                <a:gd name="T101" fmla="*/ 144 h 185"/>
                <a:gd name="T102" fmla="*/ 7 w 186"/>
                <a:gd name="T103" fmla="*/ 128 h 185"/>
                <a:gd name="T104" fmla="*/ 2 w 186"/>
                <a:gd name="T105" fmla="*/ 111 h 185"/>
                <a:gd name="T106" fmla="*/ 0 w 186"/>
                <a:gd name="T107" fmla="*/ 91 h 185"/>
                <a:gd name="T108" fmla="*/ 2 w 186"/>
                <a:gd name="T109" fmla="*/ 74 h 185"/>
                <a:gd name="T110" fmla="*/ 7 w 186"/>
                <a:gd name="T111" fmla="*/ 57 h 185"/>
                <a:gd name="T112" fmla="*/ 16 w 186"/>
                <a:gd name="T113" fmla="*/ 41 h 185"/>
                <a:gd name="T114" fmla="*/ 27 w 186"/>
                <a:gd name="T115" fmla="*/ 27 h 185"/>
                <a:gd name="T116" fmla="*/ 42 w 186"/>
                <a:gd name="T117" fmla="*/ 15 h 185"/>
                <a:gd name="T118" fmla="*/ 58 w 186"/>
                <a:gd name="T119" fmla="*/ 6 h 185"/>
                <a:gd name="T120" fmla="*/ 74 w 186"/>
                <a:gd name="T121" fmla="*/ 2 h 185"/>
                <a:gd name="T122" fmla="*/ 92 w 186"/>
                <a:gd name="T123" fmla="*/ 0 h 18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86" h="185">
                  <a:moveTo>
                    <a:pt x="92" y="11"/>
                  </a:moveTo>
                  <a:lnTo>
                    <a:pt x="76" y="13"/>
                  </a:lnTo>
                  <a:lnTo>
                    <a:pt x="61" y="17"/>
                  </a:lnTo>
                  <a:lnTo>
                    <a:pt x="47" y="25"/>
                  </a:lnTo>
                  <a:lnTo>
                    <a:pt x="35" y="34"/>
                  </a:lnTo>
                  <a:lnTo>
                    <a:pt x="25" y="46"/>
                  </a:lnTo>
                  <a:lnTo>
                    <a:pt x="17" y="60"/>
                  </a:lnTo>
                  <a:lnTo>
                    <a:pt x="13" y="75"/>
                  </a:lnTo>
                  <a:lnTo>
                    <a:pt x="12" y="91"/>
                  </a:lnTo>
                  <a:lnTo>
                    <a:pt x="14" y="113"/>
                  </a:lnTo>
                  <a:lnTo>
                    <a:pt x="21" y="133"/>
                  </a:lnTo>
                  <a:lnTo>
                    <a:pt x="35" y="151"/>
                  </a:lnTo>
                  <a:lnTo>
                    <a:pt x="47" y="161"/>
                  </a:lnTo>
                  <a:lnTo>
                    <a:pt x="61" y="169"/>
                  </a:lnTo>
                  <a:lnTo>
                    <a:pt x="76" y="173"/>
                  </a:lnTo>
                  <a:lnTo>
                    <a:pt x="92" y="174"/>
                  </a:lnTo>
                  <a:lnTo>
                    <a:pt x="114" y="172"/>
                  </a:lnTo>
                  <a:lnTo>
                    <a:pt x="133" y="164"/>
                  </a:lnTo>
                  <a:lnTo>
                    <a:pt x="150" y="151"/>
                  </a:lnTo>
                  <a:lnTo>
                    <a:pt x="164" y="133"/>
                  </a:lnTo>
                  <a:lnTo>
                    <a:pt x="172" y="113"/>
                  </a:lnTo>
                  <a:lnTo>
                    <a:pt x="175" y="91"/>
                  </a:lnTo>
                  <a:lnTo>
                    <a:pt x="173" y="75"/>
                  </a:lnTo>
                  <a:lnTo>
                    <a:pt x="169" y="60"/>
                  </a:lnTo>
                  <a:lnTo>
                    <a:pt x="161" y="46"/>
                  </a:lnTo>
                  <a:lnTo>
                    <a:pt x="150" y="34"/>
                  </a:lnTo>
                  <a:lnTo>
                    <a:pt x="133" y="21"/>
                  </a:lnTo>
                  <a:lnTo>
                    <a:pt x="114" y="14"/>
                  </a:lnTo>
                  <a:lnTo>
                    <a:pt x="92" y="11"/>
                  </a:lnTo>
                  <a:close/>
                  <a:moveTo>
                    <a:pt x="92" y="0"/>
                  </a:moveTo>
                  <a:lnTo>
                    <a:pt x="111" y="2"/>
                  </a:lnTo>
                  <a:lnTo>
                    <a:pt x="128" y="6"/>
                  </a:lnTo>
                  <a:lnTo>
                    <a:pt x="145" y="15"/>
                  </a:lnTo>
                  <a:lnTo>
                    <a:pt x="159" y="27"/>
                  </a:lnTo>
                  <a:lnTo>
                    <a:pt x="171" y="41"/>
                  </a:lnTo>
                  <a:lnTo>
                    <a:pt x="178" y="57"/>
                  </a:lnTo>
                  <a:lnTo>
                    <a:pt x="184" y="74"/>
                  </a:lnTo>
                  <a:lnTo>
                    <a:pt x="186" y="91"/>
                  </a:lnTo>
                  <a:lnTo>
                    <a:pt x="184" y="111"/>
                  </a:lnTo>
                  <a:lnTo>
                    <a:pt x="178" y="128"/>
                  </a:lnTo>
                  <a:lnTo>
                    <a:pt x="171" y="144"/>
                  </a:lnTo>
                  <a:lnTo>
                    <a:pt x="159" y="158"/>
                  </a:lnTo>
                  <a:lnTo>
                    <a:pt x="145" y="170"/>
                  </a:lnTo>
                  <a:lnTo>
                    <a:pt x="128" y="179"/>
                  </a:lnTo>
                  <a:lnTo>
                    <a:pt x="111" y="184"/>
                  </a:lnTo>
                  <a:lnTo>
                    <a:pt x="92" y="185"/>
                  </a:lnTo>
                  <a:lnTo>
                    <a:pt x="74" y="184"/>
                  </a:lnTo>
                  <a:lnTo>
                    <a:pt x="58" y="179"/>
                  </a:lnTo>
                  <a:lnTo>
                    <a:pt x="42" y="170"/>
                  </a:lnTo>
                  <a:lnTo>
                    <a:pt x="27" y="158"/>
                  </a:lnTo>
                  <a:lnTo>
                    <a:pt x="16" y="144"/>
                  </a:lnTo>
                  <a:lnTo>
                    <a:pt x="7" y="128"/>
                  </a:lnTo>
                  <a:lnTo>
                    <a:pt x="2" y="111"/>
                  </a:lnTo>
                  <a:lnTo>
                    <a:pt x="0" y="91"/>
                  </a:lnTo>
                  <a:lnTo>
                    <a:pt x="2" y="74"/>
                  </a:lnTo>
                  <a:lnTo>
                    <a:pt x="7" y="57"/>
                  </a:lnTo>
                  <a:lnTo>
                    <a:pt x="16" y="41"/>
                  </a:lnTo>
                  <a:lnTo>
                    <a:pt x="27" y="27"/>
                  </a:lnTo>
                  <a:lnTo>
                    <a:pt x="42" y="15"/>
                  </a:lnTo>
                  <a:lnTo>
                    <a:pt x="58" y="6"/>
                  </a:lnTo>
                  <a:lnTo>
                    <a:pt x="74" y="2"/>
                  </a:lnTo>
                  <a:lnTo>
                    <a:pt x="92" y="0"/>
                  </a:lnTo>
                  <a:close/>
                </a:path>
              </a:pathLst>
            </a:custGeom>
            <a:solidFill>
              <a:srgbClr val="74606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080" name="Freeform 472"/>
            <p:cNvSpPr>
              <a:spLocks/>
            </p:cNvSpPr>
            <p:nvPr/>
          </p:nvSpPr>
          <p:spPr bwMode="auto">
            <a:xfrm>
              <a:off x="1310" y="1564"/>
              <a:ext cx="34" cy="12"/>
            </a:xfrm>
            <a:custGeom>
              <a:avLst/>
              <a:gdLst>
                <a:gd name="T0" fmla="*/ 15 w 34"/>
                <a:gd name="T1" fmla="*/ 0 h 12"/>
                <a:gd name="T2" fmla="*/ 32 w 34"/>
                <a:gd name="T3" fmla="*/ 0 h 12"/>
                <a:gd name="T4" fmla="*/ 33 w 34"/>
                <a:gd name="T5" fmla="*/ 1 h 12"/>
                <a:gd name="T6" fmla="*/ 34 w 34"/>
                <a:gd name="T7" fmla="*/ 1 h 12"/>
                <a:gd name="T8" fmla="*/ 34 w 34"/>
                <a:gd name="T9" fmla="*/ 2 h 12"/>
                <a:gd name="T10" fmla="*/ 33 w 34"/>
                <a:gd name="T11" fmla="*/ 3 h 12"/>
                <a:gd name="T12" fmla="*/ 33 w 34"/>
                <a:gd name="T13" fmla="*/ 5 h 12"/>
                <a:gd name="T14" fmla="*/ 33 w 34"/>
                <a:gd name="T15" fmla="*/ 7 h 12"/>
                <a:gd name="T16" fmla="*/ 32 w 34"/>
                <a:gd name="T17" fmla="*/ 7 h 12"/>
                <a:gd name="T18" fmla="*/ 16 w 34"/>
                <a:gd name="T19" fmla="*/ 5 h 12"/>
                <a:gd name="T20" fmla="*/ 3 w 34"/>
                <a:gd name="T21" fmla="*/ 12 h 12"/>
                <a:gd name="T22" fmla="*/ 0 w 34"/>
                <a:gd name="T23" fmla="*/ 12 h 12"/>
                <a:gd name="T24" fmla="*/ 0 w 34"/>
                <a:gd name="T25" fmla="*/ 10 h 12"/>
                <a:gd name="T26" fmla="*/ 0 w 34"/>
                <a:gd name="T27" fmla="*/ 9 h 12"/>
                <a:gd name="T28" fmla="*/ 0 w 34"/>
                <a:gd name="T29" fmla="*/ 7 h 12"/>
                <a:gd name="T30" fmla="*/ 15 w 34"/>
                <a:gd name="T31" fmla="*/ 0 h 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4" h="12">
                  <a:moveTo>
                    <a:pt x="15" y="0"/>
                  </a:moveTo>
                  <a:lnTo>
                    <a:pt x="32" y="0"/>
                  </a:lnTo>
                  <a:lnTo>
                    <a:pt x="33" y="1"/>
                  </a:lnTo>
                  <a:lnTo>
                    <a:pt x="34" y="1"/>
                  </a:lnTo>
                  <a:lnTo>
                    <a:pt x="34" y="2"/>
                  </a:lnTo>
                  <a:lnTo>
                    <a:pt x="33" y="3"/>
                  </a:lnTo>
                  <a:lnTo>
                    <a:pt x="33" y="5"/>
                  </a:lnTo>
                  <a:lnTo>
                    <a:pt x="33" y="7"/>
                  </a:lnTo>
                  <a:lnTo>
                    <a:pt x="32" y="7"/>
                  </a:lnTo>
                  <a:lnTo>
                    <a:pt x="16" y="5"/>
                  </a:lnTo>
                  <a:lnTo>
                    <a:pt x="3" y="12"/>
                  </a:lnTo>
                  <a:lnTo>
                    <a:pt x="0" y="12"/>
                  </a:lnTo>
                  <a:lnTo>
                    <a:pt x="0" y="10"/>
                  </a:lnTo>
                  <a:lnTo>
                    <a:pt x="0" y="9"/>
                  </a:lnTo>
                  <a:lnTo>
                    <a:pt x="0" y="7"/>
                  </a:lnTo>
                  <a:lnTo>
                    <a:pt x="15" y="0"/>
                  </a:lnTo>
                  <a:close/>
                </a:path>
              </a:pathLst>
            </a:custGeom>
            <a:solidFill>
              <a:srgbClr val="74606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081" name="Freeform 473"/>
            <p:cNvSpPr>
              <a:spLocks/>
            </p:cNvSpPr>
            <p:nvPr/>
          </p:nvSpPr>
          <p:spPr bwMode="auto">
            <a:xfrm>
              <a:off x="1305" y="1579"/>
              <a:ext cx="20" cy="35"/>
            </a:xfrm>
            <a:custGeom>
              <a:avLst/>
              <a:gdLst>
                <a:gd name="T0" fmla="*/ 10 w 20"/>
                <a:gd name="T1" fmla="*/ 0 h 35"/>
                <a:gd name="T2" fmla="*/ 10 w 20"/>
                <a:gd name="T3" fmla="*/ 0 h 35"/>
                <a:gd name="T4" fmla="*/ 10 w 20"/>
                <a:gd name="T5" fmla="*/ 1 h 35"/>
                <a:gd name="T6" fmla="*/ 11 w 20"/>
                <a:gd name="T7" fmla="*/ 4 h 35"/>
                <a:gd name="T8" fmla="*/ 12 w 20"/>
                <a:gd name="T9" fmla="*/ 7 h 35"/>
                <a:gd name="T10" fmla="*/ 14 w 20"/>
                <a:gd name="T11" fmla="*/ 10 h 35"/>
                <a:gd name="T12" fmla="*/ 16 w 20"/>
                <a:gd name="T13" fmla="*/ 14 h 35"/>
                <a:gd name="T14" fmla="*/ 19 w 20"/>
                <a:gd name="T15" fmla="*/ 17 h 35"/>
                <a:gd name="T16" fmla="*/ 19 w 20"/>
                <a:gd name="T17" fmla="*/ 21 h 35"/>
                <a:gd name="T18" fmla="*/ 20 w 20"/>
                <a:gd name="T19" fmla="*/ 22 h 35"/>
                <a:gd name="T20" fmla="*/ 20 w 20"/>
                <a:gd name="T21" fmla="*/ 24 h 35"/>
                <a:gd name="T22" fmla="*/ 20 w 20"/>
                <a:gd name="T23" fmla="*/ 24 h 35"/>
                <a:gd name="T24" fmla="*/ 20 w 20"/>
                <a:gd name="T25" fmla="*/ 25 h 35"/>
                <a:gd name="T26" fmla="*/ 19 w 20"/>
                <a:gd name="T27" fmla="*/ 28 h 35"/>
                <a:gd name="T28" fmla="*/ 17 w 20"/>
                <a:gd name="T29" fmla="*/ 30 h 35"/>
                <a:gd name="T30" fmla="*/ 15 w 20"/>
                <a:gd name="T31" fmla="*/ 32 h 35"/>
                <a:gd name="T32" fmla="*/ 13 w 20"/>
                <a:gd name="T33" fmla="*/ 35 h 35"/>
                <a:gd name="T34" fmla="*/ 10 w 20"/>
                <a:gd name="T35" fmla="*/ 35 h 35"/>
                <a:gd name="T36" fmla="*/ 6 w 20"/>
                <a:gd name="T37" fmla="*/ 34 h 35"/>
                <a:gd name="T38" fmla="*/ 3 w 20"/>
                <a:gd name="T39" fmla="*/ 31 h 35"/>
                <a:gd name="T40" fmla="*/ 0 w 20"/>
                <a:gd name="T41" fmla="*/ 29 h 35"/>
                <a:gd name="T42" fmla="*/ 0 w 20"/>
                <a:gd name="T43" fmla="*/ 25 h 35"/>
                <a:gd name="T44" fmla="*/ 0 w 20"/>
                <a:gd name="T45" fmla="*/ 25 h 35"/>
                <a:gd name="T46" fmla="*/ 0 w 20"/>
                <a:gd name="T47" fmla="*/ 24 h 35"/>
                <a:gd name="T48" fmla="*/ 0 w 20"/>
                <a:gd name="T49" fmla="*/ 23 h 35"/>
                <a:gd name="T50" fmla="*/ 0 w 20"/>
                <a:gd name="T51" fmla="*/ 21 h 35"/>
                <a:gd name="T52" fmla="*/ 1 w 20"/>
                <a:gd name="T53" fmla="*/ 17 h 35"/>
                <a:gd name="T54" fmla="*/ 3 w 20"/>
                <a:gd name="T55" fmla="*/ 14 h 35"/>
                <a:gd name="T56" fmla="*/ 7 w 20"/>
                <a:gd name="T57" fmla="*/ 10 h 35"/>
                <a:gd name="T58" fmla="*/ 8 w 20"/>
                <a:gd name="T59" fmla="*/ 6 h 35"/>
                <a:gd name="T60" fmla="*/ 9 w 20"/>
                <a:gd name="T61" fmla="*/ 2 h 35"/>
                <a:gd name="T62" fmla="*/ 10 w 20"/>
                <a:gd name="T63" fmla="*/ 0 h 35"/>
                <a:gd name="T64" fmla="*/ 10 w 20"/>
                <a:gd name="T65" fmla="*/ 0 h 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0" h="35">
                  <a:moveTo>
                    <a:pt x="10" y="0"/>
                  </a:moveTo>
                  <a:lnTo>
                    <a:pt x="10" y="0"/>
                  </a:lnTo>
                  <a:lnTo>
                    <a:pt x="10" y="1"/>
                  </a:lnTo>
                  <a:lnTo>
                    <a:pt x="11" y="4"/>
                  </a:lnTo>
                  <a:lnTo>
                    <a:pt x="12" y="7"/>
                  </a:lnTo>
                  <a:lnTo>
                    <a:pt x="14" y="10"/>
                  </a:lnTo>
                  <a:lnTo>
                    <a:pt x="16" y="14"/>
                  </a:lnTo>
                  <a:lnTo>
                    <a:pt x="19" y="17"/>
                  </a:lnTo>
                  <a:lnTo>
                    <a:pt x="19" y="21"/>
                  </a:lnTo>
                  <a:lnTo>
                    <a:pt x="20" y="22"/>
                  </a:lnTo>
                  <a:lnTo>
                    <a:pt x="20" y="24"/>
                  </a:lnTo>
                  <a:lnTo>
                    <a:pt x="20" y="25"/>
                  </a:lnTo>
                  <a:lnTo>
                    <a:pt x="19" y="28"/>
                  </a:lnTo>
                  <a:lnTo>
                    <a:pt x="17" y="30"/>
                  </a:lnTo>
                  <a:lnTo>
                    <a:pt x="15" y="32"/>
                  </a:lnTo>
                  <a:lnTo>
                    <a:pt x="13" y="35"/>
                  </a:lnTo>
                  <a:lnTo>
                    <a:pt x="10" y="35"/>
                  </a:lnTo>
                  <a:lnTo>
                    <a:pt x="6" y="34"/>
                  </a:lnTo>
                  <a:lnTo>
                    <a:pt x="3" y="31"/>
                  </a:lnTo>
                  <a:lnTo>
                    <a:pt x="0" y="29"/>
                  </a:lnTo>
                  <a:lnTo>
                    <a:pt x="0" y="25"/>
                  </a:lnTo>
                  <a:lnTo>
                    <a:pt x="0" y="24"/>
                  </a:lnTo>
                  <a:lnTo>
                    <a:pt x="0" y="23"/>
                  </a:lnTo>
                  <a:lnTo>
                    <a:pt x="0" y="21"/>
                  </a:lnTo>
                  <a:lnTo>
                    <a:pt x="1" y="17"/>
                  </a:lnTo>
                  <a:lnTo>
                    <a:pt x="3" y="14"/>
                  </a:lnTo>
                  <a:lnTo>
                    <a:pt x="7" y="10"/>
                  </a:lnTo>
                  <a:lnTo>
                    <a:pt x="8" y="6"/>
                  </a:lnTo>
                  <a:lnTo>
                    <a:pt x="9" y="2"/>
                  </a:lnTo>
                  <a:lnTo>
                    <a:pt x="10" y="0"/>
                  </a:lnTo>
                  <a:close/>
                </a:path>
              </a:pathLst>
            </a:custGeom>
            <a:solidFill>
              <a:srgbClr val="74606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082" name="Freeform 474"/>
            <p:cNvSpPr>
              <a:spLocks/>
            </p:cNvSpPr>
            <p:nvPr/>
          </p:nvSpPr>
          <p:spPr bwMode="auto">
            <a:xfrm>
              <a:off x="1369" y="1579"/>
              <a:ext cx="23" cy="13"/>
            </a:xfrm>
            <a:custGeom>
              <a:avLst/>
              <a:gdLst>
                <a:gd name="T0" fmla="*/ 7 w 23"/>
                <a:gd name="T1" fmla="*/ 0 h 13"/>
                <a:gd name="T2" fmla="*/ 8 w 23"/>
                <a:gd name="T3" fmla="*/ 0 h 13"/>
                <a:gd name="T4" fmla="*/ 10 w 23"/>
                <a:gd name="T5" fmla="*/ 1 h 13"/>
                <a:gd name="T6" fmla="*/ 13 w 23"/>
                <a:gd name="T7" fmla="*/ 2 h 13"/>
                <a:gd name="T8" fmla="*/ 15 w 23"/>
                <a:gd name="T9" fmla="*/ 4 h 13"/>
                <a:gd name="T10" fmla="*/ 17 w 23"/>
                <a:gd name="T11" fmla="*/ 7 h 13"/>
                <a:gd name="T12" fmla="*/ 19 w 23"/>
                <a:gd name="T13" fmla="*/ 8 h 13"/>
                <a:gd name="T14" fmla="*/ 21 w 23"/>
                <a:gd name="T15" fmla="*/ 10 h 13"/>
                <a:gd name="T16" fmla="*/ 22 w 23"/>
                <a:gd name="T17" fmla="*/ 11 h 13"/>
                <a:gd name="T18" fmla="*/ 23 w 23"/>
                <a:gd name="T19" fmla="*/ 11 h 13"/>
                <a:gd name="T20" fmla="*/ 22 w 23"/>
                <a:gd name="T21" fmla="*/ 13 h 13"/>
                <a:gd name="T22" fmla="*/ 20 w 23"/>
                <a:gd name="T23" fmla="*/ 12 h 13"/>
                <a:gd name="T24" fmla="*/ 17 w 23"/>
                <a:gd name="T25" fmla="*/ 10 h 13"/>
                <a:gd name="T26" fmla="*/ 13 w 23"/>
                <a:gd name="T27" fmla="*/ 7 h 13"/>
                <a:gd name="T28" fmla="*/ 9 w 23"/>
                <a:gd name="T29" fmla="*/ 4 h 13"/>
                <a:gd name="T30" fmla="*/ 6 w 23"/>
                <a:gd name="T31" fmla="*/ 3 h 13"/>
                <a:gd name="T32" fmla="*/ 5 w 23"/>
                <a:gd name="T33" fmla="*/ 3 h 13"/>
                <a:gd name="T34" fmla="*/ 3 w 23"/>
                <a:gd name="T35" fmla="*/ 4 h 13"/>
                <a:gd name="T36" fmla="*/ 2 w 23"/>
                <a:gd name="T37" fmla="*/ 4 h 13"/>
                <a:gd name="T38" fmla="*/ 1 w 23"/>
                <a:gd name="T39" fmla="*/ 6 h 13"/>
                <a:gd name="T40" fmla="*/ 0 w 23"/>
                <a:gd name="T41" fmla="*/ 4 h 13"/>
                <a:gd name="T42" fmla="*/ 0 w 23"/>
                <a:gd name="T43" fmla="*/ 3 h 13"/>
                <a:gd name="T44" fmla="*/ 1 w 23"/>
                <a:gd name="T45" fmla="*/ 2 h 13"/>
                <a:gd name="T46" fmla="*/ 2 w 23"/>
                <a:gd name="T47" fmla="*/ 1 h 13"/>
                <a:gd name="T48" fmla="*/ 4 w 23"/>
                <a:gd name="T49" fmla="*/ 0 h 13"/>
                <a:gd name="T50" fmla="*/ 6 w 23"/>
                <a:gd name="T51" fmla="*/ 0 h 13"/>
                <a:gd name="T52" fmla="*/ 7 w 23"/>
                <a:gd name="T53" fmla="*/ 0 h 1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3" h="13">
                  <a:moveTo>
                    <a:pt x="7" y="0"/>
                  </a:moveTo>
                  <a:lnTo>
                    <a:pt x="8" y="0"/>
                  </a:lnTo>
                  <a:lnTo>
                    <a:pt x="10" y="1"/>
                  </a:lnTo>
                  <a:lnTo>
                    <a:pt x="13" y="2"/>
                  </a:lnTo>
                  <a:lnTo>
                    <a:pt x="15" y="4"/>
                  </a:lnTo>
                  <a:lnTo>
                    <a:pt x="17" y="7"/>
                  </a:lnTo>
                  <a:lnTo>
                    <a:pt x="19" y="8"/>
                  </a:lnTo>
                  <a:lnTo>
                    <a:pt x="21" y="10"/>
                  </a:lnTo>
                  <a:lnTo>
                    <a:pt x="22" y="11"/>
                  </a:lnTo>
                  <a:lnTo>
                    <a:pt x="23" y="11"/>
                  </a:lnTo>
                  <a:lnTo>
                    <a:pt x="22" y="13"/>
                  </a:lnTo>
                  <a:lnTo>
                    <a:pt x="20" y="12"/>
                  </a:lnTo>
                  <a:lnTo>
                    <a:pt x="17" y="10"/>
                  </a:lnTo>
                  <a:lnTo>
                    <a:pt x="13" y="7"/>
                  </a:lnTo>
                  <a:lnTo>
                    <a:pt x="9" y="4"/>
                  </a:lnTo>
                  <a:lnTo>
                    <a:pt x="6" y="3"/>
                  </a:lnTo>
                  <a:lnTo>
                    <a:pt x="5" y="3"/>
                  </a:lnTo>
                  <a:lnTo>
                    <a:pt x="3" y="4"/>
                  </a:lnTo>
                  <a:lnTo>
                    <a:pt x="2" y="4"/>
                  </a:lnTo>
                  <a:lnTo>
                    <a:pt x="1" y="6"/>
                  </a:lnTo>
                  <a:lnTo>
                    <a:pt x="0" y="4"/>
                  </a:lnTo>
                  <a:lnTo>
                    <a:pt x="0" y="3"/>
                  </a:lnTo>
                  <a:lnTo>
                    <a:pt x="1" y="2"/>
                  </a:lnTo>
                  <a:lnTo>
                    <a:pt x="2" y="1"/>
                  </a:lnTo>
                  <a:lnTo>
                    <a:pt x="4" y="0"/>
                  </a:lnTo>
                  <a:lnTo>
                    <a:pt x="6" y="0"/>
                  </a:lnTo>
                  <a:lnTo>
                    <a:pt x="7" y="0"/>
                  </a:lnTo>
                  <a:close/>
                </a:path>
              </a:pathLst>
            </a:custGeom>
            <a:solidFill>
              <a:srgbClr val="74606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083" name="Freeform 475"/>
            <p:cNvSpPr>
              <a:spLocks noEditPoints="1"/>
            </p:cNvSpPr>
            <p:nvPr/>
          </p:nvSpPr>
          <p:spPr bwMode="auto">
            <a:xfrm>
              <a:off x="1345" y="1553"/>
              <a:ext cx="64" cy="55"/>
            </a:xfrm>
            <a:custGeom>
              <a:avLst/>
              <a:gdLst>
                <a:gd name="T0" fmla="*/ 32 w 64"/>
                <a:gd name="T1" fmla="*/ 23 h 55"/>
                <a:gd name="T2" fmla="*/ 31 w 64"/>
                <a:gd name="T3" fmla="*/ 23 h 55"/>
                <a:gd name="T4" fmla="*/ 29 w 64"/>
                <a:gd name="T5" fmla="*/ 23 h 55"/>
                <a:gd name="T6" fmla="*/ 25 w 64"/>
                <a:gd name="T7" fmla="*/ 25 h 55"/>
                <a:gd name="T8" fmla="*/ 23 w 64"/>
                <a:gd name="T9" fmla="*/ 32 h 55"/>
                <a:gd name="T10" fmla="*/ 29 w 64"/>
                <a:gd name="T11" fmla="*/ 41 h 55"/>
                <a:gd name="T12" fmla="*/ 36 w 64"/>
                <a:gd name="T13" fmla="*/ 48 h 55"/>
                <a:gd name="T14" fmla="*/ 41 w 64"/>
                <a:gd name="T15" fmla="*/ 47 h 55"/>
                <a:gd name="T16" fmla="*/ 45 w 64"/>
                <a:gd name="T17" fmla="*/ 42 h 55"/>
                <a:gd name="T18" fmla="*/ 45 w 64"/>
                <a:gd name="T19" fmla="*/ 39 h 55"/>
                <a:gd name="T20" fmla="*/ 41 w 64"/>
                <a:gd name="T21" fmla="*/ 36 h 55"/>
                <a:gd name="T22" fmla="*/ 36 w 64"/>
                <a:gd name="T23" fmla="*/ 33 h 55"/>
                <a:gd name="T24" fmla="*/ 31 w 64"/>
                <a:gd name="T25" fmla="*/ 30 h 55"/>
                <a:gd name="T26" fmla="*/ 28 w 64"/>
                <a:gd name="T27" fmla="*/ 32 h 55"/>
                <a:gd name="T28" fmla="*/ 25 w 64"/>
                <a:gd name="T29" fmla="*/ 33 h 55"/>
                <a:gd name="T30" fmla="*/ 26 w 64"/>
                <a:gd name="T31" fmla="*/ 29 h 55"/>
                <a:gd name="T32" fmla="*/ 29 w 64"/>
                <a:gd name="T33" fmla="*/ 26 h 55"/>
                <a:gd name="T34" fmla="*/ 33 w 64"/>
                <a:gd name="T35" fmla="*/ 26 h 55"/>
                <a:gd name="T36" fmla="*/ 36 w 64"/>
                <a:gd name="T37" fmla="*/ 27 h 55"/>
                <a:gd name="T38" fmla="*/ 40 w 64"/>
                <a:gd name="T39" fmla="*/ 30 h 55"/>
                <a:gd name="T40" fmla="*/ 45 w 64"/>
                <a:gd name="T41" fmla="*/ 35 h 55"/>
                <a:gd name="T42" fmla="*/ 48 w 64"/>
                <a:gd name="T43" fmla="*/ 38 h 55"/>
                <a:gd name="T44" fmla="*/ 46 w 64"/>
                <a:gd name="T45" fmla="*/ 34 h 55"/>
                <a:gd name="T46" fmla="*/ 42 w 64"/>
                <a:gd name="T47" fmla="*/ 28 h 55"/>
                <a:gd name="T48" fmla="*/ 38 w 64"/>
                <a:gd name="T49" fmla="*/ 24 h 55"/>
                <a:gd name="T50" fmla="*/ 33 w 64"/>
                <a:gd name="T51" fmla="*/ 22 h 55"/>
                <a:gd name="T52" fmla="*/ 40 w 64"/>
                <a:gd name="T53" fmla="*/ 10 h 55"/>
                <a:gd name="T54" fmla="*/ 60 w 64"/>
                <a:gd name="T55" fmla="*/ 37 h 55"/>
                <a:gd name="T56" fmla="*/ 61 w 64"/>
                <a:gd name="T57" fmla="*/ 37 h 55"/>
                <a:gd name="T58" fmla="*/ 62 w 64"/>
                <a:gd name="T59" fmla="*/ 37 h 55"/>
                <a:gd name="T60" fmla="*/ 64 w 64"/>
                <a:gd name="T61" fmla="*/ 40 h 55"/>
                <a:gd name="T62" fmla="*/ 56 w 64"/>
                <a:gd name="T63" fmla="*/ 47 h 55"/>
                <a:gd name="T64" fmla="*/ 55 w 64"/>
                <a:gd name="T65" fmla="*/ 46 h 55"/>
                <a:gd name="T66" fmla="*/ 55 w 64"/>
                <a:gd name="T67" fmla="*/ 43 h 55"/>
                <a:gd name="T68" fmla="*/ 55 w 64"/>
                <a:gd name="T69" fmla="*/ 41 h 55"/>
                <a:gd name="T70" fmla="*/ 52 w 64"/>
                <a:gd name="T71" fmla="*/ 43 h 55"/>
                <a:gd name="T72" fmla="*/ 47 w 64"/>
                <a:gd name="T73" fmla="*/ 48 h 55"/>
                <a:gd name="T74" fmla="*/ 39 w 64"/>
                <a:gd name="T75" fmla="*/ 54 h 55"/>
                <a:gd name="T76" fmla="*/ 31 w 64"/>
                <a:gd name="T77" fmla="*/ 53 h 55"/>
                <a:gd name="T78" fmla="*/ 27 w 64"/>
                <a:gd name="T79" fmla="*/ 48 h 55"/>
                <a:gd name="T80" fmla="*/ 23 w 64"/>
                <a:gd name="T81" fmla="*/ 41 h 55"/>
                <a:gd name="T82" fmla="*/ 19 w 64"/>
                <a:gd name="T83" fmla="*/ 38 h 55"/>
                <a:gd name="T84" fmla="*/ 15 w 64"/>
                <a:gd name="T85" fmla="*/ 36 h 55"/>
                <a:gd name="T86" fmla="*/ 1 w 64"/>
                <a:gd name="T87" fmla="*/ 10 h 55"/>
                <a:gd name="T88" fmla="*/ 18 w 64"/>
                <a:gd name="T89" fmla="*/ 0 h 5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64" h="55">
                  <a:moveTo>
                    <a:pt x="33" y="22"/>
                  </a:moveTo>
                  <a:lnTo>
                    <a:pt x="32" y="23"/>
                  </a:lnTo>
                  <a:lnTo>
                    <a:pt x="31" y="23"/>
                  </a:lnTo>
                  <a:lnTo>
                    <a:pt x="30" y="23"/>
                  </a:lnTo>
                  <a:lnTo>
                    <a:pt x="29" y="23"/>
                  </a:lnTo>
                  <a:lnTo>
                    <a:pt x="27" y="24"/>
                  </a:lnTo>
                  <a:lnTo>
                    <a:pt x="25" y="25"/>
                  </a:lnTo>
                  <a:lnTo>
                    <a:pt x="24" y="27"/>
                  </a:lnTo>
                  <a:lnTo>
                    <a:pt x="23" y="32"/>
                  </a:lnTo>
                  <a:lnTo>
                    <a:pt x="25" y="36"/>
                  </a:lnTo>
                  <a:lnTo>
                    <a:pt x="29" y="41"/>
                  </a:lnTo>
                  <a:lnTo>
                    <a:pt x="33" y="47"/>
                  </a:lnTo>
                  <a:lnTo>
                    <a:pt x="36" y="48"/>
                  </a:lnTo>
                  <a:lnTo>
                    <a:pt x="38" y="48"/>
                  </a:lnTo>
                  <a:lnTo>
                    <a:pt x="41" y="47"/>
                  </a:lnTo>
                  <a:lnTo>
                    <a:pt x="43" y="44"/>
                  </a:lnTo>
                  <a:lnTo>
                    <a:pt x="45" y="42"/>
                  </a:lnTo>
                  <a:lnTo>
                    <a:pt x="47" y="40"/>
                  </a:lnTo>
                  <a:lnTo>
                    <a:pt x="45" y="39"/>
                  </a:lnTo>
                  <a:lnTo>
                    <a:pt x="43" y="38"/>
                  </a:lnTo>
                  <a:lnTo>
                    <a:pt x="41" y="36"/>
                  </a:lnTo>
                  <a:lnTo>
                    <a:pt x="38" y="35"/>
                  </a:lnTo>
                  <a:lnTo>
                    <a:pt x="36" y="33"/>
                  </a:lnTo>
                  <a:lnTo>
                    <a:pt x="33" y="32"/>
                  </a:lnTo>
                  <a:lnTo>
                    <a:pt x="31" y="30"/>
                  </a:lnTo>
                  <a:lnTo>
                    <a:pt x="29" y="32"/>
                  </a:lnTo>
                  <a:lnTo>
                    <a:pt x="28" y="32"/>
                  </a:lnTo>
                  <a:lnTo>
                    <a:pt x="26" y="33"/>
                  </a:lnTo>
                  <a:lnTo>
                    <a:pt x="25" y="33"/>
                  </a:lnTo>
                  <a:lnTo>
                    <a:pt x="25" y="30"/>
                  </a:lnTo>
                  <a:lnTo>
                    <a:pt x="26" y="29"/>
                  </a:lnTo>
                  <a:lnTo>
                    <a:pt x="27" y="28"/>
                  </a:lnTo>
                  <a:lnTo>
                    <a:pt x="29" y="26"/>
                  </a:lnTo>
                  <a:lnTo>
                    <a:pt x="31" y="26"/>
                  </a:lnTo>
                  <a:lnTo>
                    <a:pt x="33" y="26"/>
                  </a:lnTo>
                  <a:lnTo>
                    <a:pt x="34" y="26"/>
                  </a:lnTo>
                  <a:lnTo>
                    <a:pt x="36" y="27"/>
                  </a:lnTo>
                  <a:lnTo>
                    <a:pt x="38" y="29"/>
                  </a:lnTo>
                  <a:lnTo>
                    <a:pt x="40" y="30"/>
                  </a:lnTo>
                  <a:lnTo>
                    <a:pt x="43" y="33"/>
                  </a:lnTo>
                  <a:lnTo>
                    <a:pt x="45" y="35"/>
                  </a:lnTo>
                  <a:lnTo>
                    <a:pt x="47" y="37"/>
                  </a:lnTo>
                  <a:lnTo>
                    <a:pt x="48" y="38"/>
                  </a:lnTo>
                  <a:lnTo>
                    <a:pt x="48" y="36"/>
                  </a:lnTo>
                  <a:lnTo>
                    <a:pt x="46" y="34"/>
                  </a:lnTo>
                  <a:lnTo>
                    <a:pt x="44" y="30"/>
                  </a:lnTo>
                  <a:lnTo>
                    <a:pt x="42" y="28"/>
                  </a:lnTo>
                  <a:lnTo>
                    <a:pt x="40" y="26"/>
                  </a:lnTo>
                  <a:lnTo>
                    <a:pt x="38" y="24"/>
                  </a:lnTo>
                  <a:lnTo>
                    <a:pt x="36" y="23"/>
                  </a:lnTo>
                  <a:lnTo>
                    <a:pt x="33" y="22"/>
                  </a:lnTo>
                  <a:close/>
                  <a:moveTo>
                    <a:pt x="18" y="0"/>
                  </a:moveTo>
                  <a:lnTo>
                    <a:pt x="40" y="10"/>
                  </a:lnTo>
                  <a:lnTo>
                    <a:pt x="40" y="18"/>
                  </a:lnTo>
                  <a:lnTo>
                    <a:pt x="60" y="37"/>
                  </a:lnTo>
                  <a:lnTo>
                    <a:pt x="61" y="37"/>
                  </a:lnTo>
                  <a:lnTo>
                    <a:pt x="62" y="37"/>
                  </a:lnTo>
                  <a:lnTo>
                    <a:pt x="64" y="38"/>
                  </a:lnTo>
                  <a:lnTo>
                    <a:pt x="64" y="40"/>
                  </a:lnTo>
                  <a:lnTo>
                    <a:pt x="57" y="47"/>
                  </a:lnTo>
                  <a:lnTo>
                    <a:pt x="56" y="47"/>
                  </a:lnTo>
                  <a:lnTo>
                    <a:pt x="55" y="46"/>
                  </a:lnTo>
                  <a:lnTo>
                    <a:pt x="55" y="44"/>
                  </a:lnTo>
                  <a:lnTo>
                    <a:pt x="55" y="43"/>
                  </a:lnTo>
                  <a:lnTo>
                    <a:pt x="55" y="41"/>
                  </a:lnTo>
                  <a:lnTo>
                    <a:pt x="54" y="42"/>
                  </a:lnTo>
                  <a:lnTo>
                    <a:pt x="52" y="43"/>
                  </a:lnTo>
                  <a:lnTo>
                    <a:pt x="51" y="44"/>
                  </a:lnTo>
                  <a:lnTo>
                    <a:pt x="47" y="48"/>
                  </a:lnTo>
                  <a:lnTo>
                    <a:pt x="44" y="51"/>
                  </a:lnTo>
                  <a:lnTo>
                    <a:pt x="39" y="54"/>
                  </a:lnTo>
                  <a:lnTo>
                    <a:pt x="34" y="55"/>
                  </a:lnTo>
                  <a:lnTo>
                    <a:pt x="31" y="53"/>
                  </a:lnTo>
                  <a:lnTo>
                    <a:pt x="29" y="51"/>
                  </a:lnTo>
                  <a:lnTo>
                    <a:pt x="27" y="48"/>
                  </a:lnTo>
                  <a:lnTo>
                    <a:pt x="25" y="44"/>
                  </a:lnTo>
                  <a:lnTo>
                    <a:pt x="23" y="41"/>
                  </a:lnTo>
                  <a:lnTo>
                    <a:pt x="20" y="39"/>
                  </a:lnTo>
                  <a:lnTo>
                    <a:pt x="19" y="38"/>
                  </a:lnTo>
                  <a:lnTo>
                    <a:pt x="18" y="37"/>
                  </a:lnTo>
                  <a:lnTo>
                    <a:pt x="15" y="36"/>
                  </a:lnTo>
                  <a:lnTo>
                    <a:pt x="0" y="20"/>
                  </a:lnTo>
                  <a:lnTo>
                    <a:pt x="1" y="10"/>
                  </a:lnTo>
                  <a:lnTo>
                    <a:pt x="4" y="8"/>
                  </a:lnTo>
                  <a:lnTo>
                    <a:pt x="18" y="0"/>
                  </a:lnTo>
                  <a:close/>
                </a:path>
              </a:pathLst>
            </a:custGeom>
            <a:solidFill>
              <a:srgbClr val="74606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084" name="Freeform 476"/>
            <p:cNvSpPr>
              <a:spLocks/>
            </p:cNvSpPr>
            <p:nvPr/>
          </p:nvSpPr>
          <p:spPr bwMode="auto">
            <a:xfrm>
              <a:off x="1406" y="1595"/>
              <a:ext cx="13" cy="48"/>
            </a:xfrm>
            <a:custGeom>
              <a:avLst/>
              <a:gdLst>
                <a:gd name="T0" fmla="*/ 3 w 13"/>
                <a:gd name="T1" fmla="*/ 0 h 48"/>
                <a:gd name="T2" fmla="*/ 4 w 13"/>
                <a:gd name="T3" fmla="*/ 0 h 48"/>
                <a:gd name="T4" fmla="*/ 4 w 13"/>
                <a:gd name="T5" fmla="*/ 1 h 48"/>
                <a:gd name="T6" fmla="*/ 11 w 13"/>
                <a:gd name="T7" fmla="*/ 10 h 48"/>
                <a:gd name="T8" fmla="*/ 13 w 13"/>
                <a:gd name="T9" fmla="*/ 22 h 48"/>
                <a:gd name="T10" fmla="*/ 11 w 13"/>
                <a:gd name="T11" fmla="*/ 35 h 48"/>
                <a:gd name="T12" fmla="*/ 11 w 13"/>
                <a:gd name="T13" fmla="*/ 38 h 48"/>
                <a:gd name="T14" fmla="*/ 11 w 13"/>
                <a:gd name="T15" fmla="*/ 41 h 48"/>
                <a:gd name="T16" fmla="*/ 11 w 13"/>
                <a:gd name="T17" fmla="*/ 44 h 48"/>
                <a:gd name="T18" fmla="*/ 11 w 13"/>
                <a:gd name="T19" fmla="*/ 48 h 48"/>
                <a:gd name="T20" fmla="*/ 7 w 13"/>
                <a:gd name="T21" fmla="*/ 48 h 48"/>
                <a:gd name="T22" fmla="*/ 6 w 13"/>
                <a:gd name="T23" fmla="*/ 44 h 48"/>
                <a:gd name="T24" fmla="*/ 6 w 13"/>
                <a:gd name="T25" fmla="*/ 41 h 48"/>
                <a:gd name="T26" fmla="*/ 6 w 13"/>
                <a:gd name="T27" fmla="*/ 38 h 48"/>
                <a:gd name="T28" fmla="*/ 7 w 13"/>
                <a:gd name="T29" fmla="*/ 33 h 48"/>
                <a:gd name="T30" fmla="*/ 8 w 13"/>
                <a:gd name="T31" fmla="*/ 22 h 48"/>
                <a:gd name="T32" fmla="*/ 7 w 13"/>
                <a:gd name="T33" fmla="*/ 12 h 48"/>
                <a:gd name="T34" fmla="*/ 0 w 13"/>
                <a:gd name="T35" fmla="*/ 6 h 48"/>
                <a:gd name="T36" fmla="*/ 0 w 13"/>
                <a:gd name="T37" fmla="*/ 5 h 48"/>
                <a:gd name="T38" fmla="*/ 0 w 13"/>
                <a:gd name="T39" fmla="*/ 2 h 48"/>
                <a:gd name="T40" fmla="*/ 0 w 13"/>
                <a:gd name="T41" fmla="*/ 1 h 48"/>
                <a:gd name="T42" fmla="*/ 1 w 13"/>
                <a:gd name="T43" fmla="*/ 0 h 48"/>
                <a:gd name="T44" fmla="*/ 3 w 13"/>
                <a:gd name="T45" fmla="*/ 0 h 4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3" h="48">
                  <a:moveTo>
                    <a:pt x="3" y="0"/>
                  </a:moveTo>
                  <a:lnTo>
                    <a:pt x="4" y="0"/>
                  </a:lnTo>
                  <a:lnTo>
                    <a:pt x="4" y="1"/>
                  </a:lnTo>
                  <a:lnTo>
                    <a:pt x="11" y="10"/>
                  </a:lnTo>
                  <a:lnTo>
                    <a:pt x="13" y="22"/>
                  </a:lnTo>
                  <a:lnTo>
                    <a:pt x="11" y="35"/>
                  </a:lnTo>
                  <a:lnTo>
                    <a:pt x="11" y="38"/>
                  </a:lnTo>
                  <a:lnTo>
                    <a:pt x="11" y="41"/>
                  </a:lnTo>
                  <a:lnTo>
                    <a:pt x="11" y="44"/>
                  </a:lnTo>
                  <a:lnTo>
                    <a:pt x="11" y="48"/>
                  </a:lnTo>
                  <a:lnTo>
                    <a:pt x="7" y="48"/>
                  </a:lnTo>
                  <a:lnTo>
                    <a:pt x="6" y="44"/>
                  </a:lnTo>
                  <a:lnTo>
                    <a:pt x="6" y="41"/>
                  </a:lnTo>
                  <a:lnTo>
                    <a:pt x="6" y="38"/>
                  </a:lnTo>
                  <a:lnTo>
                    <a:pt x="7" y="33"/>
                  </a:lnTo>
                  <a:lnTo>
                    <a:pt x="8" y="22"/>
                  </a:lnTo>
                  <a:lnTo>
                    <a:pt x="7" y="12"/>
                  </a:lnTo>
                  <a:lnTo>
                    <a:pt x="0" y="6"/>
                  </a:lnTo>
                  <a:lnTo>
                    <a:pt x="0" y="5"/>
                  </a:lnTo>
                  <a:lnTo>
                    <a:pt x="0" y="2"/>
                  </a:lnTo>
                  <a:lnTo>
                    <a:pt x="0" y="1"/>
                  </a:lnTo>
                  <a:lnTo>
                    <a:pt x="1" y="0"/>
                  </a:lnTo>
                  <a:lnTo>
                    <a:pt x="3" y="0"/>
                  </a:lnTo>
                  <a:close/>
                </a:path>
              </a:pathLst>
            </a:custGeom>
            <a:solidFill>
              <a:srgbClr val="74606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085" name="Freeform 477"/>
            <p:cNvSpPr>
              <a:spLocks/>
            </p:cNvSpPr>
            <p:nvPr/>
          </p:nvSpPr>
          <p:spPr bwMode="auto">
            <a:xfrm>
              <a:off x="1388" y="1672"/>
              <a:ext cx="7" cy="9"/>
            </a:xfrm>
            <a:custGeom>
              <a:avLst/>
              <a:gdLst>
                <a:gd name="T0" fmla="*/ 4 w 7"/>
                <a:gd name="T1" fmla="*/ 0 h 9"/>
                <a:gd name="T2" fmla="*/ 7 w 7"/>
                <a:gd name="T3" fmla="*/ 1 h 9"/>
                <a:gd name="T4" fmla="*/ 2 w 7"/>
                <a:gd name="T5" fmla="*/ 9 h 9"/>
                <a:gd name="T6" fmla="*/ 0 w 7"/>
                <a:gd name="T7" fmla="*/ 8 h 9"/>
                <a:gd name="T8" fmla="*/ 4 w 7"/>
                <a:gd name="T9" fmla="*/ 0 h 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9">
                  <a:moveTo>
                    <a:pt x="4" y="0"/>
                  </a:moveTo>
                  <a:lnTo>
                    <a:pt x="7" y="1"/>
                  </a:lnTo>
                  <a:lnTo>
                    <a:pt x="2" y="9"/>
                  </a:lnTo>
                  <a:lnTo>
                    <a:pt x="0" y="8"/>
                  </a:lnTo>
                  <a:lnTo>
                    <a:pt x="4" y="0"/>
                  </a:lnTo>
                  <a:close/>
                </a:path>
              </a:pathLst>
            </a:custGeom>
            <a:solidFill>
              <a:srgbClr val="74606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086" name="Freeform 478"/>
            <p:cNvSpPr>
              <a:spLocks noEditPoints="1"/>
            </p:cNvSpPr>
            <p:nvPr/>
          </p:nvSpPr>
          <p:spPr bwMode="auto">
            <a:xfrm>
              <a:off x="1398" y="1688"/>
              <a:ext cx="818" cy="1148"/>
            </a:xfrm>
            <a:custGeom>
              <a:avLst/>
              <a:gdLst>
                <a:gd name="T0" fmla="*/ 816 w 818"/>
                <a:gd name="T1" fmla="*/ 1138 h 1148"/>
                <a:gd name="T2" fmla="*/ 801 w 818"/>
                <a:gd name="T3" fmla="*/ 1118 h 1148"/>
                <a:gd name="T4" fmla="*/ 786 w 818"/>
                <a:gd name="T5" fmla="*/ 1096 h 1148"/>
                <a:gd name="T6" fmla="*/ 772 w 818"/>
                <a:gd name="T7" fmla="*/ 1076 h 1148"/>
                <a:gd name="T8" fmla="*/ 757 w 818"/>
                <a:gd name="T9" fmla="*/ 1055 h 1148"/>
                <a:gd name="T10" fmla="*/ 743 w 818"/>
                <a:gd name="T11" fmla="*/ 1035 h 1148"/>
                <a:gd name="T12" fmla="*/ 728 w 818"/>
                <a:gd name="T13" fmla="*/ 1014 h 1148"/>
                <a:gd name="T14" fmla="*/ 713 w 818"/>
                <a:gd name="T15" fmla="*/ 993 h 1148"/>
                <a:gd name="T16" fmla="*/ 699 w 818"/>
                <a:gd name="T17" fmla="*/ 972 h 1148"/>
                <a:gd name="T18" fmla="*/ 684 w 818"/>
                <a:gd name="T19" fmla="*/ 952 h 1148"/>
                <a:gd name="T20" fmla="*/ 669 w 818"/>
                <a:gd name="T21" fmla="*/ 932 h 1148"/>
                <a:gd name="T22" fmla="*/ 655 w 818"/>
                <a:gd name="T23" fmla="*/ 911 h 1148"/>
                <a:gd name="T24" fmla="*/ 640 w 818"/>
                <a:gd name="T25" fmla="*/ 890 h 1148"/>
                <a:gd name="T26" fmla="*/ 625 w 818"/>
                <a:gd name="T27" fmla="*/ 869 h 1148"/>
                <a:gd name="T28" fmla="*/ 611 w 818"/>
                <a:gd name="T29" fmla="*/ 849 h 1148"/>
                <a:gd name="T30" fmla="*/ 596 w 818"/>
                <a:gd name="T31" fmla="*/ 828 h 1148"/>
                <a:gd name="T32" fmla="*/ 580 w 818"/>
                <a:gd name="T33" fmla="*/ 807 h 1148"/>
                <a:gd name="T34" fmla="*/ 567 w 818"/>
                <a:gd name="T35" fmla="*/ 786 h 1148"/>
                <a:gd name="T36" fmla="*/ 551 w 818"/>
                <a:gd name="T37" fmla="*/ 766 h 1148"/>
                <a:gd name="T38" fmla="*/ 536 w 818"/>
                <a:gd name="T39" fmla="*/ 745 h 1148"/>
                <a:gd name="T40" fmla="*/ 522 w 818"/>
                <a:gd name="T41" fmla="*/ 725 h 1148"/>
                <a:gd name="T42" fmla="*/ 507 w 818"/>
                <a:gd name="T43" fmla="*/ 703 h 1148"/>
                <a:gd name="T44" fmla="*/ 492 w 818"/>
                <a:gd name="T45" fmla="*/ 683 h 1148"/>
                <a:gd name="T46" fmla="*/ 478 w 818"/>
                <a:gd name="T47" fmla="*/ 662 h 1148"/>
                <a:gd name="T48" fmla="*/ 463 w 818"/>
                <a:gd name="T49" fmla="*/ 642 h 1148"/>
                <a:gd name="T50" fmla="*/ 449 w 818"/>
                <a:gd name="T51" fmla="*/ 620 h 1148"/>
                <a:gd name="T52" fmla="*/ 434 w 818"/>
                <a:gd name="T53" fmla="*/ 600 h 1148"/>
                <a:gd name="T54" fmla="*/ 419 w 818"/>
                <a:gd name="T55" fmla="*/ 579 h 1148"/>
                <a:gd name="T56" fmla="*/ 405 w 818"/>
                <a:gd name="T57" fmla="*/ 559 h 1148"/>
                <a:gd name="T58" fmla="*/ 390 w 818"/>
                <a:gd name="T59" fmla="*/ 538 h 1148"/>
                <a:gd name="T60" fmla="*/ 375 w 818"/>
                <a:gd name="T61" fmla="*/ 517 h 1148"/>
                <a:gd name="T62" fmla="*/ 361 w 818"/>
                <a:gd name="T63" fmla="*/ 496 h 1148"/>
                <a:gd name="T64" fmla="*/ 346 w 818"/>
                <a:gd name="T65" fmla="*/ 476 h 1148"/>
                <a:gd name="T66" fmla="*/ 331 w 818"/>
                <a:gd name="T67" fmla="*/ 455 h 1148"/>
                <a:gd name="T68" fmla="*/ 317 w 818"/>
                <a:gd name="T69" fmla="*/ 435 h 1148"/>
                <a:gd name="T70" fmla="*/ 302 w 818"/>
                <a:gd name="T71" fmla="*/ 413 h 1148"/>
                <a:gd name="T72" fmla="*/ 287 w 818"/>
                <a:gd name="T73" fmla="*/ 393 h 1148"/>
                <a:gd name="T74" fmla="*/ 273 w 818"/>
                <a:gd name="T75" fmla="*/ 373 h 1148"/>
                <a:gd name="T76" fmla="*/ 258 w 818"/>
                <a:gd name="T77" fmla="*/ 352 h 1148"/>
                <a:gd name="T78" fmla="*/ 243 w 818"/>
                <a:gd name="T79" fmla="*/ 331 h 1148"/>
                <a:gd name="T80" fmla="*/ 229 w 818"/>
                <a:gd name="T81" fmla="*/ 310 h 1148"/>
                <a:gd name="T82" fmla="*/ 214 w 818"/>
                <a:gd name="T83" fmla="*/ 290 h 1148"/>
                <a:gd name="T84" fmla="*/ 199 w 818"/>
                <a:gd name="T85" fmla="*/ 269 h 1148"/>
                <a:gd name="T86" fmla="*/ 185 w 818"/>
                <a:gd name="T87" fmla="*/ 249 h 1148"/>
                <a:gd name="T88" fmla="*/ 170 w 818"/>
                <a:gd name="T89" fmla="*/ 227 h 1148"/>
                <a:gd name="T90" fmla="*/ 156 w 818"/>
                <a:gd name="T91" fmla="*/ 207 h 1148"/>
                <a:gd name="T92" fmla="*/ 141 w 818"/>
                <a:gd name="T93" fmla="*/ 186 h 1148"/>
                <a:gd name="T94" fmla="*/ 126 w 818"/>
                <a:gd name="T95" fmla="*/ 166 h 1148"/>
                <a:gd name="T96" fmla="*/ 112 w 818"/>
                <a:gd name="T97" fmla="*/ 145 h 1148"/>
                <a:gd name="T98" fmla="*/ 97 w 818"/>
                <a:gd name="T99" fmla="*/ 124 h 1148"/>
                <a:gd name="T100" fmla="*/ 81 w 818"/>
                <a:gd name="T101" fmla="*/ 103 h 1148"/>
                <a:gd name="T102" fmla="*/ 68 w 818"/>
                <a:gd name="T103" fmla="*/ 83 h 1148"/>
                <a:gd name="T104" fmla="*/ 52 w 818"/>
                <a:gd name="T105" fmla="*/ 62 h 1148"/>
                <a:gd name="T106" fmla="*/ 37 w 818"/>
                <a:gd name="T107" fmla="*/ 41 h 1148"/>
                <a:gd name="T108" fmla="*/ 23 w 818"/>
                <a:gd name="T109" fmla="*/ 20 h 1148"/>
                <a:gd name="T110" fmla="*/ 8 w 818"/>
                <a:gd name="T111" fmla="*/ 0 h 114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818" h="1148">
                  <a:moveTo>
                    <a:pt x="816" y="1138"/>
                  </a:moveTo>
                  <a:lnTo>
                    <a:pt x="818" y="1142"/>
                  </a:lnTo>
                  <a:lnTo>
                    <a:pt x="810" y="1148"/>
                  </a:lnTo>
                  <a:lnTo>
                    <a:pt x="807" y="1145"/>
                  </a:lnTo>
                  <a:lnTo>
                    <a:pt x="816" y="1138"/>
                  </a:lnTo>
                  <a:close/>
                  <a:moveTo>
                    <a:pt x="801" y="1118"/>
                  </a:moveTo>
                  <a:lnTo>
                    <a:pt x="805" y="1122"/>
                  </a:lnTo>
                  <a:lnTo>
                    <a:pt x="797" y="1129"/>
                  </a:lnTo>
                  <a:lnTo>
                    <a:pt x="792" y="1124"/>
                  </a:lnTo>
                  <a:lnTo>
                    <a:pt x="801" y="1118"/>
                  </a:lnTo>
                  <a:close/>
                  <a:moveTo>
                    <a:pt x="786" y="1096"/>
                  </a:moveTo>
                  <a:lnTo>
                    <a:pt x="790" y="1102"/>
                  </a:lnTo>
                  <a:lnTo>
                    <a:pt x="782" y="1108"/>
                  </a:lnTo>
                  <a:lnTo>
                    <a:pt x="777" y="1103"/>
                  </a:lnTo>
                  <a:lnTo>
                    <a:pt x="786" y="1096"/>
                  </a:lnTo>
                  <a:close/>
                  <a:moveTo>
                    <a:pt x="772" y="1076"/>
                  </a:moveTo>
                  <a:lnTo>
                    <a:pt x="775" y="1081"/>
                  </a:lnTo>
                  <a:lnTo>
                    <a:pt x="767" y="1088"/>
                  </a:lnTo>
                  <a:lnTo>
                    <a:pt x="763" y="1082"/>
                  </a:lnTo>
                  <a:lnTo>
                    <a:pt x="772" y="1076"/>
                  </a:lnTo>
                  <a:close/>
                  <a:moveTo>
                    <a:pt x="757" y="1055"/>
                  </a:moveTo>
                  <a:lnTo>
                    <a:pt x="761" y="1061"/>
                  </a:lnTo>
                  <a:lnTo>
                    <a:pt x="753" y="1067"/>
                  </a:lnTo>
                  <a:lnTo>
                    <a:pt x="748" y="1062"/>
                  </a:lnTo>
                  <a:lnTo>
                    <a:pt x="757" y="1055"/>
                  </a:lnTo>
                  <a:close/>
                  <a:moveTo>
                    <a:pt x="743" y="1035"/>
                  </a:moveTo>
                  <a:lnTo>
                    <a:pt x="746" y="1040"/>
                  </a:lnTo>
                  <a:lnTo>
                    <a:pt x="738" y="1047"/>
                  </a:lnTo>
                  <a:lnTo>
                    <a:pt x="734" y="1041"/>
                  </a:lnTo>
                  <a:lnTo>
                    <a:pt x="743" y="1035"/>
                  </a:lnTo>
                  <a:close/>
                  <a:moveTo>
                    <a:pt x="728" y="1014"/>
                  </a:moveTo>
                  <a:lnTo>
                    <a:pt x="731" y="1019"/>
                  </a:lnTo>
                  <a:lnTo>
                    <a:pt x="722" y="1025"/>
                  </a:lnTo>
                  <a:lnTo>
                    <a:pt x="719" y="1021"/>
                  </a:lnTo>
                  <a:lnTo>
                    <a:pt x="728" y="1014"/>
                  </a:lnTo>
                  <a:close/>
                  <a:moveTo>
                    <a:pt x="713" y="993"/>
                  </a:moveTo>
                  <a:lnTo>
                    <a:pt x="717" y="998"/>
                  </a:lnTo>
                  <a:lnTo>
                    <a:pt x="708" y="1005"/>
                  </a:lnTo>
                  <a:lnTo>
                    <a:pt x="704" y="999"/>
                  </a:lnTo>
                  <a:lnTo>
                    <a:pt x="713" y="993"/>
                  </a:lnTo>
                  <a:close/>
                  <a:moveTo>
                    <a:pt x="699" y="972"/>
                  </a:moveTo>
                  <a:lnTo>
                    <a:pt x="702" y="978"/>
                  </a:lnTo>
                  <a:lnTo>
                    <a:pt x="693" y="984"/>
                  </a:lnTo>
                  <a:lnTo>
                    <a:pt x="690" y="979"/>
                  </a:lnTo>
                  <a:lnTo>
                    <a:pt x="699" y="972"/>
                  </a:lnTo>
                  <a:close/>
                  <a:moveTo>
                    <a:pt x="684" y="952"/>
                  </a:moveTo>
                  <a:lnTo>
                    <a:pt x="687" y="957"/>
                  </a:lnTo>
                  <a:lnTo>
                    <a:pt x="678" y="964"/>
                  </a:lnTo>
                  <a:lnTo>
                    <a:pt x="675" y="958"/>
                  </a:lnTo>
                  <a:lnTo>
                    <a:pt x="684" y="952"/>
                  </a:lnTo>
                  <a:close/>
                  <a:moveTo>
                    <a:pt x="669" y="932"/>
                  </a:moveTo>
                  <a:lnTo>
                    <a:pt x="673" y="937"/>
                  </a:lnTo>
                  <a:lnTo>
                    <a:pt x="664" y="943"/>
                  </a:lnTo>
                  <a:lnTo>
                    <a:pt x="660" y="938"/>
                  </a:lnTo>
                  <a:lnTo>
                    <a:pt x="669" y="932"/>
                  </a:lnTo>
                  <a:close/>
                  <a:moveTo>
                    <a:pt x="655" y="911"/>
                  </a:moveTo>
                  <a:lnTo>
                    <a:pt x="658" y="915"/>
                  </a:lnTo>
                  <a:lnTo>
                    <a:pt x="649" y="922"/>
                  </a:lnTo>
                  <a:lnTo>
                    <a:pt x="646" y="918"/>
                  </a:lnTo>
                  <a:lnTo>
                    <a:pt x="655" y="911"/>
                  </a:lnTo>
                  <a:close/>
                  <a:moveTo>
                    <a:pt x="640" y="890"/>
                  </a:moveTo>
                  <a:lnTo>
                    <a:pt x="643" y="895"/>
                  </a:lnTo>
                  <a:lnTo>
                    <a:pt x="634" y="901"/>
                  </a:lnTo>
                  <a:lnTo>
                    <a:pt x="631" y="896"/>
                  </a:lnTo>
                  <a:lnTo>
                    <a:pt x="640" y="890"/>
                  </a:lnTo>
                  <a:close/>
                  <a:moveTo>
                    <a:pt x="625" y="869"/>
                  </a:moveTo>
                  <a:lnTo>
                    <a:pt x="629" y="874"/>
                  </a:lnTo>
                  <a:lnTo>
                    <a:pt x="620" y="881"/>
                  </a:lnTo>
                  <a:lnTo>
                    <a:pt x="616" y="876"/>
                  </a:lnTo>
                  <a:lnTo>
                    <a:pt x="625" y="869"/>
                  </a:lnTo>
                  <a:close/>
                  <a:moveTo>
                    <a:pt x="611" y="849"/>
                  </a:moveTo>
                  <a:lnTo>
                    <a:pt x="614" y="854"/>
                  </a:lnTo>
                  <a:lnTo>
                    <a:pt x="605" y="860"/>
                  </a:lnTo>
                  <a:lnTo>
                    <a:pt x="602" y="855"/>
                  </a:lnTo>
                  <a:lnTo>
                    <a:pt x="611" y="849"/>
                  </a:lnTo>
                  <a:close/>
                  <a:moveTo>
                    <a:pt x="596" y="828"/>
                  </a:moveTo>
                  <a:lnTo>
                    <a:pt x="599" y="832"/>
                  </a:lnTo>
                  <a:lnTo>
                    <a:pt x="590" y="839"/>
                  </a:lnTo>
                  <a:lnTo>
                    <a:pt x="587" y="835"/>
                  </a:lnTo>
                  <a:lnTo>
                    <a:pt x="596" y="828"/>
                  </a:lnTo>
                  <a:close/>
                  <a:moveTo>
                    <a:pt x="580" y="807"/>
                  </a:moveTo>
                  <a:lnTo>
                    <a:pt x="585" y="812"/>
                  </a:lnTo>
                  <a:lnTo>
                    <a:pt x="576" y="818"/>
                  </a:lnTo>
                  <a:lnTo>
                    <a:pt x="572" y="813"/>
                  </a:lnTo>
                  <a:lnTo>
                    <a:pt x="580" y="807"/>
                  </a:lnTo>
                  <a:close/>
                  <a:moveTo>
                    <a:pt x="567" y="786"/>
                  </a:moveTo>
                  <a:lnTo>
                    <a:pt x="570" y="792"/>
                  </a:lnTo>
                  <a:lnTo>
                    <a:pt x="561" y="798"/>
                  </a:lnTo>
                  <a:lnTo>
                    <a:pt x="558" y="793"/>
                  </a:lnTo>
                  <a:lnTo>
                    <a:pt x="567" y="786"/>
                  </a:lnTo>
                  <a:close/>
                  <a:moveTo>
                    <a:pt x="551" y="766"/>
                  </a:moveTo>
                  <a:lnTo>
                    <a:pt x="555" y="771"/>
                  </a:lnTo>
                  <a:lnTo>
                    <a:pt x="546" y="778"/>
                  </a:lnTo>
                  <a:lnTo>
                    <a:pt x="543" y="772"/>
                  </a:lnTo>
                  <a:lnTo>
                    <a:pt x="551" y="766"/>
                  </a:lnTo>
                  <a:close/>
                  <a:moveTo>
                    <a:pt x="536" y="745"/>
                  </a:moveTo>
                  <a:lnTo>
                    <a:pt x="541" y="751"/>
                  </a:lnTo>
                  <a:lnTo>
                    <a:pt x="532" y="757"/>
                  </a:lnTo>
                  <a:lnTo>
                    <a:pt x="528" y="752"/>
                  </a:lnTo>
                  <a:lnTo>
                    <a:pt x="536" y="745"/>
                  </a:lnTo>
                  <a:close/>
                  <a:moveTo>
                    <a:pt x="522" y="725"/>
                  </a:moveTo>
                  <a:lnTo>
                    <a:pt x="526" y="729"/>
                  </a:lnTo>
                  <a:lnTo>
                    <a:pt x="517" y="736"/>
                  </a:lnTo>
                  <a:lnTo>
                    <a:pt x="514" y="731"/>
                  </a:lnTo>
                  <a:lnTo>
                    <a:pt x="522" y="725"/>
                  </a:lnTo>
                  <a:close/>
                  <a:moveTo>
                    <a:pt x="507" y="703"/>
                  </a:moveTo>
                  <a:lnTo>
                    <a:pt x="512" y="709"/>
                  </a:lnTo>
                  <a:lnTo>
                    <a:pt x="503" y="715"/>
                  </a:lnTo>
                  <a:lnTo>
                    <a:pt x="499" y="710"/>
                  </a:lnTo>
                  <a:lnTo>
                    <a:pt x="507" y="703"/>
                  </a:lnTo>
                  <a:close/>
                  <a:moveTo>
                    <a:pt x="492" y="683"/>
                  </a:moveTo>
                  <a:lnTo>
                    <a:pt x="497" y="688"/>
                  </a:lnTo>
                  <a:lnTo>
                    <a:pt x="488" y="695"/>
                  </a:lnTo>
                  <a:lnTo>
                    <a:pt x="484" y="689"/>
                  </a:lnTo>
                  <a:lnTo>
                    <a:pt x="492" y="683"/>
                  </a:lnTo>
                  <a:close/>
                  <a:moveTo>
                    <a:pt x="478" y="662"/>
                  </a:moveTo>
                  <a:lnTo>
                    <a:pt x="482" y="668"/>
                  </a:lnTo>
                  <a:lnTo>
                    <a:pt x="473" y="674"/>
                  </a:lnTo>
                  <a:lnTo>
                    <a:pt x="470" y="669"/>
                  </a:lnTo>
                  <a:lnTo>
                    <a:pt x="478" y="662"/>
                  </a:lnTo>
                  <a:close/>
                  <a:moveTo>
                    <a:pt x="463" y="642"/>
                  </a:moveTo>
                  <a:lnTo>
                    <a:pt x="468" y="647"/>
                  </a:lnTo>
                  <a:lnTo>
                    <a:pt x="459" y="654"/>
                  </a:lnTo>
                  <a:lnTo>
                    <a:pt x="455" y="648"/>
                  </a:lnTo>
                  <a:lnTo>
                    <a:pt x="463" y="642"/>
                  </a:lnTo>
                  <a:close/>
                  <a:moveTo>
                    <a:pt x="449" y="620"/>
                  </a:moveTo>
                  <a:lnTo>
                    <a:pt x="453" y="626"/>
                  </a:lnTo>
                  <a:lnTo>
                    <a:pt x="444" y="632"/>
                  </a:lnTo>
                  <a:lnTo>
                    <a:pt x="441" y="627"/>
                  </a:lnTo>
                  <a:lnTo>
                    <a:pt x="449" y="620"/>
                  </a:lnTo>
                  <a:close/>
                  <a:moveTo>
                    <a:pt x="434" y="600"/>
                  </a:moveTo>
                  <a:lnTo>
                    <a:pt x="437" y="605"/>
                  </a:lnTo>
                  <a:lnTo>
                    <a:pt x="429" y="612"/>
                  </a:lnTo>
                  <a:lnTo>
                    <a:pt x="426" y="606"/>
                  </a:lnTo>
                  <a:lnTo>
                    <a:pt x="434" y="600"/>
                  </a:lnTo>
                  <a:close/>
                  <a:moveTo>
                    <a:pt x="419" y="579"/>
                  </a:moveTo>
                  <a:lnTo>
                    <a:pt x="423" y="585"/>
                  </a:lnTo>
                  <a:lnTo>
                    <a:pt x="415" y="591"/>
                  </a:lnTo>
                  <a:lnTo>
                    <a:pt x="411" y="586"/>
                  </a:lnTo>
                  <a:lnTo>
                    <a:pt x="419" y="579"/>
                  </a:lnTo>
                  <a:close/>
                  <a:moveTo>
                    <a:pt x="405" y="559"/>
                  </a:moveTo>
                  <a:lnTo>
                    <a:pt x="408" y="564"/>
                  </a:lnTo>
                  <a:lnTo>
                    <a:pt x="400" y="571"/>
                  </a:lnTo>
                  <a:lnTo>
                    <a:pt x="397" y="565"/>
                  </a:lnTo>
                  <a:lnTo>
                    <a:pt x="405" y="559"/>
                  </a:lnTo>
                  <a:close/>
                  <a:moveTo>
                    <a:pt x="390" y="538"/>
                  </a:moveTo>
                  <a:lnTo>
                    <a:pt x="393" y="543"/>
                  </a:lnTo>
                  <a:lnTo>
                    <a:pt x="385" y="549"/>
                  </a:lnTo>
                  <a:lnTo>
                    <a:pt x="382" y="545"/>
                  </a:lnTo>
                  <a:lnTo>
                    <a:pt x="390" y="538"/>
                  </a:lnTo>
                  <a:close/>
                  <a:moveTo>
                    <a:pt x="375" y="517"/>
                  </a:moveTo>
                  <a:lnTo>
                    <a:pt x="379" y="522"/>
                  </a:lnTo>
                  <a:lnTo>
                    <a:pt x="371" y="529"/>
                  </a:lnTo>
                  <a:lnTo>
                    <a:pt x="366" y="523"/>
                  </a:lnTo>
                  <a:lnTo>
                    <a:pt x="375" y="517"/>
                  </a:lnTo>
                  <a:close/>
                  <a:moveTo>
                    <a:pt x="361" y="496"/>
                  </a:moveTo>
                  <a:lnTo>
                    <a:pt x="364" y="502"/>
                  </a:lnTo>
                  <a:lnTo>
                    <a:pt x="356" y="508"/>
                  </a:lnTo>
                  <a:lnTo>
                    <a:pt x="352" y="503"/>
                  </a:lnTo>
                  <a:lnTo>
                    <a:pt x="361" y="496"/>
                  </a:lnTo>
                  <a:close/>
                  <a:moveTo>
                    <a:pt x="346" y="476"/>
                  </a:moveTo>
                  <a:lnTo>
                    <a:pt x="349" y="481"/>
                  </a:lnTo>
                  <a:lnTo>
                    <a:pt x="341" y="488"/>
                  </a:lnTo>
                  <a:lnTo>
                    <a:pt x="337" y="482"/>
                  </a:lnTo>
                  <a:lnTo>
                    <a:pt x="346" y="476"/>
                  </a:lnTo>
                  <a:close/>
                  <a:moveTo>
                    <a:pt x="331" y="455"/>
                  </a:moveTo>
                  <a:lnTo>
                    <a:pt x="335" y="461"/>
                  </a:lnTo>
                  <a:lnTo>
                    <a:pt x="327" y="467"/>
                  </a:lnTo>
                  <a:lnTo>
                    <a:pt x="322" y="462"/>
                  </a:lnTo>
                  <a:lnTo>
                    <a:pt x="331" y="455"/>
                  </a:lnTo>
                  <a:close/>
                  <a:moveTo>
                    <a:pt x="317" y="435"/>
                  </a:moveTo>
                  <a:lnTo>
                    <a:pt x="320" y="439"/>
                  </a:lnTo>
                  <a:lnTo>
                    <a:pt x="312" y="446"/>
                  </a:lnTo>
                  <a:lnTo>
                    <a:pt x="308" y="441"/>
                  </a:lnTo>
                  <a:lnTo>
                    <a:pt x="317" y="435"/>
                  </a:lnTo>
                  <a:close/>
                  <a:moveTo>
                    <a:pt x="302" y="413"/>
                  </a:moveTo>
                  <a:lnTo>
                    <a:pt x="305" y="419"/>
                  </a:lnTo>
                  <a:lnTo>
                    <a:pt x="297" y="425"/>
                  </a:lnTo>
                  <a:lnTo>
                    <a:pt x="293" y="420"/>
                  </a:lnTo>
                  <a:lnTo>
                    <a:pt x="302" y="413"/>
                  </a:lnTo>
                  <a:close/>
                  <a:moveTo>
                    <a:pt x="287" y="393"/>
                  </a:moveTo>
                  <a:lnTo>
                    <a:pt x="291" y="398"/>
                  </a:lnTo>
                  <a:lnTo>
                    <a:pt x="283" y="405"/>
                  </a:lnTo>
                  <a:lnTo>
                    <a:pt x="278" y="399"/>
                  </a:lnTo>
                  <a:lnTo>
                    <a:pt x="287" y="393"/>
                  </a:lnTo>
                  <a:close/>
                  <a:moveTo>
                    <a:pt x="273" y="373"/>
                  </a:moveTo>
                  <a:lnTo>
                    <a:pt x="276" y="378"/>
                  </a:lnTo>
                  <a:lnTo>
                    <a:pt x="268" y="384"/>
                  </a:lnTo>
                  <a:lnTo>
                    <a:pt x="264" y="379"/>
                  </a:lnTo>
                  <a:lnTo>
                    <a:pt x="273" y="373"/>
                  </a:lnTo>
                  <a:close/>
                  <a:moveTo>
                    <a:pt x="258" y="352"/>
                  </a:moveTo>
                  <a:lnTo>
                    <a:pt x="261" y="356"/>
                  </a:lnTo>
                  <a:lnTo>
                    <a:pt x="252" y="363"/>
                  </a:lnTo>
                  <a:lnTo>
                    <a:pt x="249" y="359"/>
                  </a:lnTo>
                  <a:lnTo>
                    <a:pt x="258" y="352"/>
                  </a:lnTo>
                  <a:close/>
                  <a:moveTo>
                    <a:pt x="243" y="331"/>
                  </a:moveTo>
                  <a:lnTo>
                    <a:pt x="247" y="336"/>
                  </a:lnTo>
                  <a:lnTo>
                    <a:pt x="239" y="342"/>
                  </a:lnTo>
                  <a:lnTo>
                    <a:pt x="234" y="337"/>
                  </a:lnTo>
                  <a:lnTo>
                    <a:pt x="243" y="331"/>
                  </a:lnTo>
                  <a:close/>
                  <a:moveTo>
                    <a:pt x="229" y="310"/>
                  </a:moveTo>
                  <a:lnTo>
                    <a:pt x="232" y="315"/>
                  </a:lnTo>
                  <a:lnTo>
                    <a:pt x="223" y="322"/>
                  </a:lnTo>
                  <a:lnTo>
                    <a:pt x="220" y="317"/>
                  </a:lnTo>
                  <a:lnTo>
                    <a:pt x="229" y="310"/>
                  </a:lnTo>
                  <a:close/>
                  <a:moveTo>
                    <a:pt x="214" y="290"/>
                  </a:moveTo>
                  <a:lnTo>
                    <a:pt x="218" y="295"/>
                  </a:lnTo>
                  <a:lnTo>
                    <a:pt x="209" y="301"/>
                  </a:lnTo>
                  <a:lnTo>
                    <a:pt x="205" y="296"/>
                  </a:lnTo>
                  <a:lnTo>
                    <a:pt x="214" y="290"/>
                  </a:lnTo>
                  <a:close/>
                  <a:moveTo>
                    <a:pt x="199" y="269"/>
                  </a:moveTo>
                  <a:lnTo>
                    <a:pt x="203" y="275"/>
                  </a:lnTo>
                  <a:lnTo>
                    <a:pt x="194" y="281"/>
                  </a:lnTo>
                  <a:lnTo>
                    <a:pt x="190" y="276"/>
                  </a:lnTo>
                  <a:lnTo>
                    <a:pt x="199" y="269"/>
                  </a:lnTo>
                  <a:close/>
                  <a:moveTo>
                    <a:pt x="185" y="249"/>
                  </a:moveTo>
                  <a:lnTo>
                    <a:pt x="188" y="253"/>
                  </a:lnTo>
                  <a:lnTo>
                    <a:pt x="179" y="259"/>
                  </a:lnTo>
                  <a:lnTo>
                    <a:pt x="176" y="255"/>
                  </a:lnTo>
                  <a:lnTo>
                    <a:pt x="185" y="249"/>
                  </a:lnTo>
                  <a:close/>
                  <a:moveTo>
                    <a:pt x="170" y="227"/>
                  </a:moveTo>
                  <a:lnTo>
                    <a:pt x="174" y="233"/>
                  </a:lnTo>
                  <a:lnTo>
                    <a:pt x="165" y="239"/>
                  </a:lnTo>
                  <a:lnTo>
                    <a:pt x="161" y="234"/>
                  </a:lnTo>
                  <a:lnTo>
                    <a:pt x="170" y="227"/>
                  </a:lnTo>
                  <a:close/>
                  <a:moveTo>
                    <a:pt x="156" y="207"/>
                  </a:moveTo>
                  <a:lnTo>
                    <a:pt x="159" y="212"/>
                  </a:lnTo>
                  <a:lnTo>
                    <a:pt x="150" y="219"/>
                  </a:lnTo>
                  <a:lnTo>
                    <a:pt x="147" y="213"/>
                  </a:lnTo>
                  <a:lnTo>
                    <a:pt x="156" y="207"/>
                  </a:lnTo>
                  <a:close/>
                  <a:moveTo>
                    <a:pt x="141" y="186"/>
                  </a:moveTo>
                  <a:lnTo>
                    <a:pt x="144" y="192"/>
                  </a:lnTo>
                  <a:lnTo>
                    <a:pt x="135" y="198"/>
                  </a:lnTo>
                  <a:lnTo>
                    <a:pt x="132" y="193"/>
                  </a:lnTo>
                  <a:lnTo>
                    <a:pt x="141" y="186"/>
                  </a:lnTo>
                  <a:close/>
                  <a:moveTo>
                    <a:pt x="126" y="166"/>
                  </a:moveTo>
                  <a:lnTo>
                    <a:pt x="130" y="171"/>
                  </a:lnTo>
                  <a:lnTo>
                    <a:pt x="121" y="178"/>
                  </a:lnTo>
                  <a:lnTo>
                    <a:pt x="117" y="172"/>
                  </a:lnTo>
                  <a:lnTo>
                    <a:pt x="126" y="166"/>
                  </a:lnTo>
                  <a:close/>
                  <a:moveTo>
                    <a:pt x="112" y="145"/>
                  </a:moveTo>
                  <a:lnTo>
                    <a:pt x="115" y="150"/>
                  </a:lnTo>
                  <a:lnTo>
                    <a:pt x="106" y="156"/>
                  </a:lnTo>
                  <a:lnTo>
                    <a:pt x="103" y="152"/>
                  </a:lnTo>
                  <a:lnTo>
                    <a:pt x="112" y="145"/>
                  </a:lnTo>
                  <a:close/>
                  <a:moveTo>
                    <a:pt x="97" y="124"/>
                  </a:moveTo>
                  <a:lnTo>
                    <a:pt x="100" y="129"/>
                  </a:lnTo>
                  <a:lnTo>
                    <a:pt x="91" y="136"/>
                  </a:lnTo>
                  <a:lnTo>
                    <a:pt x="88" y="130"/>
                  </a:lnTo>
                  <a:lnTo>
                    <a:pt x="97" y="124"/>
                  </a:lnTo>
                  <a:close/>
                  <a:moveTo>
                    <a:pt x="81" y="103"/>
                  </a:moveTo>
                  <a:lnTo>
                    <a:pt x="86" y="109"/>
                  </a:lnTo>
                  <a:lnTo>
                    <a:pt x="77" y="115"/>
                  </a:lnTo>
                  <a:lnTo>
                    <a:pt x="73" y="110"/>
                  </a:lnTo>
                  <a:lnTo>
                    <a:pt x="81" y="103"/>
                  </a:lnTo>
                  <a:close/>
                  <a:moveTo>
                    <a:pt x="68" y="83"/>
                  </a:moveTo>
                  <a:lnTo>
                    <a:pt x="71" y="88"/>
                  </a:lnTo>
                  <a:lnTo>
                    <a:pt x="62" y="95"/>
                  </a:lnTo>
                  <a:lnTo>
                    <a:pt x="59" y="89"/>
                  </a:lnTo>
                  <a:lnTo>
                    <a:pt x="68" y="83"/>
                  </a:lnTo>
                  <a:close/>
                  <a:moveTo>
                    <a:pt x="52" y="62"/>
                  </a:moveTo>
                  <a:lnTo>
                    <a:pt x="56" y="67"/>
                  </a:lnTo>
                  <a:lnTo>
                    <a:pt x="47" y="73"/>
                  </a:lnTo>
                  <a:lnTo>
                    <a:pt x="44" y="69"/>
                  </a:lnTo>
                  <a:lnTo>
                    <a:pt x="52" y="62"/>
                  </a:lnTo>
                  <a:close/>
                  <a:moveTo>
                    <a:pt x="37" y="41"/>
                  </a:moveTo>
                  <a:lnTo>
                    <a:pt x="42" y="46"/>
                  </a:lnTo>
                  <a:lnTo>
                    <a:pt x="33" y="53"/>
                  </a:lnTo>
                  <a:lnTo>
                    <a:pt x="29" y="47"/>
                  </a:lnTo>
                  <a:lnTo>
                    <a:pt x="37" y="41"/>
                  </a:lnTo>
                  <a:close/>
                  <a:moveTo>
                    <a:pt x="23" y="20"/>
                  </a:moveTo>
                  <a:lnTo>
                    <a:pt x="27" y="26"/>
                  </a:lnTo>
                  <a:lnTo>
                    <a:pt x="18" y="32"/>
                  </a:lnTo>
                  <a:lnTo>
                    <a:pt x="15" y="27"/>
                  </a:lnTo>
                  <a:lnTo>
                    <a:pt x="23" y="20"/>
                  </a:lnTo>
                  <a:close/>
                  <a:moveTo>
                    <a:pt x="8" y="0"/>
                  </a:moveTo>
                  <a:lnTo>
                    <a:pt x="12" y="5"/>
                  </a:lnTo>
                  <a:lnTo>
                    <a:pt x="3" y="12"/>
                  </a:lnTo>
                  <a:lnTo>
                    <a:pt x="0" y="6"/>
                  </a:lnTo>
                  <a:lnTo>
                    <a:pt x="8" y="0"/>
                  </a:lnTo>
                  <a:close/>
                </a:path>
              </a:pathLst>
            </a:custGeom>
            <a:solidFill>
              <a:srgbClr val="74606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087" name="Freeform 479"/>
            <p:cNvSpPr>
              <a:spLocks/>
            </p:cNvSpPr>
            <p:nvPr/>
          </p:nvSpPr>
          <p:spPr bwMode="auto">
            <a:xfrm>
              <a:off x="2214" y="2837"/>
              <a:ext cx="6" cy="10"/>
            </a:xfrm>
            <a:custGeom>
              <a:avLst/>
              <a:gdLst>
                <a:gd name="T0" fmla="*/ 4 w 6"/>
                <a:gd name="T1" fmla="*/ 0 h 10"/>
                <a:gd name="T2" fmla="*/ 6 w 6"/>
                <a:gd name="T3" fmla="*/ 1 h 10"/>
                <a:gd name="T4" fmla="*/ 2 w 6"/>
                <a:gd name="T5" fmla="*/ 10 h 10"/>
                <a:gd name="T6" fmla="*/ 0 w 6"/>
                <a:gd name="T7" fmla="*/ 9 h 10"/>
                <a:gd name="T8" fmla="*/ 4 w 6"/>
                <a:gd name="T9" fmla="*/ 0 h 1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10">
                  <a:moveTo>
                    <a:pt x="4" y="0"/>
                  </a:moveTo>
                  <a:lnTo>
                    <a:pt x="6" y="1"/>
                  </a:lnTo>
                  <a:lnTo>
                    <a:pt x="2" y="10"/>
                  </a:lnTo>
                  <a:lnTo>
                    <a:pt x="0" y="9"/>
                  </a:lnTo>
                  <a:lnTo>
                    <a:pt x="4" y="0"/>
                  </a:lnTo>
                  <a:close/>
                </a:path>
              </a:pathLst>
            </a:custGeom>
            <a:solidFill>
              <a:srgbClr val="74606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088" name="Freeform 480"/>
            <p:cNvSpPr>
              <a:spLocks/>
            </p:cNvSpPr>
            <p:nvPr/>
          </p:nvSpPr>
          <p:spPr bwMode="auto">
            <a:xfrm>
              <a:off x="1107" y="2705"/>
              <a:ext cx="172" cy="172"/>
            </a:xfrm>
            <a:custGeom>
              <a:avLst/>
              <a:gdLst>
                <a:gd name="T0" fmla="*/ 87 w 172"/>
                <a:gd name="T1" fmla="*/ 0 h 172"/>
                <a:gd name="T2" fmla="*/ 110 w 172"/>
                <a:gd name="T3" fmla="*/ 3 h 172"/>
                <a:gd name="T4" fmla="*/ 131 w 172"/>
                <a:gd name="T5" fmla="*/ 11 h 172"/>
                <a:gd name="T6" fmla="*/ 148 w 172"/>
                <a:gd name="T7" fmla="*/ 24 h 172"/>
                <a:gd name="T8" fmla="*/ 161 w 172"/>
                <a:gd name="T9" fmla="*/ 42 h 172"/>
                <a:gd name="T10" fmla="*/ 169 w 172"/>
                <a:gd name="T11" fmla="*/ 62 h 172"/>
                <a:gd name="T12" fmla="*/ 172 w 172"/>
                <a:gd name="T13" fmla="*/ 85 h 172"/>
                <a:gd name="T14" fmla="*/ 169 w 172"/>
                <a:gd name="T15" fmla="*/ 108 h 172"/>
                <a:gd name="T16" fmla="*/ 161 w 172"/>
                <a:gd name="T17" fmla="*/ 129 h 172"/>
                <a:gd name="T18" fmla="*/ 148 w 172"/>
                <a:gd name="T19" fmla="*/ 147 h 172"/>
                <a:gd name="T20" fmla="*/ 131 w 172"/>
                <a:gd name="T21" fmla="*/ 160 h 172"/>
                <a:gd name="T22" fmla="*/ 110 w 172"/>
                <a:gd name="T23" fmla="*/ 170 h 172"/>
                <a:gd name="T24" fmla="*/ 87 w 172"/>
                <a:gd name="T25" fmla="*/ 172 h 172"/>
                <a:gd name="T26" fmla="*/ 64 w 172"/>
                <a:gd name="T27" fmla="*/ 170 h 172"/>
                <a:gd name="T28" fmla="*/ 43 w 172"/>
                <a:gd name="T29" fmla="*/ 160 h 172"/>
                <a:gd name="T30" fmla="*/ 25 w 172"/>
                <a:gd name="T31" fmla="*/ 147 h 172"/>
                <a:gd name="T32" fmla="*/ 12 w 172"/>
                <a:gd name="T33" fmla="*/ 129 h 172"/>
                <a:gd name="T34" fmla="*/ 3 w 172"/>
                <a:gd name="T35" fmla="*/ 108 h 172"/>
                <a:gd name="T36" fmla="*/ 0 w 172"/>
                <a:gd name="T37" fmla="*/ 85 h 172"/>
                <a:gd name="T38" fmla="*/ 3 w 172"/>
                <a:gd name="T39" fmla="*/ 62 h 172"/>
                <a:gd name="T40" fmla="*/ 12 w 172"/>
                <a:gd name="T41" fmla="*/ 42 h 172"/>
                <a:gd name="T42" fmla="*/ 25 w 172"/>
                <a:gd name="T43" fmla="*/ 24 h 172"/>
                <a:gd name="T44" fmla="*/ 43 w 172"/>
                <a:gd name="T45" fmla="*/ 11 h 172"/>
                <a:gd name="T46" fmla="*/ 64 w 172"/>
                <a:gd name="T47" fmla="*/ 3 h 172"/>
                <a:gd name="T48" fmla="*/ 87 w 172"/>
                <a:gd name="T49" fmla="*/ 0 h 17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72" h="172">
                  <a:moveTo>
                    <a:pt x="87" y="0"/>
                  </a:moveTo>
                  <a:lnTo>
                    <a:pt x="110" y="3"/>
                  </a:lnTo>
                  <a:lnTo>
                    <a:pt x="131" y="11"/>
                  </a:lnTo>
                  <a:lnTo>
                    <a:pt x="148" y="24"/>
                  </a:lnTo>
                  <a:lnTo>
                    <a:pt x="161" y="42"/>
                  </a:lnTo>
                  <a:lnTo>
                    <a:pt x="169" y="62"/>
                  </a:lnTo>
                  <a:lnTo>
                    <a:pt x="172" y="85"/>
                  </a:lnTo>
                  <a:lnTo>
                    <a:pt x="169" y="108"/>
                  </a:lnTo>
                  <a:lnTo>
                    <a:pt x="161" y="129"/>
                  </a:lnTo>
                  <a:lnTo>
                    <a:pt x="148" y="147"/>
                  </a:lnTo>
                  <a:lnTo>
                    <a:pt x="131" y="160"/>
                  </a:lnTo>
                  <a:lnTo>
                    <a:pt x="110" y="170"/>
                  </a:lnTo>
                  <a:lnTo>
                    <a:pt x="87" y="172"/>
                  </a:lnTo>
                  <a:lnTo>
                    <a:pt x="64" y="170"/>
                  </a:lnTo>
                  <a:lnTo>
                    <a:pt x="43" y="160"/>
                  </a:lnTo>
                  <a:lnTo>
                    <a:pt x="25" y="147"/>
                  </a:lnTo>
                  <a:lnTo>
                    <a:pt x="12" y="129"/>
                  </a:lnTo>
                  <a:lnTo>
                    <a:pt x="3" y="108"/>
                  </a:lnTo>
                  <a:lnTo>
                    <a:pt x="0" y="85"/>
                  </a:lnTo>
                  <a:lnTo>
                    <a:pt x="3" y="62"/>
                  </a:lnTo>
                  <a:lnTo>
                    <a:pt x="12" y="42"/>
                  </a:lnTo>
                  <a:lnTo>
                    <a:pt x="25" y="24"/>
                  </a:lnTo>
                  <a:lnTo>
                    <a:pt x="43" y="11"/>
                  </a:lnTo>
                  <a:lnTo>
                    <a:pt x="64" y="3"/>
                  </a:lnTo>
                  <a:lnTo>
                    <a:pt x="87" y="0"/>
                  </a:lnTo>
                  <a:close/>
                </a:path>
              </a:pathLst>
            </a:custGeom>
            <a:solidFill>
              <a:srgbClr val="29426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089" name="Freeform 481"/>
            <p:cNvSpPr>
              <a:spLocks noEditPoints="1"/>
            </p:cNvSpPr>
            <p:nvPr/>
          </p:nvSpPr>
          <p:spPr bwMode="auto">
            <a:xfrm>
              <a:off x="1102" y="2698"/>
              <a:ext cx="184" cy="182"/>
            </a:xfrm>
            <a:custGeom>
              <a:avLst/>
              <a:gdLst>
                <a:gd name="T0" fmla="*/ 92 w 184"/>
                <a:gd name="T1" fmla="*/ 10 h 182"/>
                <a:gd name="T2" fmla="*/ 71 w 184"/>
                <a:gd name="T3" fmla="*/ 12 h 182"/>
                <a:gd name="T4" fmla="*/ 52 w 184"/>
                <a:gd name="T5" fmla="*/ 21 h 182"/>
                <a:gd name="T6" fmla="*/ 35 w 184"/>
                <a:gd name="T7" fmla="*/ 34 h 182"/>
                <a:gd name="T8" fmla="*/ 22 w 184"/>
                <a:gd name="T9" fmla="*/ 51 h 182"/>
                <a:gd name="T10" fmla="*/ 14 w 184"/>
                <a:gd name="T11" fmla="*/ 70 h 182"/>
                <a:gd name="T12" fmla="*/ 12 w 184"/>
                <a:gd name="T13" fmla="*/ 92 h 182"/>
                <a:gd name="T14" fmla="*/ 14 w 184"/>
                <a:gd name="T15" fmla="*/ 112 h 182"/>
                <a:gd name="T16" fmla="*/ 22 w 184"/>
                <a:gd name="T17" fmla="*/ 132 h 182"/>
                <a:gd name="T18" fmla="*/ 35 w 184"/>
                <a:gd name="T19" fmla="*/ 149 h 182"/>
                <a:gd name="T20" fmla="*/ 52 w 184"/>
                <a:gd name="T21" fmla="*/ 162 h 182"/>
                <a:gd name="T22" fmla="*/ 71 w 184"/>
                <a:gd name="T23" fmla="*/ 170 h 182"/>
                <a:gd name="T24" fmla="*/ 92 w 184"/>
                <a:gd name="T25" fmla="*/ 174 h 182"/>
                <a:gd name="T26" fmla="*/ 114 w 184"/>
                <a:gd name="T27" fmla="*/ 170 h 182"/>
                <a:gd name="T28" fmla="*/ 133 w 184"/>
                <a:gd name="T29" fmla="*/ 162 h 182"/>
                <a:gd name="T30" fmla="*/ 149 w 184"/>
                <a:gd name="T31" fmla="*/ 149 h 182"/>
                <a:gd name="T32" fmla="*/ 162 w 184"/>
                <a:gd name="T33" fmla="*/ 132 h 182"/>
                <a:gd name="T34" fmla="*/ 170 w 184"/>
                <a:gd name="T35" fmla="*/ 112 h 182"/>
                <a:gd name="T36" fmla="*/ 173 w 184"/>
                <a:gd name="T37" fmla="*/ 92 h 182"/>
                <a:gd name="T38" fmla="*/ 170 w 184"/>
                <a:gd name="T39" fmla="*/ 70 h 182"/>
                <a:gd name="T40" fmla="*/ 162 w 184"/>
                <a:gd name="T41" fmla="*/ 51 h 182"/>
                <a:gd name="T42" fmla="*/ 149 w 184"/>
                <a:gd name="T43" fmla="*/ 34 h 182"/>
                <a:gd name="T44" fmla="*/ 133 w 184"/>
                <a:gd name="T45" fmla="*/ 21 h 182"/>
                <a:gd name="T46" fmla="*/ 114 w 184"/>
                <a:gd name="T47" fmla="*/ 12 h 182"/>
                <a:gd name="T48" fmla="*/ 92 w 184"/>
                <a:gd name="T49" fmla="*/ 10 h 182"/>
                <a:gd name="T50" fmla="*/ 92 w 184"/>
                <a:gd name="T51" fmla="*/ 0 h 182"/>
                <a:gd name="T52" fmla="*/ 111 w 184"/>
                <a:gd name="T53" fmla="*/ 1 h 182"/>
                <a:gd name="T54" fmla="*/ 128 w 184"/>
                <a:gd name="T55" fmla="*/ 7 h 182"/>
                <a:gd name="T56" fmla="*/ 143 w 184"/>
                <a:gd name="T57" fmla="*/ 15 h 182"/>
                <a:gd name="T58" fmla="*/ 157 w 184"/>
                <a:gd name="T59" fmla="*/ 27 h 182"/>
                <a:gd name="T60" fmla="*/ 169 w 184"/>
                <a:gd name="T61" fmla="*/ 41 h 182"/>
                <a:gd name="T62" fmla="*/ 177 w 184"/>
                <a:gd name="T63" fmla="*/ 56 h 182"/>
                <a:gd name="T64" fmla="*/ 183 w 184"/>
                <a:gd name="T65" fmla="*/ 73 h 182"/>
                <a:gd name="T66" fmla="*/ 184 w 184"/>
                <a:gd name="T67" fmla="*/ 92 h 182"/>
                <a:gd name="T68" fmla="*/ 183 w 184"/>
                <a:gd name="T69" fmla="*/ 110 h 182"/>
                <a:gd name="T70" fmla="*/ 177 w 184"/>
                <a:gd name="T71" fmla="*/ 126 h 182"/>
                <a:gd name="T72" fmla="*/ 169 w 184"/>
                <a:gd name="T73" fmla="*/ 142 h 182"/>
                <a:gd name="T74" fmla="*/ 157 w 184"/>
                <a:gd name="T75" fmla="*/ 155 h 182"/>
                <a:gd name="T76" fmla="*/ 138 w 184"/>
                <a:gd name="T77" fmla="*/ 170 h 182"/>
                <a:gd name="T78" fmla="*/ 116 w 184"/>
                <a:gd name="T79" fmla="*/ 179 h 182"/>
                <a:gd name="T80" fmla="*/ 92 w 184"/>
                <a:gd name="T81" fmla="*/ 182 h 182"/>
                <a:gd name="T82" fmla="*/ 74 w 184"/>
                <a:gd name="T83" fmla="*/ 181 h 182"/>
                <a:gd name="T84" fmla="*/ 57 w 184"/>
                <a:gd name="T85" fmla="*/ 176 h 182"/>
                <a:gd name="T86" fmla="*/ 41 w 184"/>
                <a:gd name="T87" fmla="*/ 167 h 182"/>
                <a:gd name="T88" fmla="*/ 27 w 184"/>
                <a:gd name="T89" fmla="*/ 155 h 182"/>
                <a:gd name="T90" fmla="*/ 13 w 184"/>
                <a:gd name="T91" fmla="*/ 137 h 182"/>
                <a:gd name="T92" fmla="*/ 3 w 184"/>
                <a:gd name="T93" fmla="*/ 115 h 182"/>
                <a:gd name="T94" fmla="*/ 0 w 184"/>
                <a:gd name="T95" fmla="*/ 92 h 182"/>
                <a:gd name="T96" fmla="*/ 3 w 184"/>
                <a:gd name="T97" fmla="*/ 68 h 182"/>
                <a:gd name="T98" fmla="*/ 13 w 184"/>
                <a:gd name="T99" fmla="*/ 46 h 182"/>
                <a:gd name="T100" fmla="*/ 27 w 184"/>
                <a:gd name="T101" fmla="*/ 27 h 182"/>
                <a:gd name="T102" fmla="*/ 41 w 184"/>
                <a:gd name="T103" fmla="*/ 15 h 182"/>
                <a:gd name="T104" fmla="*/ 57 w 184"/>
                <a:gd name="T105" fmla="*/ 7 h 182"/>
                <a:gd name="T106" fmla="*/ 74 w 184"/>
                <a:gd name="T107" fmla="*/ 1 h 182"/>
                <a:gd name="T108" fmla="*/ 92 w 184"/>
                <a:gd name="T109" fmla="*/ 0 h 1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84" h="182">
                  <a:moveTo>
                    <a:pt x="92" y="10"/>
                  </a:moveTo>
                  <a:lnTo>
                    <a:pt x="71" y="12"/>
                  </a:lnTo>
                  <a:lnTo>
                    <a:pt x="52" y="21"/>
                  </a:lnTo>
                  <a:lnTo>
                    <a:pt x="35" y="34"/>
                  </a:lnTo>
                  <a:lnTo>
                    <a:pt x="22" y="51"/>
                  </a:lnTo>
                  <a:lnTo>
                    <a:pt x="14" y="70"/>
                  </a:lnTo>
                  <a:lnTo>
                    <a:pt x="12" y="92"/>
                  </a:lnTo>
                  <a:lnTo>
                    <a:pt x="14" y="112"/>
                  </a:lnTo>
                  <a:lnTo>
                    <a:pt x="22" y="132"/>
                  </a:lnTo>
                  <a:lnTo>
                    <a:pt x="35" y="149"/>
                  </a:lnTo>
                  <a:lnTo>
                    <a:pt x="52" y="162"/>
                  </a:lnTo>
                  <a:lnTo>
                    <a:pt x="71" y="170"/>
                  </a:lnTo>
                  <a:lnTo>
                    <a:pt x="92" y="174"/>
                  </a:lnTo>
                  <a:lnTo>
                    <a:pt x="114" y="170"/>
                  </a:lnTo>
                  <a:lnTo>
                    <a:pt x="133" y="162"/>
                  </a:lnTo>
                  <a:lnTo>
                    <a:pt x="149" y="149"/>
                  </a:lnTo>
                  <a:lnTo>
                    <a:pt x="162" y="132"/>
                  </a:lnTo>
                  <a:lnTo>
                    <a:pt x="170" y="112"/>
                  </a:lnTo>
                  <a:lnTo>
                    <a:pt x="173" y="92"/>
                  </a:lnTo>
                  <a:lnTo>
                    <a:pt x="170" y="70"/>
                  </a:lnTo>
                  <a:lnTo>
                    <a:pt x="162" y="51"/>
                  </a:lnTo>
                  <a:lnTo>
                    <a:pt x="149" y="34"/>
                  </a:lnTo>
                  <a:lnTo>
                    <a:pt x="133" y="21"/>
                  </a:lnTo>
                  <a:lnTo>
                    <a:pt x="114" y="12"/>
                  </a:lnTo>
                  <a:lnTo>
                    <a:pt x="92" y="10"/>
                  </a:lnTo>
                  <a:close/>
                  <a:moveTo>
                    <a:pt x="92" y="0"/>
                  </a:moveTo>
                  <a:lnTo>
                    <a:pt x="111" y="1"/>
                  </a:lnTo>
                  <a:lnTo>
                    <a:pt x="128" y="7"/>
                  </a:lnTo>
                  <a:lnTo>
                    <a:pt x="143" y="15"/>
                  </a:lnTo>
                  <a:lnTo>
                    <a:pt x="157" y="27"/>
                  </a:lnTo>
                  <a:lnTo>
                    <a:pt x="169" y="41"/>
                  </a:lnTo>
                  <a:lnTo>
                    <a:pt x="177" y="56"/>
                  </a:lnTo>
                  <a:lnTo>
                    <a:pt x="183" y="73"/>
                  </a:lnTo>
                  <a:lnTo>
                    <a:pt x="184" y="92"/>
                  </a:lnTo>
                  <a:lnTo>
                    <a:pt x="183" y="110"/>
                  </a:lnTo>
                  <a:lnTo>
                    <a:pt x="177" y="126"/>
                  </a:lnTo>
                  <a:lnTo>
                    <a:pt x="169" y="142"/>
                  </a:lnTo>
                  <a:lnTo>
                    <a:pt x="157" y="155"/>
                  </a:lnTo>
                  <a:lnTo>
                    <a:pt x="138" y="170"/>
                  </a:lnTo>
                  <a:lnTo>
                    <a:pt x="116" y="179"/>
                  </a:lnTo>
                  <a:lnTo>
                    <a:pt x="92" y="182"/>
                  </a:lnTo>
                  <a:lnTo>
                    <a:pt x="74" y="181"/>
                  </a:lnTo>
                  <a:lnTo>
                    <a:pt x="57" y="176"/>
                  </a:lnTo>
                  <a:lnTo>
                    <a:pt x="41" y="167"/>
                  </a:lnTo>
                  <a:lnTo>
                    <a:pt x="27" y="155"/>
                  </a:lnTo>
                  <a:lnTo>
                    <a:pt x="13" y="137"/>
                  </a:lnTo>
                  <a:lnTo>
                    <a:pt x="3" y="115"/>
                  </a:lnTo>
                  <a:lnTo>
                    <a:pt x="0" y="92"/>
                  </a:lnTo>
                  <a:lnTo>
                    <a:pt x="3" y="68"/>
                  </a:lnTo>
                  <a:lnTo>
                    <a:pt x="13" y="46"/>
                  </a:lnTo>
                  <a:lnTo>
                    <a:pt x="27" y="27"/>
                  </a:lnTo>
                  <a:lnTo>
                    <a:pt x="41" y="15"/>
                  </a:lnTo>
                  <a:lnTo>
                    <a:pt x="57" y="7"/>
                  </a:lnTo>
                  <a:lnTo>
                    <a:pt x="74" y="1"/>
                  </a:lnTo>
                  <a:lnTo>
                    <a:pt x="92" y="0"/>
                  </a:lnTo>
                  <a:close/>
                </a:path>
              </a:pathLst>
            </a:custGeom>
            <a:solidFill>
              <a:srgbClr val="2F5AA8"/>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090" name="Freeform 482"/>
            <p:cNvSpPr>
              <a:spLocks noEditPoints="1"/>
            </p:cNvSpPr>
            <p:nvPr/>
          </p:nvSpPr>
          <p:spPr bwMode="auto">
            <a:xfrm>
              <a:off x="1148" y="2765"/>
              <a:ext cx="91" cy="49"/>
            </a:xfrm>
            <a:custGeom>
              <a:avLst/>
              <a:gdLst>
                <a:gd name="T0" fmla="*/ 29 w 91"/>
                <a:gd name="T1" fmla="*/ 26 h 49"/>
                <a:gd name="T2" fmla="*/ 27 w 91"/>
                <a:gd name="T3" fmla="*/ 31 h 49"/>
                <a:gd name="T4" fmla="*/ 29 w 91"/>
                <a:gd name="T5" fmla="*/ 33 h 49"/>
                <a:gd name="T6" fmla="*/ 33 w 91"/>
                <a:gd name="T7" fmla="*/ 33 h 49"/>
                <a:gd name="T8" fmla="*/ 43 w 91"/>
                <a:gd name="T9" fmla="*/ 34 h 49"/>
                <a:gd name="T10" fmla="*/ 53 w 91"/>
                <a:gd name="T11" fmla="*/ 34 h 49"/>
                <a:gd name="T12" fmla="*/ 59 w 91"/>
                <a:gd name="T13" fmla="*/ 33 h 49"/>
                <a:gd name="T14" fmla="*/ 62 w 91"/>
                <a:gd name="T15" fmla="*/ 33 h 49"/>
                <a:gd name="T16" fmla="*/ 64 w 91"/>
                <a:gd name="T17" fmla="*/ 30 h 49"/>
                <a:gd name="T18" fmla="*/ 60 w 91"/>
                <a:gd name="T19" fmla="*/ 25 h 49"/>
                <a:gd name="T20" fmla="*/ 80 w 91"/>
                <a:gd name="T21" fmla="*/ 23 h 49"/>
                <a:gd name="T22" fmla="*/ 73 w 91"/>
                <a:gd name="T23" fmla="*/ 25 h 49"/>
                <a:gd name="T24" fmla="*/ 71 w 91"/>
                <a:gd name="T25" fmla="*/ 25 h 49"/>
                <a:gd name="T26" fmla="*/ 68 w 91"/>
                <a:gd name="T27" fmla="*/ 27 h 49"/>
                <a:gd name="T28" fmla="*/ 81 w 91"/>
                <a:gd name="T29" fmla="*/ 30 h 49"/>
                <a:gd name="T30" fmla="*/ 84 w 91"/>
                <a:gd name="T31" fmla="*/ 25 h 49"/>
                <a:gd name="T32" fmla="*/ 84 w 91"/>
                <a:gd name="T33" fmla="*/ 23 h 49"/>
                <a:gd name="T34" fmla="*/ 10 w 91"/>
                <a:gd name="T35" fmla="*/ 21 h 49"/>
                <a:gd name="T36" fmla="*/ 7 w 91"/>
                <a:gd name="T37" fmla="*/ 24 h 49"/>
                <a:gd name="T38" fmla="*/ 7 w 91"/>
                <a:gd name="T39" fmla="*/ 28 h 49"/>
                <a:gd name="T40" fmla="*/ 10 w 91"/>
                <a:gd name="T41" fmla="*/ 30 h 49"/>
                <a:gd name="T42" fmla="*/ 22 w 91"/>
                <a:gd name="T43" fmla="*/ 26 h 49"/>
                <a:gd name="T44" fmla="*/ 20 w 91"/>
                <a:gd name="T45" fmla="*/ 25 h 49"/>
                <a:gd name="T46" fmla="*/ 15 w 91"/>
                <a:gd name="T47" fmla="*/ 24 h 49"/>
                <a:gd name="T48" fmla="*/ 10 w 91"/>
                <a:gd name="T49" fmla="*/ 21 h 49"/>
                <a:gd name="T50" fmla="*/ 15 w 91"/>
                <a:gd name="T51" fmla="*/ 15 h 49"/>
                <a:gd name="T52" fmla="*/ 40 w 91"/>
                <a:gd name="T53" fmla="*/ 14 h 49"/>
                <a:gd name="T54" fmla="*/ 60 w 91"/>
                <a:gd name="T55" fmla="*/ 15 h 49"/>
                <a:gd name="T56" fmla="*/ 78 w 91"/>
                <a:gd name="T57" fmla="*/ 16 h 49"/>
                <a:gd name="T58" fmla="*/ 74 w 91"/>
                <a:gd name="T59" fmla="*/ 13 h 49"/>
                <a:gd name="T60" fmla="*/ 68 w 91"/>
                <a:gd name="T61" fmla="*/ 6 h 49"/>
                <a:gd name="T62" fmla="*/ 64 w 91"/>
                <a:gd name="T63" fmla="*/ 3 h 49"/>
                <a:gd name="T64" fmla="*/ 28 w 91"/>
                <a:gd name="T65" fmla="*/ 0 h 49"/>
                <a:gd name="T66" fmla="*/ 65 w 91"/>
                <a:gd name="T67" fmla="*/ 0 h 49"/>
                <a:gd name="T68" fmla="*/ 80 w 91"/>
                <a:gd name="T69" fmla="*/ 13 h 49"/>
                <a:gd name="T70" fmla="*/ 83 w 91"/>
                <a:gd name="T71" fmla="*/ 12 h 49"/>
                <a:gd name="T72" fmla="*/ 87 w 91"/>
                <a:gd name="T73" fmla="*/ 11 h 49"/>
                <a:gd name="T74" fmla="*/ 88 w 91"/>
                <a:gd name="T75" fmla="*/ 13 h 49"/>
                <a:gd name="T76" fmla="*/ 91 w 91"/>
                <a:gd name="T77" fmla="*/ 16 h 49"/>
                <a:gd name="T78" fmla="*/ 87 w 91"/>
                <a:gd name="T79" fmla="*/ 17 h 49"/>
                <a:gd name="T80" fmla="*/ 85 w 91"/>
                <a:gd name="T81" fmla="*/ 19 h 49"/>
                <a:gd name="T82" fmla="*/ 86 w 91"/>
                <a:gd name="T83" fmla="*/ 25 h 49"/>
                <a:gd name="T84" fmla="*/ 85 w 91"/>
                <a:gd name="T85" fmla="*/ 48 h 49"/>
                <a:gd name="T86" fmla="*/ 84 w 91"/>
                <a:gd name="T87" fmla="*/ 49 h 49"/>
                <a:gd name="T88" fmla="*/ 68 w 91"/>
                <a:gd name="T89" fmla="*/ 48 h 49"/>
                <a:gd name="T90" fmla="*/ 67 w 91"/>
                <a:gd name="T91" fmla="*/ 47 h 49"/>
                <a:gd name="T92" fmla="*/ 22 w 91"/>
                <a:gd name="T93" fmla="*/ 47 h 49"/>
                <a:gd name="T94" fmla="*/ 21 w 91"/>
                <a:gd name="T95" fmla="*/ 49 h 49"/>
                <a:gd name="T96" fmla="*/ 7 w 91"/>
                <a:gd name="T97" fmla="*/ 49 h 49"/>
                <a:gd name="T98" fmla="*/ 3 w 91"/>
                <a:gd name="T99" fmla="*/ 48 h 49"/>
                <a:gd name="T100" fmla="*/ 3 w 91"/>
                <a:gd name="T101" fmla="*/ 20 h 49"/>
                <a:gd name="T102" fmla="*/ 6 w 91"/>
                <a:gd name="T103" fmla="*/ 17 h 49"/>
                <a:gd name="T104" fmla="*/ 0 w 91"/>
                <a:gd name="T105" fmla="*/ 17 h 49"/>
                <a:gd name="T106" fmla="*/ 0 w 91"/>
                <a:gd name="T107" fmla="*/ 16 h 49"/>
                <a:gd name="T108" fmla="*/ 2 w 91"/>
                <a:gd name="T109" fmla="*/ 11 h 49"/>
                <a:gd name="T110" fmla="*/ 11 w 91"/>
                <a:gd name="T111" fmla="*/ 12 h 49"/>
                <a:gd name="T112" fmla="*/ 12 w 91"/>
                <a:gd name="T113" fmla="*/ 12 h 49"/>
                <a:gd name="T114" fmla="*/ 17 w 91"/>
                <a:gd name="T115" fmla="*/ 7 h 49"/>
                <a:gd name="T116" fmla="*/ 24 w 91"/>
                <a:gd name="T117" fmla="*/ 1 h 49"/>
                <a:gd name="T118" fmla="*/ 27 w 91"/>
                <a:gd name="T119" fmla="*/ 0 h 4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91" h="49">
                  <a:moveTo>
                    <a:pt x="31" y="25"/>
                  </a:moveTo>
                  <a:lnTo>
                    <a:pt x="30" y="26"/>
                  </a:lnTo>
                  <a:lnTo>
                    <a:pt x="29" y="26"/>
                  </a:lnTo>
                  <a:lnTo>
                    <a:pt x="27" y="28"/>
                  </a:lnTo>
                  <a:lnTo>
                    <a:pt x="27" y="30"/>
                  </a:lnTo>
                  <a:lnTo>
                    <a:pt x="27" y="31"/>
                  </a:lnTo>
                  <a:lnTo>
                    <a:pt x="28" y="32"/>
                  </a:lnTo>
                  <a:lnTo>
                    <a:pt x="29" y="33"/>
                  </a:lnTo>
                  <a:lnTo>
                    <a:pt x="30" y="33"/>
                  </a:lnTo>
                  <a:lnTo>
                    <a:pt x="33" y="33"/>
                  </a:lnTo>
                  <a:lnTo>
                    <a:pt x="36" y="34"/>
                  </a:lnTo>
                  <a:lnTo>
                    <a:pt x="39" y="34"/>
                  </a:lnTo>
                  <a:lnTo>
                    <a:pt x="43" y="34"/>
                  </a:lnTo>
                  <a:lnTo>
                    <a:pt x="46" y="34"/>
                  </a:lnTo>
                  <a:lnTo>
                    <a:pt x="50" y="34"/>
                  </a:lnTo>
                  <a:lnTo>
                    <a:pt x="53" y="34"/>
                  </a:lnTo>
                  <a:lnTo>
                    <a:pt x="55" y="34"/>
                  </a:lnTo>
                  <a:lnTo>
                    <a:pt x="58" y="33"/>
                  </a:lnTo>
                  <a:lnTo>
                    <a:pt x="59" y="33"/>
                  </a:lnTo>
                  <a:lnTo>
                    <a:pt x="60" y="33"/>
                  </a:lnTo>
                  <a:lnTo>
                    <a:pt x="62" y="33"/>
                  </a:lnTo>
                  <a:lnTo>
                    <a:pt x="63" y="32"/>
                  </a:lnTo>
                  <a:lnTo>
                    <a:pt x="64" y="31"/>
                  </a:lnTo>
                  <a:lnTo>
                    <a:pt x="64" y="30"/>
                  </a:lnTo>
                  <a:lnTo>
                    <a:pt x="63" y="27"/>
                  </a:lnTo>
                  <a:lnTo>
                    <a:pt x="62" y="26"/>
                  </a:lnTo>
                  <a:lnTo>
                    <a:pt x="60" y="25"/>
                  </a:lnTo>
                  <a:lnTo>
                    <a:pt x="31" y="25"/>
                  </a:lnTo>
                  <a:close/>
                  <a:moveTo>
                    <a:pt x="82" y="21"/>
                  </a:moveTo>
                  <a:lnTo>
                    <a:pt x="80" y="23"/>
                  </a:lnTo>
                  <a:lnTo>
                    <a:pt x="78" y="23"/>
                  </a:lnTo>
                  <a:lnTo>
                    <a:pt x="76" y="24"/>
                  </a:lnTo>
                  <a:lnTo>
                    <a:pt x="73" y="25"/>
                  </a:lnTo>
                  <a:lnTo>
                    <a:pt x="72" y="25"/>
                  </a:lnTo>
                  <a:lnTo>
                    <a:pt x="71" y="25"/>
                  </a:lnTo>
                  <a:lnTo>
                    <a:pt x="70" y="25"/>
                  </a:lnTo>
                  <a:lnTo>
                    <a:pt x="69" y="26"/>
                  </a:lnTo>
                  <a:lnTo>
                    <a:pt x="68" y="27"/>
                  </a:lnTo>
                  <a:lnTo>
                    <a:pt x="68" y="31"/>
                  </a:lnTo>
                  <a:lnTo>
                    <a:pt x="81" y="30"/>
                  </a:lnTo>
                  <a:lnTo>
                    <a:pt x="83" y="29"/>
                  </a:lnTo>
                  <a:lnTo>
                    <a:pt x="84" y="28"/>
                  </a:lnTo>
                  <a:lnTo>
                    <a:pt x="84" y="25"/>
                  </a:lnTo>
                  <a:lnTo>
                    <a:pt x="84" y="24"/>
                  </a:lnTo>
                  <a:lnTo>
                    <a:pt x="84" y="23"/>
                  </a:lnTo>
                  <a:lnTo>
                    <a:pt x="82" y="21"/>
                  </a:lnTo>
                  <a:close/>
                  <a:moveTo>
                    <a:pt x="10" y="21"/>
                  </a:moveTo>
                  <a:lnTo>
                    <a:pt x="8" y="23"/>
                  </a:lnTo>
                  <a:lnTo>
                    <a:pt x="7" y="23"/>
                  </a:lnTo>
                  <a:lnTo>
                    <a:pt x="7" y="24"/>
                  </a:lnTo>
                  <a:lnTo>
                    <a:pt x="7" y="25"/>
                  </a:lnTo>
                  <a:lnTo>
                    <a:pt x="7" y="28"/>
                  </a:lnTo>
                  <a:lnTo>
                    <a:pt x="8" y="29"/>
                  </a:lnTo>
                  <a:lnTo>
                    <a:pt x="9" y="30"/>
                  </a:lnTo>
                  <a:lnTo>
                    <a:pt x="10" y="30"/>
                  </a:lnTo>
                  <a:lnTo>
                    <a:pt x="22" y="31"/>
                  </a:lnTo>
                  <a:lnTo>
                    <a:pt x="22" y="27"/>
                  </a:lnTo>
                  <a:lnTo>
                    <a:pt x="22" y="26"/>
                  </a:lnTo>
                  <a:lnTo>
                    <a:pt x="21" y="25"/>
                  </a:lnTo>
                  <a:lnTo>
                    <a:pt x="20" y="25"/>
                  </a:lnTo>
                  <a:lnTo>
                    <a:pt x="19" y="25"/>
                  </a:lnTo>
                  <a:lnTo>
                    <a:pt x="17" y="25"/>
                  </a:lnTo>
                  <a:lnTo>
                    <a:pt x="15" y="24"/>
                  </a:lnTo>
                  <a:lnTo>
                    <a:pt x="13" y="23"/>
                  </a:lnTo>
                  <a:lnTo>
                    <a:pt x="11" y="23"/>
                  </a:lnTo>
                  <a:lnTo>
                    <a:pt x="10" y="21"/>
                  </a:lnTo>
                  <a:close/>
                  <a:moveTo>
                    <a:pt x="26" y="3"/>
                  </a:moveTo>
                  <a:lnTo>
                    <a:pt x="13" y="16"/>
                  </a:lnTo>
                  <a:lnTo>
                    <a:pt x="15" y="15"/>
                  </a:lnTo>
                  <a:lnTo>
                    <a:pt x="22" y="15"/>
                  </a:lnTo>
                  <a:lnTo>
                    <a:pt x="31" y="15"/>
                  </a:lnTo>
                  <a:lnTo>
                    <a:pt x="40" y="14"/>
                  </a:lnTo>
                  <a:lnTo>
                    <a:pt x="46" y="14"/>
                  </a:lnTo>
                  <a:lnTo>
                    <a:pt x="53" y="14"/>
                  </a:lnTo>
                  <a:lnTo>
                    <a:pt x="60" y="15"/>
                  </a:lnTo>
                  <a:lnTo>
                    <a:pt x="69" y="15"/>
                  </a:lnTo>
                  <a:lnTo>
                    <a:pt x="76" y="15"/>
                  </a:lnTo>
                  <a:lnTo>
                    <a:pt x="78" y="16"/>
                  </a:lnTo>
                  <a:lnTo>
                    <a:pt x="78" y="15"/>
                  </a:lnTo>
                  <a:lnTo>
                    <a:pt x="77" y="14"/>
                  </a:lnTo>
                  <a:lnTo>
                    <a:pt x="74" y="13"/>
                  </a:lnTo>
                  <a:lnTo>
                    <a:pt x="72" y="11"/>
                  </a:lnTo>
                  <a:lnTo>
                    <a:pt x="70" y="9"/>
                  </a:lnTo>
                  <a:lnTo>
                    <a:pt x="68" y="6"/>
                  </a:lnTo>
                  <a:lnTo>
                    <a:pt x="66" y="5"/>
                  </a:lnTo>
                  <a:lnTo>
                    <a:pt x="65" y="3"/>
                  </a:lnTo>
                  <a:lnTo>
                    <a:pt x="64" y="3"/>
                  </a:lnTo>
                  <a:lnTo>
                    <a:pt x="26" y="3"/>
                  </a:lnTo>
                  <a:close/>
                  <a:moveTo>
                    <a:pt x="27" y="0"/>
                  </a:moveTo>
                  <a:lnTo>
                    <a:pt x="28" y="0"/>
                  </a:lnTo>
                  <a:lnTo>
                    <a:pt x="62" y="0"/>
                  </a:lnTo>
                  <a:lnTo>
                    <a:pt x="65" y="0"/>
                  </a:lnTo>
                  <a:lnTo>
                    <a:pt x="66" y="1"/>
                  </a:lnTo>
                  <a:lnTo>
                    <a:pt x="67" y="1"/>
                  </a:lnTo>
                  <a:lnTo>
                    <a:pt x="80" y="13"/>
                  </a:lnTo>
                  <a:lnTo>
                    <a:pt x="81" y="13"/>
                  </a:lnTo>
                  <a:lnTo>
                    <a:pt x="83" y="12"/>
                  </a:lnTo>
                  <a:lnTo>
                    <a:pt x="84" y="12"/>
                  </a:lnTo>
                  <a:lnTo>
                    <a:pt x="86" y="11"/>
                  </a:lnTo>
                  <a:lnTo>
                    <a:pt x="87" y="11"/>
                  </a:lnTo>
                  <a:lnTo>
                    <a:pt x="88" y="12"/>
                  </a:lnTo>
                  <a:lnTo>
                    <a:pt x="88" y="13"/>
                  </a:lnTo>
                  <a:lnTo>
                    <a:pt x="90" y="14"/>
                  </a:lnTo>
                  <a:lnTo>
                    <a:pt x="91" y="16"/>
                  </a:lnTo>
                  <a:lnTo>
                    <a:pt x="88" y="17"/>
                  </a:lnTo>
                  <a:lnTo>
                    <a:pt x="87" y="17"/>
                  </a:lnTo>
                  <a:lnTo>
                    <a:pt x="84" y="17"/>
                  </a:lnTo>
                  <a:lnTo>
                    <a:pt x="85" y="19"/>
                  </a:lnTo>
                  <a:lnTo>
                    <a:pt x="86" y="21"/>
                  </a:lnTo>
                  <a:lnTo>
                    <a:pt x="86" y="24"/>
                  </a:lnTo>
                  <a:lnTo>
                    <a:pt x="86" y="25"/>
                  </a:lnTo>
                  <a:lnTo>
                    <a:pt x="86" y="47"/>
                  </a:lnTo>
                  <a:lnTo>
                    <a:pt x="85" y="48"/>
                  </a:lnTo>
                  <a:lnTo>
                    <a:pt x="85" y="49"/>
                  </a:lnTo>
                  <a:lnTo>
                    <a:pt x="84" y="49"/>
                  </a:lnTo>
                  <a:lnTo>
                    <a:pt x="70" y="49"/>
                  </a:lnTo>
                  <a:lnTo>
                    <a:pt x="68" y="48"/>
                  </a:lnTo>
                  <a:lnTo>
                    <a:pt x="67" y="48"/>
                  </a:lnTo>
                  <a:lnTo>
                    <a:pt x="67" y="47"/>
                  </a:lnTo>
                  <a:lnTo>
                    <a:pt x="67" y="46"/>
                  </a:lnTo>
                  <a:lnTo>
                    <a:pt x="22" y="46"/>
                  </a:lnTo>
                  <a:lnTo>
                    <a:pt x="22" y="47"/>
                  </a:lnTo>
                  <a:lnTo>
                    <a:pt x="22" y="48"/>
                  </a:lnTo>
                  <a:lnTo>
                    <a:pt x="22" y="49"/>
                  </a:lnTo>
                  <a:lnTo>
                    <a:pt x="21" y="49"/>
                  </a:lnTo>
                  <a:lnTo>
                    <a:pt x="7" y="49"/>
                  </a:lnTo>
                  <a:lnTo>
                    <a:pt x="5" y="48"/>
                  </a:lnTo>
                  <a:lnTo>
                    <a:pt x="3" y="48"/>
                  </a:lnTo>
                  <a:lnTo>
                    <a:pt x="3" y="47"/>
                  </a:lnTo>
                  <a:lnTo>
                    <a:pt x="3" y="20"/>
                  </a:lnTo>
                  <a:lnTo>
                    <a:pt x="5" y="19"/>
                  </a:lnTo>
                  <a:lnTo>
                    <a:pt x="6" y="18"/>
                  </a:lnTo>
                  <a:lnTo>
                    <a:pt x="6" y="17"/>
                  </a:lnTo>
                  <a:lnTo>
                    <a:pt x="7" y="17"/>
                  </a:lnTo>
                  <a:lnTo>
                    <a:pt x="1" y="17"/>
                  </a:lnTo>
                  <a:lnTo>
                    <a:pt x="0" y="17"/>
                  </a:lnTo>
                  <a:lnTo>
                    <a:pt x="0" y="16"/>
                  </a:lnTo>
                  <a:lnTo>
                    <a:pt x="1" y="13"/>
                  </a:lnTo>
                  <a:lnTo>
                    <a:pt x="2" y="12"/>
                  </a:lnTo>
                  <a:lnTo>
                    <a:pt x="2" y="11"/>
                  </a:lnTo>
                  <a:lnTo>
                    <a:pt x="3" y="11"/>
                  </a:lnTo>
                  <a:lnTo>
                    <a:pt x="10" y="11"/>
                  </a:lnTo>
                  <a:lnTo>
                    <a:pt x="11" y="12"/>
                  </a:lnTo>
                  <a:lnTo>
                    <a:pt x="11" y="13"/>
                  </a:lnTo>
                  <a:lnTo>
                    <a:pt x="12" y="12"/>
                  </a:lnTo>
                  <a:lnTo>
                    <a:pt x="13" y="11"/>
                  </a:lnTo>
                  <a:lnTo>
                    <a:pt x="15" y="10"/>
                  </a:lnTo>
                  <a:lnTo>
                    <a:pt x="17" y="7"/>
                  </a:lnTo>
                  <a:lnTo>
                    <a:pt x="20" y="5"/>
                  </a:lnTo>
                  <a:lnTo>
                    <a:pt x="22" y="3"/>
                  </a:lnTo>
                  <a:lnTo>
                    <a:pt x="24" y="1"/>
                  </a:lnTo>
                  <a:lnTo>
                    <a:pt x="25" y="0"/>
                  </a:lnTo>
                  <a:lnTo>
                    <a:pt x="26" y="0"/>
                  </a:lnTo>
                  <a:lnTo>
                    <a:pt x="27" y="0"/>
                  </a:lnTo>
                  <a:close/>
                </a:path>
              </a:pathLst>
            </a:custGeom>
            <a:solidFill>
              <a:srgbClr val="2F5AA8"/>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091" name="Rectangle 483"/>
            <p:cNvSpPr>
              <a:spLocks noChangeArrowheads="1"/>
            </p:cNvSpPr>
            <p:nvPr/>
          </p:nvSpPr>
          <p:spPr bwMode="auto">
            <a:xfrm>
              <a:off x="2191" y="2877"/>
              <a:ext cx="4" cy="11"/>
            </a:xfrm>
            <a:prstGeom prst="rect">
              <a:avLst/>
            </a:prstGeom>
            <a:solidFill>
              <a:srgbClr val="2F5AA8"/>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eaLnBrk="1" hangingPunct="1"/>
              <a:endParaRPr lang="es-ES" altLang="es-CL" dirty="0">
                <a:solidFill>
                  <a:srgbClr val="333333"/>
                </a:solidFill>
                <a:latin typeface="Arial" pitchFamily="34" charset="0"/>
              </a:endParaRPr>
            </a:p>
          </p:txBody>
        </p:sp>
        <p:sp>
          <p:nvSpPr>
            <p:cNvPr id="2092" name="Freeform 484"/>
            <p:cNvSpPr>
              <a:spLocks noEditPoints="1"/>
            </p:cNvSpPr>
            <p:nvPr/>
          </p:nvSpPr>
          <p:spPr bwMode="auto">
            <a:xfrm>
              <a:off x="1286" y="2796"/>
              <a:ext cx="889" cy="90"/>
            </a:xfrm>
            <a:custGeom>
              <a:avLst/>
              <a:gdLst>
                <a:gd name="T0" fmla="*/ 888 w 889"/>
                <a:gd name="T1" fmla="*/ 90 h 90"/>
                <a:gd name="T2" fmla="*/ 857 w 889"/>
                <a:gd name="T3" fmla="*/ 76 h 90"/>
                <a:gd name="T4" fmla="*/ 856 w 889"/>
                <a:gd name="T5" fmla="*/ 86 h 90"/>
                <a:gd name="T6" fmla="*/ 839 w 889"/>
                <a:gd name="T7" fmla="*/ 74 h 90"/>
                <a:gd name="T8" fmla="*/ 832 w 889"/>
                <a:gd name="T9" fmla="*/ 73 h 90"/>
                <a:gd name="T10" fmla="*/ 812 w 889"/>
                <a:gd name="T11" fmla="*/ 83 h 90"/>
                <a:gd name="T12" fmla="*/ 782 w 889"/>
                <a:gd name="T13" fmla="*/ 69 h 90"/>
                <a:gd name="T14" fmla="*/ 781 w 889"/>
                <a:gd name="T15" fmla="*/ 80 h 90"/>
                <a:gd name="T16" fmla="*/ 762 w 889"/>
                <a:gd name="T17" fmla="*/ 68 h 90"/>
                <a:gd name="T18" fmla="*/ 756 w 889"/>
                <a:gd name="T19" fmla="*/ 67 h 90"/>
                <a:gd name="T20" fmla="*/ 737 w 889"/>
                <a:gd name="T21" fmla="*/ 77 h 90"/>
                <a:gd name="T22" fmla="*/ 705 w 889"/>
                <a:gd name="T23" fmla="*/ 63 h 90"/>
                <a:gd name="T24" fmla="*/ 704 w 889"/>
                <a:gd name="T25" fmla="*/ 73 h 90"/>
                <a:gd name="T26" fmla="*/ 687 w 889"/>
                <a:gd name="T27" fmla="*/ 60 h 90"/>
                <a:gd name="T28" fmla="*/ 681 w 889"/>
                <a:gd name="T29" fmla="*/ 60 h 90"/>
                <a:gd name="T30" fmla="*/ 660 w 889"/>
                <a:gd name="T31" fmla="*/ 69 h 90"/>
                <a:gd name="T32" fmla="*/ 630 w 889"/>
                <a:gd name="T33" fmla="*/ 56 h 90"/>
                <a:gd name="T34" fmla="*/ 629 w 889"/>
                <a:gd name="T35" fmla="*/ 67 h 90"/>
                <a:gd name="T36" fmla="*/ 611 w 889"/>
                <a:gd name="T37" fmla="*/ 54 h 90"/>
                <a:gd name="T38" fmla="*/ 604 w 889"/>
                <a:gd name="T39" fmla="*/ 54 h 90"/>
                <a:gd name="T40" fmla="*/ 585 w 889"/>
                <a:gd name="T41" fmla="*/ 63 h 90"/>
                <a:gd name="T42" fmla="*/ 554 w 889"/>
                <a:gd name="T43" fmla="*/ 50 h 90"/>
                <a:gd name="T44" fmla="*/ 553 w 889"/>
                <a:gd name="T45" fmla="*/ 60 h 90"/>
                <a:gd name="T46" fmla="*/ 535 w 889"/>
                <a:gd name="T47" fmla="*/ 48 h 90"/>
                <a:gd name="T48" fmla="*/ 529 w 889"/>
                <a:gd name="T49" fmla="*/ 46 h 90"/>
                <a:gd name="T50" fmla="*/ 509 w 889"/>
                <a:gd name="T51" fmla="*/ 56 h 90"/>
                <a:gd name="T52" fmla="*/ 478 w 889"/>
                <a:gd name="T53" fmla="*/ 42 h 90"/>
                <a:gd name="T54" fmla="*/ 477 w 889"/>
                <a:gd name="T55" fmla="*/ 53 h 90"/>
                <a:gd name="T56" fmla="*/ 459 w 889"/>
                <a:gd name="T57" fmla="*/ 41 h 90"/>
                <a:gd name="T58" fmla="*/ 454 w 889"/>
                <a:gd name="T59" fmla="*/ 40 h 90"/>
                <a:gd name="T60" fmla="*/ 433 w 889"/>
                <a:gd name="T61" fmla="*/ 50 h 90"/>
                <a:gd name="T62" fmla="*/ 403 w 889"/>
                <a:gd name="T63" fmla="*/ 36 h 90"/>
                <a:gd name="T64" fmla="*/ 402 w 889"/>
                <a:gd name="T65" fmla="*/ 46 h 90"/>
                <a:gd name="T66" fmla="*/ 384 w 889"/>
                <a:gd name="T67" fmla="*/ 35 h 90"/>
                <a:gd name="T68" fmla="*/ 377 w 889"/>
                <a:gd name="T69" fmla="*/ 34 h 90"/>
                <a:gd name="T70" fmla="*/ 357 w 889"/>
                <a:gd name="T71" fmla="*/ 42 h 90"/>
                <a:gd name="T72" fmla="*/ 327 w 889"/>
                <a:gd name="T73" fmla="*/ 29 h 90"/>
                <a:gd name="T74" fmla="*/ 326 w 889"/>
                <a:gd name="T75" fmla="*/ 40 h 90"/>
                <a:gd name="T76" fmla="*/ 309 w 889"/>
                <a:gd name="T77" fmla="*/ 27 h 90"/>
                <a:gd name="T78" fmla="*/ 302 w 889"/>
                <a:gd name="T79" fmla="*/ 27 h 90"/>
                <a:gd name="T80" fmla="*/ 282 w 889"/>
                <a:gd name="T81" fmla="*/ 36 h 90"/>
                <a:gd name="T82" fmla="*/ 252 w 889"/>
                <a:gd name="T83" fmla="*/ 23 h 90"/>
                <a:gd name="T84" fmla="*/ 250 w 889"/>
                <a:gd name="T85" fmla="*/ 34 h 90"/>
                <a:gd name="T86" fmla="*/ 232 w 889"/>
                <a:gd name="T87" fmla="*/ 21 h 90"/>
                <a:gd name="T88" fmla="*/ 226 w 889"/>
                <a:gd name="T89" fmla="*/ 21 h 90"/>
                <a:gd name="T90" fmla="*/ 206 w 889"/>
                <a:gd name="T91" fmla="*/ 29 h 90"/>
                <a:gd name="T92" fmla="*/ 175 w 889"/>
                <a:gd name="T93" fmla="*/ 15 h 90"/>
                <a:gd name="T94" fmla="*/ 174 w 889"/>
                <a:gd name="T95" fmla="*/ 26 h 90"/>
                <a:gd name="T96" fmla="*/ 157 w 889"/>
                <a:gd name="T97" fmla="*/ 14 h 90"/>
                <a:gd name="T98" fmla="*/ 150 w 889"/>
                <a:gd name="T99" fmla="*/ 13 h 90"/>
                <a:gd name="T100" fmla="*/ 130 w 889"/>
                <a:gd name="T101" fmla="*/ 23 h 90"/>
                <a:gd name="T102" fmla="*/ 100 w 889"/>
                <a:gd name="T103" fmla="*/ 9 h 90"/>
                <a:gd name="T104" fmla="*/ 99 w 889"/>
                <a:gd name="T105" fmla="*/ 20 h 90"/>
                <a:gd name="T106" fmla="*/ 81 w 889"/>
                <a:gd name="T107" fmla="*/ 8 h 90"/>
                <a:gd name="T108" fmla="*/ 74 w 889"/>
                <a:gd name="T109" fmla="*/ 7 h 90"/>
                <a:gd name="T110" fmla="*/ 55 w 889"/>
                <a:gd name="T111" fmla="*/ 16 h 90"/>
                <a:gd name="T112" fmla="*/ 24 w 889"/>
                <a:gd name="T113" fmla="*/ 2 h 90"/>
                <a:gd name="T114" fmla="*/ 22 w 889"/>
                <a:gd name="T115" fmla="*/ 13 h 90"/>
                <a:gd name="T116" fmla="*/ 5 w 889"/>
                <a:gd name="T117" fmla="*/ 0 h 90"/>
                <a:gd name="T118" fmla="*/ 1 w 889"/>
                <a:gd name="T119" fmla="*/ 0 h 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9" h="90">
                  <a:moveTo>
                    <a:pt x="883" y="79"/>
                  </a:moveTo>
                  <a:lnTo>
                    <a:pt x="889" y="79"/>
                  </a:lnTo>
                  <a:lnTo>
                    <a:pt x="888" y="90"/>
                  </a:lnTo>
                  <a:lnTo>
                    <a:pt x="882" y="90"/>
                  </a:lnTo>
                  <a:lnTo>
                    <a:pt x="883" y="79"/>
                  </a:lnTo>
                  <a:close/>
                  <a:moveTo>
                    <a:pt x="857" y="76"/>
                  </a:moveTo>
                  <a:lnTo>
                    <a:pt x="863" y="77"/>
                  </a:lnTo>
                  <a:lnTo>
                    <a:pt x="862" y="87"/>
                  </a:lnTo>
                  <a:lnTo>
                    <a:pt x="856" y="86"/>
                  </a:lnTo>
                  <a:lnTo>
                    <a:pt x="857" y="76"/>
                  </a:lnTo>
                  <a:close/>
                  <a:moveTo>
                    <a:pt x="832" y="73"/>
                  </a:moveTo>
                  <a:lnTo>
                    <a:pt x="839" y="74"/>
                  </a:lnTo>
                  <a:lnTo>
                    <a:pt x="838" y="85"/>
                  </a:lnTo>
                  <a:lnTo>
                    <a:pt x="831" y="84"/>
                  </a:lnTo>
                  <a:lnTo>
                    <a:pt x="832" y="73"/>
                  </a:lnTo>
                  <a:close/>
                  <a:moveTo>
                    <a:pt x="806" y="71"/>
                  </a:moveTo>
                  <a:lnTo>
                    <a:pt x="813" y="72"/>
                  </a:lnTo>
                  <a:lnTo>
                    <a:pt x="812" y="83"/>
                  </a:lnTo>
                  <a:lnTo>
                    <a:pt x="805" y="82"/>
                  </a:lnTo>
                  <a:lnTo>
                    <a:pt x="806" y="71"/>
                  </a:lnTo>
                  <a:close/>
                  <a:moveTo>
                    <a:pt x="782" y="69"/>
                  </a:moveTo>
                  <a:lnTo>
                    <a:pt x="788" y="70"/>
                  </a:lnTo>
                  <a:lnTo>
                    <a:pt x="787" y="81"/>
                  </a:lnTo>
                  <a:lnTo>
                    <a:pt x="781" y="80"/>
                  </a:lnTo>
                  <a:lnTo>
                    <a:pt x="782" y="69"/>
                  </a:lnTo>
                  <a:close/>
                  <a:moveTo>
                    <a:pt x="756" y="67"/>
                  </a:moveTo>
                  <a:lnTo>
                    <a:pt x="762" y="68"/>
                  </a:lnTo>
                  <a:lnTo>
                    <a:pt x="761" y="79"/>
                  </a:lnTo>
                  <a:lnTo>
                    <a:pt x="755" y="78"/>
                  </a:lnTo>
                  <a:lnTo>
                    <a:pt x="756" y="67"/>
                  </a:lnTo>
                  <a:close/>
                  <a:moveTo>
                    <a:pt x="731" y="65"/>
                  </a:moveTo>
                  <a:lnTo>
                    <a:pt x="738" y="66"/>
                  </a:lnTo>
                  <a:lnTo>
                    <a:pt x="737" y="77"/>
                  </a:lnTo>
                  <a:lnTo>
                    <a:pt x="730" y="76"/>
                  </a:lnTo>
                  <a:lnTo>
                    <a:pt x="731" y="65"/>
                  </a:lnTo>
                  <a:close/>
                  <a:moveTo>
                    <a:pt x="705" y="63"/>
                  </a:moveTo>
                  <a:lnTo>
                    <a:pt x="712" y="64"/>
                  </a:lnTo>
                  <a:lnTo>
                    <a:pt x="711" y="74"/>
                  </a:lnTo>
                  <a:lnTo>
                    <a:pt x="704" y="73"/>
                  </a:lnTo>
                  <a:lnTo>
                    <a:pt x="705" y="63"/>
                  </a:lnTo>
                  <a:close/>
                  <a:moveTo>
                    <a:pt x="681" y="60"/>
                  </a:moveTo>
                  <a:lnTo>
                    <a:pt x="687" y="60"/>
                  </a:lnTo>
                  <a:lnTo>
                    <a:pt x="686" y="71"/>
                  </a:lnTo>
                  <a:lnTo>
                    <a:pt x="680" y="71"/>
                  </a:lnTo>
                  <a:lnTo>
                    <a:pt x="681" y="60"/>
                  </a:lnTo>
                  <a:close/>
                  <a:moveTo>
                    <a:pt x="655" y="58"/>
                  </a:moveTo>
                  <a:lnTo>
                    <a:pt x="661" y="58"/>
                  </a:lnTo>
                  <a:lnTo>
                    <a:pt x="660" y="69"/>
                  </a:lnTo>
                  <a:lnTo>
                    <a:pt x="654" y="69"/>
                  </a:lnTo>
                  <a:lnTo>
                    <a:pt x="655" y="58"/>
                  </a:lnTo>
                  <a:close/>
                  <a:moveTo>
                    <a:pt x="630" y="56"/>
                  </a:moveTo>
                  <a:lnTo>
                    <a:pt x="637" y="56"/>
                  </a:lnTo>
                  <a:lnTo>
                    <a:pt x="635" y="67"/>
                  </a:lnTo>
                  <a:lnTo>
                    <a:pt x="629" y="67"/>
                  </a:lnTo>
                  <a:lnTo>
                    <a:pt x="630" y="56"/>
                  </a:lnTo>
                  <a:close/>
                  <a:moveTo>
                    <a:pt x="604" y="54"/>
                  </a:moveTo>
                  <a:lnTo>
                    <a:pt x="611" y="54"/>
                  </a:lnTo>
                  <a:lnTo>
                    <a:pt x="610" y="65"/>
                  </a:lnTo>
                  <a:lnTo>
                    <a:pt x="603" y="65"/>
                  </a:lnTo>
                  <a:lnTo>
                    <a:pt x="604" y="54"/>
                  </a:lnTo>
                  <a:close/>
                  <a:moveTo>
                    <a:pt x="580" y="52"/>
                  </a:moveTo>
                  <a:lnTo>
                    <a:pt x="586" y="52"/>
                  </a:lnTo>
                  <a:lnTo>
                    <a:pt x="585" y="63"/>
                  </a:lnTo>
                  <a:lnTo>
                    <a:pt x="578" y="63"/>
                  </a:lnTo>
                  <a:lnTo>
                    <a:pt x="580" y="52"/>
                  </a:lnTo>
                  <a:close/>
                  <a:moveTo>
                    <a:pt x="554" y="50"/>
                  </a:moveTo>
                  <a:lnTo>
                    <a:pt x="560" y="50"/>
                  </a:lnTo>
                  <a:lnTo>
                    <a:pt x="559" y="60"/>
                  </a:lnTo>
                  <a:lnTo>
                    <a:pt x="553" y="60"/>
                  </a:lnTo>
                  <a:lnTo>
                    <a:pt x="554" y="50"/>
                  </a:lnTo>
                  <a:close/>
                  <a:moveTo>
                    <a:pt x="529" y="46"/>
                  </a:moveTo>
                  <a:lnTo>
                    <a:pt x="535" y="48"/>
                  </a:lnTo>
                  <a:lnTo>
                    <a:pt x="534" y="58"/>
                  </a:lnTo>
                  <a:lnTo>
                    <a:pt x="528" y="57"/>
                  </a:lnTo>
                  <a:lnTo>
                    <a:pt x="529" y="46"/>
                  </a:lnTo>
                  <a:close/>
                  <a:moveTo>
                    <a:pt x="503" y="44"/>
                  </a:moveTo>
                  <a:lnTo>
                    <a:pt x="510" y="45"/>
                  </a:lnTo>
                  <a:lnTo>
                    <a:pt x="509" y="56"/>
                  </a:lnTo>
                  <a:lnTo>
                    <a:pt x="502" y="55"/>
                  </a:lnTo>
                  <a:lnTo>
                    <a:pt x="503" y="44"/>
                  </a:lnTo>
                  <a:close/>
                  <a:moveTo>
                    <a:pt x="478" y="42"/>
                  </a:moveTo>
                  <a:lnTo>
                    <a:pt x="485" y="43"/>
                  </a:lnTo>
                  <a:lnTo>
                    <a:pt x="484" y="54"/>
                  </a:lnTo>
                  <a:lnTo>
                    <a:pt x="477" y="53"/>
                  </a:lnTo>
                  <a:lnTo>
                    <a:pt x="478" y="42"/>
                  </a:lnTo>
                  <a:close/>
                  <a:moveTo>
                    <a:pt x="454" y="40"/>
                  </a:moveTo>
                  <a:lnTo>
                    <a:pt x="459" y="41"/>
                  </a:lnTo>
                  <a:lnTo>
                    <a:pt x="458" y="52"/>
                  </a:lnTo>
                  <a:lnTo>
                    <a:pt x="453" y="51"/>
                  </a:lnTo>
                  <a:lnTo>
                    <a:pt x="454" y="40"/>
                  </a:lnTo>
                  <a:close/>
                  <a:moveTo>
                    <a:pt x="428" y="38"/>
                  </a:moveTo>
                  <a:lnTo>
                    <a:pt x="434" y="39"/>
                  </a:lnTo>
                  <a:lnTo>
                    <a:pt x="433" y="50"/>
                  </a:lnTo>
                  <a:lnTo>
                    <a:pt x="427" y="49"/>
                  </a:lnTo>
                  <a:lnTo>
                    <a:pt x="428" y="38"/>
                  </a:lnTo>
                  <a:close/>
                  <a:moveTo>
                    <a:pt x="403" y="36"/>
                  </a:moveTo>
                  <a:lnTo>
                    <a:pt x="409" y="37"/>
                  </a:lnTo>
                  <a:lnTo>
                    <a:pt x="408" y="48"/>
                  </a:lnTo>
                  <a:lnTo>
                    <a:pt x="402" y="46"/>
                  </a:lnTo>
                  <a:lnTo>
                    <a:pt x="403" y="36"/>
                  </a:lnTo>
                  <a:close/>
                  <a:moveTo>
                    <a:pt x="377" y="34"/>
                  </a:moveTo>
                  <a:lnTo>
                    <a:pt x="384" y="35"/>
                  </a:lnTo>
                  <a:lnTo>
                    <a:pt x="383" y="45"/>
                  </a:lnTo>
                  <a:lnTo>
                    <a:pt x="376" y="44"/>
                  </a:lnTo>
                  <a:lnTo>
                    <a:pt x="377" y="34"/>
                  </a:lnTo>
                  <a:close/>
                  <a:moveTo>
                    <a:pt x="353" y="31"/>
                  </a:moveTo>
                  <a:lnTo>
                    <a:pt x="358" y="31"/>
                  </a:lnTo>
                  <a:lnTo>
                    <a:pt x="357" y="42"/>
                  </a:lnTo>
                  <a:lnTo>
                    <a:pt x="352" y="42"/>
                  </a:lnTo>
                  <a:lnTo>
                    <a:pt x="353" y="31"/>
                  </a:lnTo>
                  <a:close/>
                  <a:moveTo>
                    <a:pt x="327" y="29"/>
                  </a:moveTo>
                  <a:lnTo>
                    <a:pt x="333" y="29"/>
                  </a:lnTo>
                  <a:lnTo>
                    <a:pt x="332" y="40"/>
                  </a:lnTo>
                  <a:lnTo>
                    <a:pt x="326" y="40"/>
                  </a:lnTo>
                  <a:lnTo>
                    <a:pt x="327" y="29"/>
                  </a:lnTo>
                  <a:close/>
                  <a:moveTo>
                    <a:pt x="302" y="27"/>
                  </a:moveTo>
                  <a:lnTo>
                    <a:pt x="309" y="27"/>
                  </a:lnTo>
                  <a:lnTo>
                    <a:pt x="307" y="38"/>
                  </a:lnTo>
                  <a:lnTo>
                    <a:pt x="301" y="38"/>
                  </a:lnTo>
                  <a:lnTo>
                    <a:pt x="302" y="27"/>
                  </a:lnTo>
                  <a:close/>
                  <a:moveTo>
                    <a:pt x="276" y="25"/>
                  </a:moveTo>
                  <a:lnTo>
                    <a:pt x="283" y="25"/>
                  </a:lnTo>
                  <a:lnTo>
                    <a:pt x="282" y="36"/>
                  </a:lnTo>
                  <a:lnTo>
                    <a:pt x="275" y="36"/>
                  </a:lnTo>
                  <a:lnTo>
                    <a:pt x="276" y="25"/>
                  </a:lnTo>
                  <a:close/>
                  <a:moveTo>
                    <a:pt x="252" y="23"/>
                  </a:moveTo>
                  <a:lnTo>
                    <a:pt x="258" y="23"/>
                  </a:lnTo>
                  <a:lnTo>
                    <a:pt x="257" y="34"/>
                  </a:lnTo>
                  <a:lnTo>
                    <a:pt x="250" y="34"/>
                  </a:lnTo>
                  <a:lnTo>
                    <a:pt x="252" y="23"/>
                  </a:lnTo>
                  <a:close/>
                  <a:moveTo>
                    <a:pt x="226" y="21"/>
                  </a:moveTo>
                  <a:lnTo>
                    <a:pt x="232" y="21"/>
                  </a:lnTo>
                  <a:lnTo>
                    <a:pt x="231" y="31"/>
                  </a:lnTo>
                  <a:lnTo>
                    <a:pt x="225" y="31"/>
                  </a:lnTo>
                  <a:lnTo>
                    <a:pt x="226" y="21"/>
                  </a:lnTo>
                  <a:close/>
                  <a:moveTo>
                    <a:pt x="201" y="17"/>
                  </a:moveTo>
                  <a:lnTo>
                    <a:pt x="207" y="18"/>
                  </a:lnTo>
                  <a:lnTo>
                    <a:pt x="206" y="29"/>
                  </a:lnTo>
                  <a:lnTo>
                    <a:pt x="200" y="28"/>
                  </a:lnTo>
                  <a:lnTo>
                    <a:pt x="201" y="17"/>
                  </a:lnTo>
                  <a:close/>
                  <a:moveTo>
                    <a:pt x="175" y="15"/>
                  </a:moveTo>
                  <a:lnTo>
                    <a:pt x="182" y="16"/>
                  </a:lnTo>
                  <a:lnTo>
                    <a:pt x="181" y="27"/>
                  </a:lnTo>
                  <a:lnTo>
                    <a:pt x="174" y="26"/>
                  </a:lnTo>
                  <a:lnTo>
                    <a:pt x="175" y="15"/>
                  </a:lnTo>
                  <a:close/>
                  <a:moveTo>
                    <a:pt x="150" y="13"/>
                  </a:moveTo>
                  <a:lnTo>
                    <a:pt x="157" y="14"/>
                  </a:lnTo>
                  <a:lnTo>
                    <a:pt x="156" y="25"/>
                  </a:lnTo>
                  <a:lnTo>
                    <a:pt x="149" y="24"/>
                  </a:lnTo>
                  <a:lnTo>
                    <a:pt x="150" y="13"/>
                  </a:lnTo>
                  <a:close/>
                  <a:moveTo>
                    <a:pt x="125" y="11"/>
                  </a:moveTo>
                  <a:lnTo>
                    <a:pt x="131" y="12"/>
                  </a:lnTo>
                  <a:lnTo>
                    <a:pt x="130" y="23"/>
                  </a:lnTo>
                  <a:lnTo>
                    <a:pt x="124" y="22"/>
                  </a:lnTo>
                  <a:lnTo>
                    <a:pt x="125" y="11"/>
                  </a:lnTo>
                  <a:close/>
                  <a:moveTo>
                    <a:pt x="100" y="9"/>
                  </a:moveTo>
                  <a:lnTo>
                    <a:pt x="106" y="10"/>
                  </a:lnTo>
                  <a:lnTo>
                    <a:pt x="105" y="21"/>
                  </a:lnTo>
                  <a:lnTo>
                    <a:pt x="99" y="20"/>
                  </a:lnTo>
                  <a:lnTo>
                    <a:pt x="100" y="9"/>
                  </a:lnTo>
                  <a:close/>
                  <a:moveTo>
                    <a:pt x="74" y="7"/>
                  </a:moveTo>
                  <a:lnTo>
                    <a:pt x="81" y="8"/>
                  </a:lnTo>
                  <a:lnTo>
                    <a:pt x="79" y="18"/>
                  </a:lnTo>
                  <a:lnTo>
                    <a:pt x="73" y="17"/>
                  </a:lnTo>
                  <a:lnTo>
                    <a:pt x="74" y="7"/>
                  </a:lnTo>
                  <a:close/>
                  <a:moveTo>
                    <a:pt x="49" y="4"/>
                  </a:moveTo>
                  <a:lnTo>
                    <a:pt x="56" y="6"/>
                  </a:lnTo>
                  <a:lnTo>
                    <a:pt x="55" y="16"/>
                  </a:lnTo>
                  <a:lnTo>
                    <a:pt x="48" y="15"/>
                  </a:lnTo>
                  <a:lnTo>
                    <a:pt x="49" y="4"/>
                  </a:lnTo>
                  <a:close/>
                  <a:moveTo>
                    <a:pt x="24" y="2"/>
                  </a:moveTo>
                  <a:lnTo>
                    <a:pt x="30" y="2"/>
                  </a:lnTo>
                  <a:lnTo>
                    <a:pt x="29" y="13"/>
                  </a:lnTo>
                  <a:lnTo>
                    <a:pt x="22" y="13"/>
                  </a:lnTo>
                  <a:lnTo>
                    <a:pt x="24" y="2"/>
                  </a:lnTo>
                  <a:close/>
                  <a:moveTo>
                    <a:pt x="1" y="0"/>
                  </a:moveTo>
                  <a:lnTo>
                    <a:pt x="5" y="0"/>
                  </a:lnTo>
                  <a:lnTo>
                    <a:pt x="4" y="11"/>
                  </a:lnTo>
                  <a:lnTo>
                    <a:pt x="0" y="11"/>
                  </a:lnTo>
                  <a:lnTo>
                    <a:pt x="1" y="0"/>
                  </a:lnTo>
                  <a:close/>
                </a:path>
              </a:pathLst>
            </a:custGeom>
            <a:solidFill>
              <a:srgbClr val="2F5AA8"/>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093" name="Rectangle 485"/>
            <p:cNvSpPr>
              <a:spLocks noChangeArrowheads="1"/>
            </p:cNvSpPr>
            <p:nvPr/>
          </p:nvSpPr>
          <p:spPr bwMode="auto">
            <a:xfrm>
              <a:off x="1275" y="2796"/>
              <a:ext cx="3" cy="11"/>
            </a:xfrm>
            <a:prstGeom prst="rect">
              <a:avLst/>
            </a:prstGeom>
            <a:solidFill>
              <a:srgbClr val="2F5AA8"/>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eaLnBrk="1" hangingPunct="1"/>
              <a:endParaRPr lang="es-ES" altLang="es-CL" dirty="0">
                <a:solidFill>
                  <a:srgbClr val="333333"/>
                </a:solidFill>
                <a:latin typeface="Arial" pitchFamily="34" charset="0"/>
              </a:endParaRPr>
            </a:p>
          </p:txBody>
        </p:sp>
        <p:sp>
          <p:nvSpPr>
            <p:cNvPr id="2094" name="Freeform 486"/>
            <p:cNvSpPr>
              <a:spLocks/>
            </p:cNvSpPr>
            <p:nvPr/>
          </p:nvSpPr>
          <p:spPr bwMode="auto">
            <a:xfrm>
              <a:off x="2195" y="2728"/>
              <a:ext cx="341" cy="342"/>
            </a:xfrm>
            <a:custGeom>
              <a:avLst/>
              <a:gdLst>
                <a:gd name="T0" fmla="*/ 171 w 341"/>
                <a:gd name="T1" fmla="*/ 0 h 342"/>
                <a:gd name="T2" fmla="*/ 201 w 341"/>
                <a:gd name="T3" fmla="*/ 2 h 342"/>
                <a:gd name="T4" fmla="*/ 230 w 341"/>
                <a:gd name="T5" fmla="*/ 11 h 342"/>
                <a:gd name="T6" fmla="*/ 256 w 341"/>
                <a:gd name="T7" fmla="*/ 23 h 342"/>
                <a:gd name="T8" fmla="*/ 279 w 341"/>
                <a:gd name="T9" fmla="*/ 40 h 342"/>
                <a:gd name="T10" fmla="*/ 300 w 341"/>
                <a:gd name="T11" fmla="*/ 61 h 342"/>
                <a:gd name="T12" fmla="*/ 317 w 341"/>
                <a:gd name="T13" fmla="*/ 84 h 342"/>
                <a:gd name="T14" fmla="*/ 330 w 341"/>
                <a:gd name="T15" fmla="*/ 111 h 342"/>
                <a:gd name="T16" fmla="*/ 337 w 341"/>
                <a:gd name="T17" fmla="*/ 140 h 342"/>
                <a:gd name="T18" fmla="*/ 341 w 341"/>
                <a:gd name="T19" fmla="*/ 172 h 342"/>
                <a:gd name="T20" fmla="*/ 337 w 341"/>
                <a:gd name="T21" fmla="*/ 202 h 342"/>
                <a:gd name="T22" fmla="*/ 330 w 341"/>
                <a:gd name="T23" fmla="*/ 231 h 342"/>
                <a:gd name="T24" fmla="*/ 317 w 341"/>
                <a:gd name="T25" fmla="*/ 258 h 342"/>
                <a:gd name="T26" fmla="*/ 300 w 341"/>
                <a:gd name="T27" fmla="*/ 281 h 342"/>
                <a:gd name="T28" fmla="*/ 279 w 341"/>
                <a:gd name="T29" fmla="*/ 302 h 342"/>
                <a:gd name="T30" fmla="*/ 256 w 341"/>
                <a:gd name="T31" fmla="*/ 318 h 342"/>
                <a:gd name="T32" fmla="*/ 230 w 341"/>
                <a:gd name="T33" fmla="*/ 331 h 342"/>
                <a:gd name="T34" fmla="*/ 201 w 341"/>
                <a:gd name="T35" fmla="*/ 338 h 342"/>
                <a:gd name="T36" fmla="*/ 171 w 341"/>
                <a:gd name="T37" fmla="*/ 342 h 342"/>
                <a:gd name="T38" fmla="*/ 139 w 341"/>
                <a:gd name="T39" fmla="*/ 338 h 342"/>
                <a:gd name="T40" fmla="*/ 110 w 341"/>
                <a:gd name="T41" fmla="*/ 331 h 342"/>
                <a:gd name="T42" fmla="*/ 84 w 341"/>
                <a:gd name="T43" fmla="*/ 318 h 342"/>
                <a:gd name="T44" fmla="*/ 60 w 341"/>
                <a:gd name="T45" fmla="*/ 302 h 342"/>
                <a:gd name="T46" fmla="*/ 39 w 341"/>
                <a:gd name="T47" fmla="*/ 281 h 342"/>
                <a:gd name="T48" fmla="*/ 22 w 341"/>
                <a:gd name="T49" fmla="*/ 258 h 342"/>
                <a:gd name="T50" fmla="*/ 10 w 341"/>
                <a:gd name="T51" fmla="*/ 231 h 342"/>
                <a:gd name="T52" fmla="*/ 2 w 341"/>
                <a:gd name="T53" fmla="*/ 202 h 342"/>
                <a:gd name="T54" fmla="*/ 0 w 341"/>
                <a:gd name="T55" fmla="*/ 172 h 342"/>
                <a:gd name="T56" fmla="*/ 2 w 341"/>
                <a:gd name="T57" fmla="*/ 140 h 342"/>
                <a:gd name="T58" fmla="*/ 10 w 341"/>
                <a:gd name="T59" fmla="*/ 111 h 342"/>
                <a:gd name="T60" fmla="*/ 22 w 341"/>
                <a:gd name="T61" fmla="*/ 84 h 342"/>
                <a:gd name="T62" fmla="*/ 39 w 341"/>
                <a:gd name="T63" fmla="*/ 61 h 342"/>
                <a:gd name="T64" fmla="*/ 60 w 341"/>
                <a:gd name="T65" fmla="*/ 40 h 342"/>
                <a:gd name="T66" fmla="*/ 84 w 341"/>
                <a:gd name="T67" fmla="*/ 23 h 342"/>
                <a:gd name="T68" fmla="*/ 110 w 341"/>
                <a:gd name="T69" fmla="*/ 11 h 342"/>
                <a:gd name="T70" fmla="*/ 139 w 341"/>
                <a:gd name="T71" fmla="*/ 2 h 342"/>
                <a:gd name="T72" fmla="*/ 171 w 341"/>
                <a:gd name="T73" fmla="*/ 0 h 3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41" h="342">
                  <a:moveTo>
                    <a:pt x="171" y="0"/>
                  </a:moveTo>
                  <a:lnTo>
                    <a:pt x="201" y="2"/>
                  </a:lnTo>
                  <a:lnTo>
                    <a:pt x="230" y="11"/>
                  </a:lnTo>
                  <a:lnTo>
                    <a:pt x="256" y="23"/>
                  </a:lnTo>
                  <a:lnTo>
                    <a:pt x="279" y="40"/>
                  </a:lnTo>
                  <a:lnTo>
                    <a:pt x="300" y="61"/>
                  </a:lnTo>
                  <a:lnTo>
                    <a:pt x="317" y="84"/>
                  </a:lnTo>
                  <a:lnTo>
                    <a:pt x="330" y="111"/>
                  </a:lnTo>
                  <a:lnTo>
                    <a:pt x="337" y="140"/>
                  </a:lnTo>
                  <a:lnTo>
                    <a:pt x="341" y="172"/>
                  </a:lnTo>
                  <a:lnTo>
                    <a:pt x="337" y="202"/>
                  </a:lnTo>
                  <a:lnTo>
                    <a:pt x="330" y="231"/>
                  </a:lnTo>
                  <a:lnTo>
                    <a:pt x="317" y="258"/>
                  </a:lnTo>
                  <a:lnTo>
                    <a:pt x="300" y="281"/>
                  </a:lnTo>
                  <a:lnTo>
                    <a:pt x="279" y="302"/>
                  </a:lnTo>
                  <a:lnTo>
                    <a:pt x="256" y="318"/>
                  </a:lnTo>
                  <a:lnTo>
                    <a:pt x="230" y="331"/>
                  </a:lnTo>
                  <a:lnTo>
                    <a:pt x="201" y="338"/>
                  </a:lnTo>
                  <a:lnTo>
                    <a:pt x="171" y="342"/>
                  </a:lnTo>
                  <a:lnTo>
                    <a:pt x="139" y="338"/>
                  </a:lnTo>
                  <a:lnTo>
                    <a:pt x="110" y="331"/>
                  </a:lnTo>
                  <a:lnTo>
                    <a:pt x="84" y="318"/>
                  </a:lnTo>
                  <a:lnTo>
                    <a:pt x="60" y="302"/>
                  </a:lnTo>
                  <a:lnTo>
                    <a:pt x="39" y="281"/>
                  </a:lnTo>
                  <a:lnTo>
                    <a:pt x="22" y="258"/>
                  </a:lnTo>
                  <a:lnTo>
                    <a:pt x="10" y="231"/>
                  </a:lnTo>
                  <a:lnTo>
                    <a:pt x="2" y="202"/>
                  </a:lnTo>
                  <a:lnTo>
                    <a:pt x="0" y="172"/>
                  </a:lnTo>
                  <a:lnTo>
                    <a:pt x="2" y="140"/>
                  </a:lnTo>
                  <a:lnTo>
                    <a:pt x="10" y="111"/>
                  </a:lnTo>
                  <a:lnTo>
                    <a:pt x="22" y="84"/>
                  </a:lnTo>
                  <a:lnTo>
                    <a:pt x="39" y="61"/>
                  </a:lnTo>
                  <a:lnTo>
                    <a:pt x="60" y="40"/>
                  </a:lnTo>
                  <a:lnTo>
                    <a:pt x="84" y="23"/>
                  </a:lnTo>
                  <a:lnTo>
                    <a:pt x="110" y="11"/>
                  </a:lnTo>
                  <a:lnTo>
                    <a:pt x="139" y="2"/>
                  </a:lnTo>
                  <a:lnTo>
                    <a:pt x="171" y="0"/>
                  </a:lnTo>
                  <a:close/>
                </a:path>
              </a:pathLst>
            </a:custGeom>
            <a:solidFill>
              <a:srgbClr val="29426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095" name="Freeform 487"/>
            <p:cNvSpPr>
              <a:spLocks noEditPoints="1"/>
            </p:cNvSpPr>
            <p:nvPr/>
          </p:nvSpPr>
          <p:spPr bwMode="auto">
            <a:xfrm>
              <a:off x="2188" y="2714"/>
              <a:ext cx="363" cy="364"/>
            </a:xfrm>
            <a:custGeom>
              <a:avLst/>
              <a:gdLst>
                <a:gd name="T0" fmla="*/ 155 w 363"/>
                <a:gd name="T1" fmla="*/ 24 h 364"/>
                <a:gd name="T2" fmla="*/ 109 w 363"/>
                <a:gd name="T3" fmla="*/ 39 h 364"/>
                <a:gd name="T4" fmla="*/ 68 w 363"/>
                <a:gd name="T5" fmla="*/ 68 h 364"/>
                <a:gd name="T6" fmla="*/ 39 w 363"/>
                <a:gd name="T7" fmla="*/ 109 h 364"/>
                <a:gd name="T8" fmla="*/ 23 w 363"/>
                <a:gd name="T9" fmla="*/ 158 h 364"/>
                <a:gd name="T10" fmla="*/ 24 w 363"/>
                <a:gd name="T11" fmla="*/ 214 h 364"/>
                <a:gd name="T12" fmla="*/ 49 w 363"/>
                <a:gd name="T13" fmla="*/ 271 h 364"/>
                <a:gd name="T14" fmla="*/ 91 w 363"/>
                <a:gd name="T15" fmla="*/ 314 h 364"/>
                <a:gd name="T16" fmla="*/ 140 w 363"/>
                <a:gd name="T17" fmla="*/ 337 h 364"/>
                <a:gd name="T18" fmla="*/ 195 w 363"/>
                <a:gd name="T19" fmla="*/ 343 h 364"/>
                <a:gd name="T20" fmla="*/ 248 w 363"/>
                <a:gd name="T21" fmla="*/ 328 h 364"/>
                <a:gd name="T22" fmla="*/ 295 w 363"/>
                <a:gd name="T23" fmla="*/ 295 h 364"/>
                <a:gd name="T24" fmla="*/ 324 w 363"/>
                <a:gd name="T25" fmla="*/ 254 h 364"/>
                <a:gd name="T26" fmla="*/ 339 w 363"/>
                <a:gd name="T27" fmla="*/ 208 h 364"/>
                <a:gd name="T28" fmla="*/ 339 w 363"/>
                <a:gd name="T29" fmla="*/ 158 h 364"/>
                <a:gd name="T30" fmla="*/ 324 w 363"/>
                <a:gd name="T31" fmla="*/ 109 h 364"/>
                <a:gd name="T32" fmla="*/ 295 w 363"/>
                <a:gd name="T33" fmla="*/ 68 h 364"/>
                <a:gd name="T34" fmla="*/ 254 w 363"/>
                <a:gd name="T35" fmla="*/ 39 h 364"/>
                <a:gd name="T36" fmla="*/ 207 w 363"/>
                <a:gd name="T37" fmla="*/ 24 h 364"/>
                <a:gd name="T38" fmla="*/ 181 w 363"/>
                <a:gd name="T39" fmla="*/ 0 h 364"/>
                <a:gd name="T40" fmla="*/ 238 w 363"/>
                <a:gd name="T41" fmla="*/ 9 h 364"/>
                <a:gd name="T42" fmla="*/ 287 w 363"/>
                <a:gd name="T43" fmla="*/ 35 h 364"/>
                <a:gd name="T44" fmla="*/ 328 w 363"/>
                <a:gd name="T45" fmla="*/ 76 h 364"/>
                <a:gd name="T46" fmla="*/ 354 w 363"/>
                <a:gd name="T47" fmla="*/ 126 h 364"/>
                <a:gd name="T48" fmla="*/ 363 w 363"/>
                <a:gd name="T49" fmla="*/ 182 h 364"/>
                <a:gd name="T50" fmla="*/ 354 w 363"/>
                <a:gd name="T51" fmla="*/ 239 h 364"/>
                <a:gd name="T52" fmla="*/ 328 w 363"/>
                <a:gd name="T53" fmla="*/ 289 h 364"/>
                <a:gd name="T54" fmla="*/ 287 w 363"/>
                <a:gd name="T55" fmla="*/ 331 h 364"/>
                <a:gd name="T56" fmla="*/ 237 w 363"/>
                <a:gd name="T57" fmla="*/ 356 h 364"/>
                <a:gd name="T58" fmla="*/ 181 w 363"/>
                <a:gd name="T59" fmla="*/ 364 h 364"/>
                <a:gd name="T60" fmla="*/ 126 w 363"/>
                <a:gd name="T61" fmla="*/ 356 h 364"/>
                <a:gd name="T62" fmla="*/ 75 w 363"/>
                <a:gd name="T63" fmla="*/ 331 h 364"/>
                <a:gd name="T64" fmla="*/ 35 w 363"/>
                <a:gd name="T65" fmla="*/ 289 h 364"/>
                <a:gd name="T66" fmla="*/ 9 w 363"/>
                <a:gd name="T67" fmla="*/ 239 h 364"/>
                <a:gd name="T68" fmla="*/ 0 w 363"/>
                <a:gd name="T69" fmla="*/ 182 h 364"/>
                <a:gd name="T70" fmla="*/ 9 w 363"/>
                <a:gd name="T71" fmla="*/ 126 h 364"/>
                <a:gd name="T72" fmla="*/ 35 w 363"/>
                <a:gd name="T73" fmla="*/ 76 h 364"/>
                <a:gd name="T74" fmla="*/ 74 w 363"/>
                <a:gd name="T75" fmla="*/ 35 h 364"/>
                <a:gd name="T76" fmla="*/ 125 w 363"/>
                <a:gd name="T77" fmla="*/ 9 h 364"/>
                <a:gd name="T78" fmla="*/ 181 w 363"/>
                <a:gd name="T79" fmla="*/ 0 h 36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63" h="364">
                  <a:moveTo>
                    <a:pt x="181" y="22"/>
                  </a:moveTo>
                  <a:lnTo>
                    <a:pt x="155" y="24"/>
                  </a:lnTo>
                  <a:lnTo>
                    <a:pt x="131" y="29"/>
                  </a:lnTo>
                  <a:lnTo>
                    <a:pt x="109" y="39"/>
                  </a:lnTo>
                  <a:lnTo>
                    <a:pt x="87" y="52"/>
                  </a:lnTo>
                  <a:lnTo>
                    <a:pt x="68" y="68"/>
                  </a:lnTo>
                  <a:lnTo>
                    <a:pt x="52" y="88"/>
                  </a:lnTo>
                  <a:lnTo>
                    <a:pt x="39" y="109"/>
                  </a:lnTo>
                  <a:lnTo>
                    <a:pt x="29" y="133"/>
                  </a:lnTo>
                  <a:lnTo>
                    <a:pt x="23" y="158"/>
                  </a:lnTo>
                  <a:lnTo>
                    <a:pt x="21" y="182"/>
                  </a:lnTo>
                  <a:lnTo>
                    <a:pt x="24" y="214"/>
                  </a:lnTo>
                  <a:lnTo>
                    <a:pt x="34" y="244"/>
                  </a:lnTo>
                  <a:lnTo>
                    <a:pt x="49" y="271"/>
                  </a:lnTo>
                  <a:lnTo>
                    <a:pt x="68" y="295"/>
                  </a:lnTo>
                  <a:lnTo>
                    <a:pt x="91" y="314"/>
                  </a:lnTo>
                  <a:lnTo>
                    <a:pt x="114" y="328"/>
                  </a:lnTo>
                  <a:lnTo>
                    <a:pt x="140" y="337"/>
                  </a:lnTo>
                  <a:lnTo>
                    <a:pt x="167" y="343"/>
                  </a:lnTo>
                  <a:lnTo>
                    <a:pt x="195" y="343"/>
                  </a:lnTo>
                  <a:lnTo>
                    <a:pt x="222" y="337"/>
                  </a:lnTo>
                  <a:lnTo>
                    <a:pt x="248" y="328"/>
                  </a:lnTo>
                  <a:lnTo>
                    <a:pt x="272" y="314"/>
                  </a:lnTo>
                  <a:lnTo>
                    <a:pt x="295" y="295"/>
                  </a:lnTo>
                  <a:lnTo>
                    <a:pt x="311" y="276"/>
                  </a:lnTo>
                  <a:lnTo>
                    <a:pt x="324" y="254"/>
                  </a:lnTo>
                  <a:lnTo>
                    <a:pt x="334" y="232"/>
                  </a:lnTo>
                  <a:lnTo>
                    <a:pt x="339" y="208"/>
                  </a:lnTo>
                  <a:lnTo>
                    <a:pt x="341" y="182"/>
                  </a:lnTo>
                  <a:lnTo>
                    <a:pt x="339" y="158"/>
                  </a:lnTo>
                  <a:lnTo>
                    <a:pt x="334" y="133"/>
                  </a:lnTo>
                  <a:lnTo>
                    <a:pt x="324" y="109"/>
                  </a:lnTo>
                  <a:lnTo>
                    <a:pt x="311" y="88"/>
                  </a:lnTo>
                  <a:lnTo>
                    <a:pt x="295" y="68"/>
                  </a:lnTo>
                  <a:lnTo>
                    <a:pt x="276" y="52"/>
                  </a:lnTo>
                  <a:lnTo>
                    <a:pt x="254" y="39"/>
                  </a:lnTo>
                  <a:lnTo>
                    <a:pt x="230" y="29"/>
                  </a:lnTo>
                  <a:lnTo>
                    <a:pt x="207" y="24"/>
                  </a:lnTo>
                  <a:lnTo>
                    <a:pt x="181" y="22"/>
                  </a:lnTo>
                  <a:close/>
                  <a:moveTo>
                    <a:pt x="181" y="0"/>
                  </a:moveTo>
                  <a:lnTo>
                    <a:pt x="210" y="2"/>
                  </a:lnTo>
                  <a:lnTo>
                    <a:pt x="238" y="9"/>
                  </a:lnTo>
                  <a:lnTo>
                    <a:pt x="264" y="20"/>
                  </a:lnTo>
                  <a:lnTo>
                    <a:pt x="287" y="35"/>
                  </a:lnTo>
                  <a:lnTo>
                    <a:pt x="309" y="54"/>
                  </a:lnTo>
                  <a:lnTo>
                    <a:pt x="328" y="76"/>
                  </a:lnTo>
                  <a:lnTo>
                    <a:pt x="343" y="100"/>
                  </a:lnTo>
                  <a:lnTo>
                    <a:pt x="354" y="126"/>
                  </a:lnTo>
                  <a:lnTo>
                    <a:pt x="360" y="153"/>
                  </a:lnTo>
                  <a:lnTo>
                    <a:pt x="363" y="182"/>
                  </a:lnTo>
                  <a:lnTo>
                    <a:pt x="360" y="211"/>
                  </a:lnTo>
                  <a:lnTo>
                    <a:pt x="354" y="239"/>
                  </a:lnTo>
                  <a:lnTo>
                    <a:pt x="343" y="265"/>
                  </a:lnTo>
                  <a:lnTo>
                    <a:pt x="328" y="289"/>
                  </a:lnTo>
                  <a:lnTo>
                    <a:pt x="309" y="312"/>
                  </a:lnTo>
                  <a:lnTo>
                    <a:pt x="287" y="331"/>
                  </a:lnTo>
                  <a:lnTo>
                    <a:pt x="263" y="345"/>
                  </a:lnTo>
                  <a:lnTo>
                    <a:pt x="237" y="356"/>
                  </a:lnTo>
                  <a:lnTo>
                    <a:pt x="209" y="362"/>
                  </a:lnTo>
                  <a:lnTo>
                    <a:pt x="181" y="364"/>
                  </a:lnTo>
                  <a:lnTo>
                    <a:pt x="154" y="362"/>
                  </a:lnTo>
                  <a:lnTo>
                    <a:pt x="126" y="356"/>
                  </a:lnTo>
                  <a:lnTo>
                    <a:pt x="100" y="345"/>
                  </a:lnTo>
                  <a:lnTo>
                    <a:pt x="75" y="331"/>
                  </a:lnTo>
                  <a:lnTo>
                    <a:pt x="53" y="312"/>
                  </a:lnTo>
                  <a:lnTo>
                    <a:pt x="35" y="289"/>
                  </a:lnTo>
                  <a:lnTo>
                    <a:pt x="20" y="265"/>
                  </a:lnTo>
                  <a:lnTo>
                    <a:pt x="9" y="239"/>
                  </a:lnTo>
                  <a:lnTo>
                    <a:pt x="2" y="211"/>
                  </a:lnTo>
                  <a:lnTo>
                    <a:pt x="0" y="182"/>
                  </a:lnTo>
                  <a:lnTo>
                    <a:pt x="2" y="153"/>
                  </a:lnTo>
                  <a:lnTo>
                    <a:pt x="9" y="126"/>
                  </a:lnTo>
                  <a:lnTo>
                    <a:pt x="20" y="100"/>
                  </a:lnTo>
                  <a:lnTo>
                    <a:pt x="35" y="76"/>
                  </a:lnTo>
                  <a:lnTo>
                    <a:pt x="53" y="54"/>
                  </a:lnTo>
                  <a:lnTo>
                    <a:pt x="74" y="35"/>
                  </a:lnTo>
                  <a:lnTo>
                    <a:pt x="99" y="20"/>
                  </a:lnTo>
                  <a:lnTo>
                    <a:pt x="125" y="9"/>
                  </a:lnTo>
                  <a:lnTo>
                    <a:pt x="153" y="2"/>
                  </a:lnTo>
                  <a:lnTo>
                    <a:pt x="181"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096" name="Freeform 488"/>
            <p:cNvSpPr>
              <a:spLocks/>
            </p:cNvSpPr>
            <p:nvPr/>
          </p:nvSpPr>
          <p:spPr bwMode="auto">
            <a:xfrm>
              <a:off x="2316" y="2838"/>
              <a:ext cx="108" cy="22"/>
            </a:xfrm>
            <a:custGeom>
              <a:avLst/>
              <a:gdLst>
                <a:gd name="T0" fmla="*/ 11 w 108"/>
                <a:gd name="T1" fmla="*/ 0 h 22"/>
                <a:gd name="T2" fmla="*/ 97 w 108"/>
                <a:gd name="T3" fmla="*/ 0 h 22"/>
                <a:gd name="T4" fmla="*/ 101 w 108"/>
                <a:gd name="T5" fmla="*/ 0 h 22"/>
                <a:gd name="T6" fmla="*/ 103 w 108"/>
                <a:gd name="T7" fmla="*/ 2 h 22"/>
                <a:gd name="T8" fmla="*/ 106 w 108"/>
                <a:gd name="T9" fmla="*/ 4 h 22"/>
                <a:gd name="T10" fmla="*/ 108 w 108"/>
                <a:gd name="T11" fmla="*/ 8 h 22"/>
                <a:gd name="T12" fmla="*/ 108 w 108"/>
                <a:gd name="T13" fmla="*/ 11 h 22"/>
                <a:gd name="T14" fmla="*/ 108 w 108"/>
                <a:gd name="T15" fmla="*/ 14 h 22"/>
                <a:gd name="T16" fmla="*/ 106 w 108"/>
                <a:gd name="T17" fmla="*/ 17 h 22"/>
                <a:gd name="T18" fmla="*/ 103 w 108"/>
                <a:gd name="T19" fmla="*/ 20 h 22"/>
                <a:gd name="T20" fmla="*/ 101 w 108"/>
                <a:gd name="T21" fmla="*/ 22 h 22"/>
                <a:gd name="T22" fmla="*/ 97 w 108"/>
                <a:gd name="T23" fmla="*/ 22 h 22"/>
                <a:gd name="T24" fmla="*/ 11 w 108"/>
                <a:gd name="T25" fmla="*/ 22 h 22"/>
                <a:gd name="T26" fmla="*/ 9 w 108"/>
                <a:gd name="T27" fmla="*/ 22 h 22"/>
                <a:gd name="T28" fmla="*/ 6 w 108"/>
                <a:gd name="T29" fmla="*/ 20 h 22"/>
                <a:gd name="T30" fmla="*/ 3 w 108"/>
                <a:gd name="T31" fmla="*/ 17 h 22"/>
                <a:gd name="T32" fmla="*/ 1 w 108"/>
                <a:gd name="T33" fmla="*/ 14 h 22"/>
                <a:gd name="T34" fmla="*/ 0 w 108"/>
                <a:gd name="T35" fmla="*/ 11 h 22"/>
                <a:gd name="T36" fmla="*/ 1 w 108"/>
                <a:gd name="T37" fmla="*/ 8 h 22"/>
                <a:gd name="T38" fmla="*/ 3 w 108"/>
                <a:gd name="T39" fmla="*/ 4 h 22"/>
                <a:gd name="T40" fmla="*/ 6 w 108"/>
                <a:gd name="T41" fmla="*/ 2 h 22"/>
                <a:gd name="T42" fmla="*/ 9 w 108"/>
                <a:gd name="T43" fmla="*/ 0 h 22"/>
                <a:gd name="T44" fmla="*/ 11 w 108"/>
                <a:gd name="T45" fmla="*/ 0 h 2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8" h="22">
                  <a:moveTo>
                    <a:pt x="11" y="0"/>
                  </a:moveTo>
                  <a:lnTo>
                    <a:pt x="97" y="0"/>
                  </a:lnTo>
                  <a:lnTo>
                    <a:pt x="101" y="0"/>
                  </a:lnTo>
                  <a:lnTo>
                    <a:pt x="103" y="2"/>
                  </a:lnTo>
                  <a:lnTo>
                    <a:pt x="106" y="4"/>
                  </a:lnTo>
                  <a:lnTo>
                    <a:pt x="108" y="8"/>
                  </a:lnTo>
                  <a:lnTo>
                    <a:pt x="108" y="11"/>
                  </a:lnTo>
                  <a:lnTo>
                    <a:pt x="108" y="14"/>
                  </a:lnTo>
                  <a:lnTo>
                    <a:pt x="106" y="17"/>
                  </a:lnTo>
                  <a:lnTo>
                    <a:pt x="103" y="20"/>
                  </a:lnTo>
                  <a:lnTo>
                    <a:pt x="101" y="22"/>
                  </a:lnTo>
                  <a:lnTo>
                    <a:pt x="97" y="22"/>
                  </a:lnTo>
                  <a:lnTo>
                    <a:pt x="11" y="22"/>
                  </a:lnTo>
                  <a:lnTo>
                    <a:pt x="9" y="22"/>
                  </a:lnTo>
                  <a:lnTo>
                    <a:pt x="6" y="20"/>
                  </a:lnTo>
                  <a:lnTo>
                    <a:pt x="3" y="17"/>
                  </a:lnTo>
                  <a:lnTo>
                    <a:pt x="1" y="14"/>
                  </a:lnTo>
                  <a:lnTo>
                    <a:pt x="0" y="11"/>
                  </a:lnTo>
                  <a:lnTo>
                    <a:pt x="1" y="8"/>
                  </a:lnTo>
                  <a:lnTo>
                    <a:pt x="3" y="4"/>
                  </a:lnTo>
                  <a:lnTo>
                    <a:pt x="6" y="2"/>
                  </a:lnTo>
                  <a:lnTo>
                    <a:pt x="9" y="0"/>
                  </a:lnTo>
                  <a:lnTo>
                    <a:pt x="11"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097" name="Freeform 489"/>
            <p:cNvSpPr>
              <a:spLocks/>
            </p:cNvSpPr>
            <p:nvPr/>
          </p:nvSpPr>
          <p:spPr bwMode="auto">
            <a:xfrm>
              <a:off x="2302" y="2855"/>
              <a:ext cx="65" cy="141"/>
            </a:xfrm>
            <a:custGeom>
              <a:avLst/>
              <a:gdLst>
                <a:gd name="T0" fmla="*/ 43 w 65"/>
                <a:gd name="T1" fmla="*/ 0 h 141"/>
                <a:gd name="T2" fmla="*/ 65 w 65"/>
                <a:gd name="T3" fmla="*/ 0 h 141"/>
                <a:gd name="T4" fmla="*/ 27 w 65"/>
                <a:gd name="T5" fmla="*/ 141 h 141"/>
                <a:gd name="T6" fmla="*/ 0 w 65"/>
                <a:gd name="T7" fmla="*/ 141 h 141"/>
                <a:gd name="T8" fmla="*/ 43 w 65"/>
                <a:gd name="T9" fmla="*/ 0 h 1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5" h="141">
                  <a:moveTo>
                    <a:pt x="43" y="0"/>
                  </a:moveTo>
                  <a:lnTo>
                    <a:pt x="65" y="0"/>
                  </a:lnTo>
                  <a:lnTo>
                    <a:pt x="27" y="141"/>
                  </a:lnTo>
                  <a:lnTo>
                    <a:pt x="0" y="141"/>
                  </a:lnTo>
                  <a:lnTo>
                    <a:pt x="43"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098" name="Freeform 490"/>
            <p:cNvSpPr>
              <a:spLocks/>
            </p:cNvSpPr>
            <p:nvPr/>
          </p:nvSpPr>
          <p:spPr bwMode="auto">
            <a:xfrm>
              <a:off x="2373" y="2855"/>
              <a:ext cx="67" cy="141"/>
            </a:xfrm>
            <a:custGeom>
              <a:avLst/>
              <a:gdLst>
                <a:gd name="T0" fmla="*/ 0 w 67"/>
                <a:gd name="T1" fmla="*/ 0 h 141"/>
                <a:gd name="T2" fmla="*/ 24 w 67"/>
                <a:gd name="T3" fmla="*/ 0 h 141"/>
                <a:gd name="T4" fmla="*/ 67 w 67"/>
                <a:gd name="T5" fmla="*/ 141 h 141"/>
                <a:gd name="T6" fmla="*/ 40 w 67"/>
                <a:gd name="T7" fmla="*/ 141 h 141"/>
                <a:gd name="T8" fmla="*/ 0 w 67"/>
                <a:gd name="T9" fmla="*/ 0 h 1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7" h="141">
                  <a:moveTo>
                    <a:pt x="0" y="0"/>
                  </a:moveTo>
                  <a:lnTo>
                    <a:pt x="24" y="0"/>
                  </a:lnTo>
                  <a:lnTo>
                    <a:pt x="67" y="141"/>
                  </a:lnTo>
                  <a:lnTo>
                    <a:pt x="40" y="141"/>
                  </a:lnTo>
                  <a:lnTo>
                    <a:pt x="0"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099" name="Rectangle 491"/>
            <p:cNvSpPr>
              <a:spLocks noChangeArrowheads="1"/>
            </p:cNvSpPr>
            <p:nvPr/>
          </p:nvSpPr>
          <p:spPr bwMode="auto">
            <a:xfrm>
              <a:off x="2346" y="2886"/>
              <a:ext cx="54" cy="12"/>
            </a:xfrm>
            <a:prstGeom prst="rect">
              <a:avLst/>
            </a:prstGeom>
            <a:solidFill>
              <a:srgbClr val="FFFFFF"/>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eaLnBrk="1" hangingPunct="1"/>
              <a:endParaRPr lang="es-ES" altLang="es-CL" dirty="0">
                <a:solidFill>
                  <a:srgbClr val="333333"/>
                </a:solidFill>
                <a:latin typeface="Arial" pitchFamily="34" charset="0"/>
              </a:endParaRPr>
            </a:p>
          </p:txBody>
        </p:sp>
        <p:sp>
          <p:nvSpPr>
            <p:cNvPr id="2100" name="Rectangle 492"/>
            <p:cNvSpPr>
              <a:spLocks noChangeArrowheads="1"/>
            </p:cNvSpPr>
            <p:nvPr/>
          </p:nvSpPr>
          <p:spPr bwMode="auto">
            <a:xfrm>
              <a:off x="2343" y="2929"/>
              <a:ext cx="54" cy="13"/>
            </a:xfrm>
            <a:prstGeom prst="rect">
              <a:avLst/>
            </a:prstGeom>
            <a:solidFill>
              <a:srgbClr val="FFFFFF"/>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eaLnBrk="1" hangingPunct="1"/>
              <a:endParaRPr lang="es-ES" altLang="es-CL" dirty="0">
                <a:solidFill>
                  <a:srgbClr val="333333"/>
                </a:solidFill>
                <a:latin typeface="Arial" pitchFamily="34" charset="0"/>
              </a:endParaRPr>
            </a:p>
          </p:txBody>
        </p:sp>
        <p:sp>
          <p:nvSpPr>
            <p:cNvPr id="2101" name="Rectangle 493"/>
            <p:cNvSpPr>
              <a:spLocks noChangeArrowheads="1"/>
            </p:cNvSpPr>
            <p:nvPr/>
          </p:nvSpPr>
          <p:spPr bwMode="auto">
            <a:xfrm>
              <a:off x="2323" y="2970"/>
              <a:ext cx="92" cy="12"/>
            </a:xfrm>
            <a:prstGeom prst="rect">
              <a:avLst/>
            </a:prstGeom>
            <a:solidFill>
              <a:srgbClr val="FFFFFF"/>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eaLnBrk="1" hangingPunct="1"/>
              <a:endParaRPr lang="es-ES" altLang="es-CL" dirty="0">
                <a:solidFill>
                  <a:srgbClr val="333333"/>
                </a:solidFill>
                <a:latin typeface="Arial" pitchFamily="34" charset="0"/>
              </a:endParaRPr>
            </a:p>
          </p:txBody>
        </p:sp>
        <p:sp>
          <p:nvSpPr>
            <p:cNvPr id="2102" name="Freeform 494"/>
            <p:cNvSpPr>
              <a:spLocks/>
            </p:cNvSpPr>
            <p:nvPr/>
          </p:nvSpPr>
          <p:spPr bwMode="auto">
            <a:xfrm>
              <a:off x="2372" y="2796"/>
              <a:ext cx="32" cy="32"/>
            </a:xfrm>
            <a:custGeom>
              <a:avLst/>
              <a:gdLst>
                <a:gd name="T0" fmla="*/ 19 w 32"/>
                <a:gd name="T1" fmla="*/ 0 h 32"/>
                <a:gd name="T2" fmla="*/ 26 w 32"/>
                <a:gd name="T3" fmla="*/ 3 h 32"/>
                <a:gd name="T4" fmla="*/ 31 w 32"/>
                <a:gd name="T5" fmla="*/ 9 h 32"/>
                <a:gd name="T6" fmla="*/ 32 w 32"/>
                <a:gd name="T7" fmla="*/ 15 h 32"/>
                <a:gd name="T8" fmla="*/ 31 w 32"/>
                <a:gd name="T9" fmla="*/ 22 h 32"/>
                <a:gd name="T10" fmla="*/ 27 w 32"/>
                <a:gd name="T11" fmla="*/ 27 h 32"/>
                <a:gd name="T12" fmla="*/ 19 w 32"/>
                <a:gd name="T13" fmla="*/ 29 h 32"/>
                <a:gd name="T14" fmla="*/ 0 w 32"/>
                <a:gd name="T15" fmla="*/ 32 h 32"/>
                <a:gd name="T16" fmla="*/ 0 w 32"/>
                <a:gd name="T17" fmla="*/ 30 h 32"/>
                <a:gd name="T18" fmla="*/ 0 w 32"/>
                <a:gd name="T19" fmla="*/ 25 h 32"/>
                <a:gd name="T20" fmla="*/ 1 w 32"/>
                <a:gd name="T21" fmla="*/ 17 h 32"/>
                <a:gd name="T22" fmla="*/ 4 w 32"/>
                <a:gd name="T23" fmla="*/ 10 h 32"/>
                <a:gd name="T24" fmla="*/ 11 w 32"/>
                <a:gd name="T25" fmla="*/ 3 h 32"/>
                <a:gd name="T26" fmla="*/ 19 w 32"/>
                <a:gd name="T27" fmla="*/ 0 h 3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2" h="32">
                  <a:moveTo>
                    <a:pt x="19" y="0"/>
                  </a:moveTo>
                  <a:lnTo>
                    <a:pt x="26" y="3"/>
                  </a:lnTo>
                  <a:lnTo>
                    <a:pt x="31" y="9"/>
                  </a:lnTo>
                  <a:lnTo>
                    <a:pt x="32" y="15"/>
                  </a:lnTo>
                  <a:lnTo>
                    <a:pt x="31" y="22"/>
                  </a:lnTo>
                  <a:lnTo>
                    <a:pt x="27" y="27"/>
                  </a:lnTo>
                  <a:lnTo>
                    <a:pt x="19" y="29"/>
                  </a:lnTo>
                  <a:lnTo>
                    <a:pt x="0" y="32"/>
                  </a:lnTo>
                  <a:lnTo>
                    <a:pt x="0" y="30"/>
                  </a:lnTo>
                  <a:lnTo>
                    <a:pt x="0" y="25"/>
                  </a:lnTo>
                  <a:lnTo>
                    <a:pt x="1" y="17"/>
                  </a:lnTo>
                  <a:lnTo>
                    <a:pt x="4" y="10"/>
                  </a:lnTo>
                  <a:lnTo>
                    <a:pt x="11" y="3"/>
                  </a:lnTo>
                  <a:lnTo>
                    <a:pt x="19"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sp>
          <p:nvSpPr>
            <p:cNvPr id="2103" name="Freeform 495"/>
            <p:cNvSpPr>
              <a:spLocks/>
            </p:cNvSpPr>
            <p:nvPr/>
          </p:nvSpPr>
          <p:spPr bwMode="auto">
            <a:xfrm>
              <a:off x="2341" y="2805"/>
              <a:ext cx="25" cy="21"/>
            </a:xfrm>
            <a:custGeom>
              <a:avLst/>
              <a:gdLst>
                <a:gd name="T0" fmla="*/ 11 w 25"/>
                <a:gd name="T1" fmla="*/ 0 h 21"/>
                <a:gd name="T2" fmla="*/ 17 w 25"/>
                <a:gd name="T3" fmla="*/ 2 h 21"/>
                <a:gd name="T4" fmla="*/ 21 w 25"/>
                <a:gd name="T5" fmla="*/ 6 h 21"/>
                <a:gd name="T6" fmla="*/ 24 w 25"/>
                <a:gd name="T7" fmla="*/ 12 h 21"/>
                <a:gd name="T8" fmla="*/ 25 w 25"/>
                <a:gd name="T9" fmla="*/ 16 h 21"/>
                <a:gd name="T10" fmla="*/ 25 w 25"/>
                <a:gd name="T11" fmla="*/ 20 h 21"/>
                <a:gd name="T12" fmla="*/ 25 w 25"/>
                <a:gd name="T13" fmla="*/ 21 h 21"/>
                <a:gd name="T14" fmla="*/ 11 w 25"/>
                <a:gd name="T15" fmla="*/ 20 h 21"/>
                <a:gd name="T16" fmla="*/ 3 w 25"/>
                <a:gd name="T17" fmla="*/ 17 h 21"/>
                <a:gd name="T18" fmla="*/ 0 w 25"/>
                <a:gd name="T19" fmla="*/ 13 h 21"/>
                <a:gd name="T20" fmla="*/ 0 w 25"/>
                <a:gd name="T21" fmla="*/ 7 h 21"/>
                <a:gd name="T22" fmla="*/ 3 w 25"/>
                <a:gd name="T23" fmla="*/ 2 h 21"/>
                <a:gd name="T24" fmla="*/ 11 w 25"/>
                <a:gd name="T25" fmla="*/ 0 h 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5" h="21">
                  <a:moveTo>
                    <a:pt x="11" y="0"/>
                  </a:moveTo>
                  <a:lnTo>
                    <a:pt x="17" y="2"/>
                  </a:lnTo>
                  <a:lnTo>
                    <a:pt x="21" y="6"/>
                  </a:lnTo>
                  <a:lnTo>
                    <a:pt x="24" y="12"/>
                  </a:lnTo>
                  <a:lnTo>
                    <a:pt x="25" y="16"/>
                  </a:lnTo>
                  <a:lnTo>
                    <a:pt x="25" y="20"/>
                  </a:lnTo>
                  <a:lnTo>
                    <a:pt x="25" y="21"/>
                  </a:lnTo>
                  <a:lnTo>
                    <a:pt x="11" y="20"/>
                  </a:lnTo>
                  <a:lnTo>
                    <a:pt x="3" y="17"/>
                  </a:lnTo>
                  <a:lnTo>
                    <a:pt x="0" y="13"/>
                  </a:lnTo>
                  <a:lnTo>
                    <a:pt x="0" y="7"/>
                  </a:lnTo>
                  <a:lnTo>
                    <a:pt x="3" y="2"/>
                  </a:lnTo>
                  <a:lnTo>
                    <a:pt x="11" y="0"/>
                  </a:lnTo>
                  <a:close/>
                </a:path>
              </a:pathLst>
            </a:custGeom>
            <a:solidFill>
              <a:srgbClr val="FFFF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s-CL" dirty="0"/>
            </a:p>
          </p:txBody>
        </p:sp>
      </p:grpSp>
      <p:pic>
        <p:nvPicPr>
          <p:cNvPr id="2057" name="Picture 2" descr="\\natura\Unidad de Informacion y Estadisticas\Energía Abierta\Logo EA\Banner\Banner_EA_LOGO.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932738" y="5516563"/>
            <a:ext cx="647700" cy="955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9" name="262 CuadroTexto"/>
          <p:cNvSpPr txBox="1">
            <a:spLocks noChangeArrowheads="1"/>
          </p:cNvSpPr>
          <p:nvPr/>
        </p:nvSpPr>
        <p:spPr bwMode="auto">
          <a:xfrm>
            <a:off x="1565111" y="1406029"/>
            <a:ext cx="551593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a:r>
              <a:rPr lang="es-CL" altLang="es-CL" sz="2000" b="1" dirty="0">
                <a:solidFill>
                  <a:srgbClr val="F9FAFA"/>
                </a:solidFill>
                <a:latin typeface="Verdana" panose="020B0604030504040204" pitchFamily="34" charset="0"/>
                <a:ea typeface="Verdana" panose="020B0604030504040204" pitchFamily="34" charset="0"/>
              </a:rPr>
              <a:t>Comisión Nacional de Energía de Chile</a:t>
            </a:r>
          </a:p>
        </p:txBody>
      </p:sp>
      <p:sp>
        <p:nvSpPr>
          <p:cNvPr id="264" name="263 CuadroTexto"/>
          <p:cNvSpPr txBox="1"/>
          <p:nvPr/>
        </p:nvSpPr>
        <p:spPr>
          <a:xfrm>
            <a:off x="105627" y="184604"/>
            <a:ext cx="8921633" cy="1169551"/>
          </a:xfrm>
          <a:prstGeom prst="rect">
            <a:avLst/>
          </a:prstGeom>
          <a:noFill/>
        </p:spPr>
        <p:txBody>
          <a:bodyPr wrap="square" lIns="0" tIns="0" rIns="0" bIns="0">
            <a:spAutoFit/>
          </a:bodyPr>
          <a:lstStyle/>
          <a:p>
            <a:pPr algn="ctr">
              <a:defRPr/>
            </a:pPr>
            <a:r>
              <a:rPr lang="es-CL" sz="2000" b="1" dirty="0">
                <a:ln>
                  <a:solidFill>
                    <a:srgbClr val="F9FAFA"/>
                  </a:solidFill>
                </a:ln>
                <a:solidFill>
                  <a:srgbClr val="F9FAFA"/>
                </a:solidFill>
                <a:latin typeface="Verdana" panose="020B0604030504040204" pitchFamily="34" charset="0"/>
                <a:ea typeface="Verdana" panose="020B0604030504040204" pitchFamily="34" charset="0"/>
              </a:rPr>
              <a:t>GRUPO DE TRABAJO DE GAS (GTG) ARIAE</a:t>
            </a:r>
          </a:p>
          <a:p>
            <a:pPr algn="ctr">
              <a:defRPr/>
            </a:pPr>
            <a:r>
              <a:rPr lang="es-CL" sz="2000" b="1" dirty="0">
                <a:ln>
                  <a:solidFill>
                    <a:srgbClr val="F9FAFA"/>
                  </a:solidFill>
                </a:ln>
                <a:solidFill>
                  <a:srgbClr val="F9FAFA"/>
                </a:solidFill>
                <a:latin typeface="Verdana" panose="020B0604030504040204" pitchFamily="34" charset="0"/>
                <a:ea typeface="Verdana" panose="020B0604030504040204" pitchFamily="34" charset="0"/>
              </a:rPr>
              <a:t>Avances y desafíos</a:t>
            </a:r>
          </a:p>
          <a:p>
            <a:pPr algn="ctr">
              <a:defRPr/>
            </a:pPr>
            <a:endParaRPr lang="es-CL" sz="3600" b="1" dirty="0">
              <a:ln>
                <a:solidFill>
                  <a:srgbClr val="F9FAFA"/>
                </a:solidFill>
              </a:ln>
              <a:solidFill>
                <a:srgbClr val="F9FAFA"/>
              </a:solidFill>
              <a:latin typeface="+mn-lt"/>
              <a:ea typeface="Verdana" pitchFamily="34" charset="0"/>
              <a:cs typeface="Verdana" pitchFamily="34" charset="0"/>
            </a:endParaRPr>
          </a:p>
        </p:txBody>
      </p:sp>
      <p:sp>
        <p:nvSpPr>
          <p:cNvPr id="255" name="260 Elipse">
            <a:extLst>
              <a:ext uri="{FF2B5EF4-FFF2-40B4-BE49-F238E27FC236}">
                <a16:creationId xmlns:a16="http://schemas.microsoft.com/office/drawing/2014/main" id="{FD3A689D-086B-4B8F-94FC-9D09816840AB}"/>
              </a:ext>
            </a:extLst>
          </p:cNvPr>
          <p:cNvSpPr/>
          <p:nvPr/>
        </p:nvSpPr>
        <p:spPr>
          <a:xfrm>
            <a:off x="3097212" y="4871246"/>
            <a:ext cx="2843213" cy="1973261"/>
          </a:xfrm>
          <a:prstGeom prst="ellipse">
            <a:avLst/>
          </a:prstGeom>
          <a:solidFill>
            <a:srgbClr val="24385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0"/>
              </a:spcBef>
              <a:buFontTx/>
              <a:buNone/>
            </a:pPr>
            <a:r>
              <a:rPr lang="es-CL" altLang="es-ES" sz="1600" b="1" dirty="0">
                <a:solidFill>
                  <a:srgbClr val="FFFFFF"/>
                </a:solidFill>
                <a:latin typeface="Calibri" panose="020F0502020204030204" pitchFamily="34" charset="0"/>
              </a:rPr>
              <a:t>Martín Osorio</a:t>
            </a:r>
          </a:p>
          <a:p>
            <a:pPr algn="ctr">
              <a:spcBef>
                <a:spcPct val="0"/>
              </a:spcBef>
              <a:buFontTx/>
              <a:buNone/>
            </a:pPr>
            <a:endParaRPr lang="es-CL" altLang="es-ES" sz="100" dirty="0">
              <a:solidFill>
                <a:srgbClr val="FFFFFF"/>
              </a:solidFill>
              <a:latin typeface="Calibri" panose="020F0502020204030204" pitchFamily="34" charset="0"/>
            </a:endParaRPr>
          </a:p>
          <a:p>
            <a:pPr algn="ctr">
              <a:spcBef>
                <a:spcPct val="0"/>
              </a:spcBef>
              <a:buFontTx/>
              <a:buNone/>
            </a:pPr>
            <a:r>
              <a:rPr lang="es-CL" altLang="es-ES" sz="1100" dirty="0">
                <a:solidFill>
                  <a:srgbClr val="FFFFFF"/>
                </a:solidFill>
                <a:latin typeface="Calibri" panose="020F0502020204030204" pitchFamily="34" charset="0"/>
              </a:rPr>
              <a:t>Jefe </a:t>
            </a:r>
          </a:p>
          <a:p>
            <a:pPr algn="ctr">
              <a:spcBef>
                <a:spcPct val="0"/>
              </a:spcBef>
              <a:buFontTx/>
              <a:buNone/>
            </a:pPr>
            <a:r>
              <a:rPr lang="es-CL" altLang="es-ES" sz="1100" dirty="0">
                <a:solidFill>
                  <a:srgbClr val="FFFFFF"/>
                </a:solidFill>
                <a:latin typeface="Calibri" panose="020F0502020204030204" pitchFamily="34" charset="0"/>
              </a:rPr>
              <a:t>Depto. Regulación Económica</a:t>
            </a:r>
          </a:p>
          <a:p>
            <a:pPr algn="ctr">
              <a:spcBef>
                <a:spcPct val="0"/>
              </a:spcBef>
              <a:buFontTx/>
              <a:buNone/>
            </a:pPr>
            <a:r>
              <a:rPr lang="es-CL" altLang="es-ES" sz="1100" dirty="0">
                <a:solidFill>
                  <a:srgbClr val="FFFFFF"/>
                </a:solidFill>
                <a:latin typeface="Calibri" panose="020F0502020204030204" pitchFamily="34" charset="0"/>
              </a:rPr>
              <a:t>CNE</a:t>
            </a:r>
          </a:p>
          <a:p>
            <a:pPr algn="ctr">
              <a:spcBef>
                <a:spcPct val="0"/>
              </a:spcBef>
              <a:buFontTx/>
              <a:buNone/>
            </a:pPr>
            <a:endParaRPr lang="es-CL" altLang="es-ES" sz="1100" dirty="0">
              <a:solidFill>
                <a:srgbClr val="FFFFFF"/>
              </a:solidFill>
            </a:endParaRPr>
          </a:p>
          <a:p>
            <a:pPr algn="ctr">
              <a:spcBef>
                <a:spcPct val="0"/>
              </a:spcBef>
              <a:buFontTx/>
              <a:buNone/>
            </a:pPr>
            <a:r>
              <a:rPr lang="es-CL" altLang="es-ES" sz="1100" b="1" dirty="0">
                <a:solidFill>
                  <a:srgbClr val="FFFFFF"/>
                </a:solidFill>
                <a:latin typeface="Calibri" panose="020F0502020204030204" pitchFamily="34" charset="0"/>
              </a:rPr>
              <a:t>10 diciembre 2020</a:t>
            </a:r>
            <a:endParaRPr lang="es-CL" altLang="es-ES" sz="1600" b="1" dirty="0">
              <a:solidFill>
                <a:srgbClr val="FFFFFF"/>
              </a:solidFill>
              <a:latin typeface="Calibri" panose="020F0502020204030204" pitchFamily="34" charset="0"/>
            </a:endParaRPr>
          </a:p>
        </p:txBody>
      </p:sp>
      <p:pic>
        <p:nvPicPr>
          <p:cNvPr id="3"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94305" y="5655476"/>
            <a:ext cx="2140908" cy="563550"/>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74" name="9 Grupo"/>
          <p:cNvGrpSpPr>
            <a:grpSpLocks/>
          </p:cNvGrpSpPr>
          <p:nvPr/>
        </p:nvGrpSpPr>
        <p:grpSpPr bwMode="auto">
          <a:xfrm>
            <a:off x="395288" y="6683375"/>
            <a:ext cx="2035175" cy="174625"/>
            <a:chOff x="401947" y="-7557"/>
            <a:chExt cx="2035173" cy="174625"/>
          </a:xfrm>
        </p:grpSpPr>
        <p:sp>
          <p:nvSpPr>
            <p:cNvPr id="7" name="6 Rectángulo"/>
            <p:cNvSpPr/>
            <p:nvPr/>
          </p:nvSpPr>
          <p:spPr>
            <a:xfrm>
              <a:off x="401947" y="-7557"/>
              <a:ext cx="908049" cy="174625"/>
            </a:xfrm>
            <a:prstGeom prst="rect">
              <a:avLst/>
            </a:prstGeom>
            <a:solidFill>
              <a:srgbClr val="1069B1"/>
            </a:solidFill>
            <a:ln w="3175">
              <a:solidFill>
                <a:srgbClr val="1069B1"/>
              </a:solid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s-CL" dirty="0">
                <a:solidFill>
                  <a:prstClr val="white"/>
                </a:solidFill>
              </a:endParaRPr>
            </a:p>
          </p:txBody>
        </p:sp>
        <p:sp>
          <p:nvSpPr>
            <p:cNvPr id="8" name="7 Rectángulo"/>
            <p:cNvSpPr/>
            <p:nvPr/>
          </p:nvSpPr>
          <p:spPr>
            <a:xfrm>
              <a:off x="1313171" y="-7557"/>
              <a:ext cx="1123949" cy="174625"/>
            </a:xfrm>
            <a:prstGeom prst="rect">
              <a:avLst/>
            </a:prstGeom>
            <a:solidFill>
              <a:srgbClr val="E73C46"/>
            </a:solidFill>
            <a:ln w="3175">
              <a:solidFill>
                <a:srgbClr val="E73C46"/>
              </a:solid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s-CL" dirty="0">
                <a:solidFill>
                  <a:prstClr val="white"/>
                </a:solidFill>
              </a:endParaRPr>
            </a:p>
          </p:txBody>
        </p:sp>
      </p:grpSp>
      <p:sp>
        <p:nvSpPr>
          <p:cNvPr id="3076" name="2 Marcador de número de diapositiva"/>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fld id="{9B3A7F7F-929F-4173-97DD-09BB88B28EC9}" type="slidenum">
              <a:rPr lang="es-ES" altLang="es-ES" sz="1000" smtClean="0">
                <a:solidFill>
                  <a:srgbClr val="8F8F8F"/>
                </a:solidFill>
              </a:rPr>
              <a:pPr/>
              <a:t>10</a:t>
            </a:fld>
            <a:endParaRPr lang="es-ES" altLang="es-ES" sz="1000" dirty="0">
              <a:solidFill>
                <a:srgbClr val="8F8F8F"/>
              </a:solidFill>
            </a:endParaRPr>
          </a:p>
        </p:txBody>
      </p:sp>
      <p:sp>
        <p:nvSpPr>
          <p:cNvPr id="3077" name="16 Marcador de pie de página"/>
          <p:cNvSpPr txBox="1">
            <a:spLocks/>
          </p:cNvSpPr>
          <p:nvPr/>
        </p:nvSpPr>
        <p:spPr bwMode="auto">
          <a:xfrm>
            <a:off x="4464050" y="6592888"/>
            <a:ext cx="2159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hangingPunct="1"/>
            <a:r>
              <a:rPr lang="es-CL" altLang="es-CL" sz="1000" dirty="0">
                <a:solidFill>
                  <a:srgbClr val="898989"/>
                </a:solidFill>
              </a:rPr>
              <a:t>CNE</a:t>
            </a:r>
            <a:endParaRPr lang="es-ES" altLang="es-CL" sz="1000" dirty="0">
              <a:solidFill>
                <a:srgbClr val="898989"/>
              </a:solidFill>
            </a:endParaRPr>
          </a:p>
        </p:txBody>
      </p:sp>
      <p:pic>
        <p:nvPicPr>
          <p:cNvPr id="3078" name="Picture 2" descr="\\natura\Unidad de Informacion y Estadisticas\Energía Abierta\Logo EA\Banner\Banner_EA_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74013" y="215900"/>
            <a:ext cx="647700" cy="955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CuadroTexto 12">
            <a:extLst>
              <a:ext uri="{FF2B5EF4-FFF2-40B4-BE49-F238E27FC236}">
                <a16:creationId xmlns:a16="http://schemas.microsoft.com/office/drawing/2014/main" id="{DE21F937-CFE4-4C70-8DF7-EBE9E62D437F}"/>
              </a:ext>
            </a:extLst>
          </p:cNvPr>
          <p:cNvSpPr txBox="1"/>
          <p:nvPr/>
        </p:nvSpPr>
        <p:spPr>
          <a:xfrm>
            <a:off x="349861" y="2357937"/>
            <a:ext cx="8228378" cy="3108543"/>
          </a:xfrm>
          <a:prstGeom prst="rect">
            <a:avLst/>
          </a:prstGeom>
          <a:noFill/>
        </p:spPr>
        <p:txBody>
          <a:bodyPr wrap="square">
            <a:spAutoFit/>
          </a:bodyPr>
          <a:lstStyle/>
          <a:p>
            <a:pPr marL="0" lvl="1" algn="just" eaLnBrk="1" hangingPunct="1">
              <a:spcBef>
                <a:spcPct val="20000"/>
              </a:spcBef>
              <a:defRPr/>
            </a:pPr>
            <a:r>
              <a:rPr lang="es-CL" sz="2000" dirty="0">
                <a:solidFill>
                  <a:schemeClr val="tx2">
                    <a:lumMod val="75000"/>
                  </a:schemeClr>
                </a:solidFill>
                <a:latin typeface="Arial Narrow" panose="020B0606020202030204" pitchFamily="34" charset="0"/>
                <a:cs typeface="+mn-cs"/>
              </a:rPr>
              <a:t>Durante diciembre del 2019, la CNE, a través de la Presidencia de ARIAE, hizo llegar a los países miembros las encuestas para completar los datos que servirían de insumo para la realización del Informe de Benchmarking Regulatorio y Desempeño de los Mercados de Gas. </a:t>
            </a:r>
          </a:p>
          <a:p>
            <a:pPr marL="0" lvl="1" algn="just" eaLnBrk="1" hangingPunct="1">
              <a:spcBef>
                <a:spcPct val="20000"/>
              </a:spcBef>
              <a:defRPr/>
            </a:pPr>
            <a:endParaRPr lang="es-CL" sz="2000" dirty="0">
              <a:solidFill>
                <a:schemeClr val="tx2">
                  <a:lumMod val="75000"/>
                </a:schemeClr>
              </a:solidFill>
              <a:latin typeface="Arial Narrow" panose="020B0606020202030204" pitchFamily="34" charset="0"/>
              <a:cs typeface="+mn-cs"/>
            </a:endParaRPr>
          </a:p>
          <a:p>
            <a:pPr marL="0" lvl="1" algn="just" eaLnBrk="1" hangingPunct="1">
              <a:spcBef>
                <a:spcPct val="20000"/>
              </a:spcBef>
              <a:defRPr/>
            </a:pPr>
            <a:r>
              <a:rPr lang="es-CL" sz="2000" dirty="0">
                <a:solidFill>
                  <a:schemeClr val="tx2">
                    <a:lumMod val="75000"/>
                  </a:schemeClr>
                </a:solidFill>
                <a:latin typeface="Arial Narrow" panose="020B0606020202030204" pitchFamily="34" charset="0"/>
                <a:cs typeface="+mn-cs"/>
              </a:rPr>
              <a:t>Sólo 6 de los 15 países miembros enviaron información, por lo que no se pudo cumplir con este compromiso.</a:t>
            </a:r>
          </a:p>
          <a:p>
            <a:pPr marL="0" lvl="1" algn="just" eaLnBrk="1" hangingPunct="1">
              <a:spcBef>
                <a:spcPct val="20000"/>
              </a:spcBef>
              <a:defRPr/>
            </a:pPr>
            <a:endParaRPr lang="es-CL" sz="2000" dirty="0">
              <a:solidFill>
                <a:schemeClr val="tx2">
                  <a:lumMod val="75000"/>
                </a:schemeClr>
              </a:solidFill>
              <a:latin typeface="Arial Narrow" panose="020B0606020202030204" pitchFamily="34" charset="0"/>
              <a:cs typeface="+mn-cs"/>
            </a:endParaRPr>
          </a:p>
          <a:p>
            <a:pPr marL="0" lvl="1" algn="just" eaLnBrk="1" hangingPunct="1">
              <a:spcBef>
                <a:spcPct val="20000"/>
              </a:spcBef>
              <a:defRPr/>
            </a:pPr>
            <a:r>
              <a:rPr lang="es-CL" sz="2000" dirty="0">
                <a:solidFill>
                  <a:schemeClr val="tx2">
                    <a:lumMod val="75000"/>
                  </a:schemeClr>
                </a:solidFill>
                <a:latin typeface="Arial Narrow" panose="020B0606020202030204" pitchFamily="34" charset="0"/>
                <a:cs typeface="+mn-cs"/>
              </a:rPr>
              <a:t>Éste punto quedará pendiente para el 2021 y será parte de las nuevos compromisos</a:t>
            </a:r>
            <a:r>
              <a:rPr lang="es-CL" dirty="0"/>
              <a:t>.</a:t>
            </a:r>
          </a:p>
        </p:txBody>
      </p:sp>
      <p:sp>
        <p:nvSpPr>
          <p:cNvPr id="15" name="18 CuadroTexto">
            <a:extLst>
              <a:ext uri="{FF2B5EF4-FFF2-40B4-BE49-F238E27FC236}">
                <a16:creationId xmlns:a16="http://schemas.microsoft.com/office/drawing/2014/main" id="{10AF7465-485B-4C84-8AC5-1150866CBDFE}"/>
              </a:ext>
            </a:extLst>
          </p:cNvPr>
          <p:cNvSpPr txBox="1">
            <a:spLocks noChangeArrowheads="1"/>
          </p:cNvSpPr>
          <p:nvPr/>
        </p:nvSpPr>
        <p:spPr bwMode="auto">
          <a:xfrm>
            <a:off x="487494" y="254239"/>
            <a:ext cx="6580056" cy="12080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r>
              <a:rPr lang="es-CL" sz="1400" b="1" dirty="0">
                <a:ln>
                  <a:solidFill>
                    <a:srgbClr val="F9FAFA"/>
                  </a:solidFill>
                </a:ln>
                <a:solidFill>
                  <a:schemeClr val="tx2">
                    <a:lumMod val="75000"/>
                  </a:schemeClr>
                </a:solidFill>
                <a:latin typeface="Noto Sans"/>
                <a:ea typeface="Verdana" pitchFamily="34" charset="0"/>
                <a:cs typeface="Verdana" pitchFamily="34" charset="0"/>
              </a:rPr>
              <a:t>GRUPO DE TRABAJO DE GAS (GTG) ARIAE</a:t>
            </a:r>
          </a:p>
          <a:p>
            <a:pPr eaLnBrk="1" hangingPunct="1"/>
            <a:r>
              <a:rPr lang="es-CL" sz="1600" b="1" dirty="0">
                <a:ln>
                  <a:solidFill>
                    <a:srgbClr val="F9FAFA"/>
                  </a:solidFill>
                </a:ln>
                <a:solidFill>
                  <a:schemeClr val="tx2">
                    <a:lumMod val="75000"/>
                  </a:schemeClr>
                </a:solidFill>
                <a:latin typeface="Noto Sans"/>
                <a:ea typeface="Verdana" pitchFamily="34" charset="0"/>
                <a:cs typeface="Verdana" pitchFamily="34" charset="0"/>
              </a:rPr>
              <a:t>Compromiso 4: </a:t>
            </a:r>
            <a:r>
              <a:rPr lang="es-ES_tradnl" altLang="es-CL" sz="1600" dirty="0">
                <a:solidFill>
                  <a:schemeClr val="tx2">
                    <a:lumMod val="75000"/>
                  </a:schemeClr>
                </a:solidFill>
                <a:latin typeface="Arial Narrow" panose="020B0606020202030204" pitchFamily="34" charset="0"/>
                <a:cs typeface="+mn-cs"/>
              </a:rPr>
              <a:t>Benchmarking regulatorio y de desempeño de los mercados de gas (2016 - 2018) – Actualización de Información al 2019</a:t>
            </a:r>
          </a:p>
          <a:p>
            <a:pPr eaLnBrk="1" hangingPunct="1"/>
            <a:endParaRPr lang="es-ES_tradnl" altLang="es-CL" sz="1600" dirty="0">
              <a:solidFill>
                <a:schemeClr val="tx2">
                  <a:lumMod val="75000"/>
                </a:schemeClr>
              </a:solidFill>
              <a:latin typeface="Arial Narrow" panose="020B0606020202030204" pitchFamily="34" charset="0"/>
              <a:cs typeface="+mn-cs"/>
            </a:endParaRPr>
          </a:p>
          <a:p>
            <a:pPr eaLnBrk="1" hangingPunct="1"/>
            <a:endParaRPr lang="es-CL" sz="1050" b="1" dirty="0">
              <a:ln>
                <a:solidFill>
                  <a:srgbClr val="F9FAFA"/>
                </a:solidFill>
              </a:ln>
              <a:solidFill>
                <a:srgbClr val="29425F"/>
              </a:solidFill>
              <a:latin typeface="+mn-lt"/>
              <a:ea typeface="Verdana" pitchFamily="34" charset="0"/>
              <a:cs typeface="Verdana" pitchFamily="34" charset="0"/>
            </a:endParaRPr>
          </a:p>
        </p:txBody>
      </p:sp>
      <p:cxnSp>
        <p:nvCxnSpPr>
          <p:cNvPr id="16" name="13 Conector recto">
            <a:extLst>
              <a:ext uri="{FF2B5EF4-FFF2-40B4-BE49-F238E27FC236}">
                <a16:creationId xmlns:a16="http://schemas.microsoft.com/office/drawing/2014/main" id="{C1D954C7-7B95-4348-AA23-4F9F29D85489}"/>
              </a:ext>
            </a:extLst>
          </p:cNvPr>
          <p:cNvCxnSpPr/>
          <p:nvPr/>
        </p:nvCxnSpPr>
        <p:spPr>
          <a:xfrm>
            <a:off x="487494" y="1052736"/>
            <a:ext cx="6130925"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40503" y="344850"/>
            <a:ext cx="1115873" cy="540067"/>
          </a:xfrm>
          <a:prstGeom prst="rect">
            <a:avLst/>
          </a:prstGeom>
        </p:spPr>
      </p:pic>
    </p:spTree>
    <p:extLst>
      <p:ext uri="{BB962C8B-B14F-4D97-AF65-F5344CB8AC3E}">
        <p14:creationId xmlns:p14="http://schemas.microsoft.com/office/powerpoint/2010/main" val="27023021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1D354A"/>
        </a:solidFill>
        <a:effectLst/>
      </p:bgPr>
    </p:bg>
    <p:spTree>
      <p:nvGrpSpPr>
        <p:cNvPr id="1" name=""/>
        <p:cNvGrpSpPr/>
        <p:nvPr/>
      </p:nvGrpSpPr>
      <p:grpSpPr>
        <a:xfrm>
          <a:off x="0" y="0"/>
          <a:ext cx="0" cy="0"/>
          <a:chOff x="0" y="0"/>
          <a:chExt cx="0" cy="0"/>
        </a:xfrm>
      </p:grpSpPr>
      <p:graphicFrame>
        <p:nvGraphicFramePr>
          <p:cNvPr id="13314" name="Objeto 1" hidden="1">
            <a:extLst>
              <a:ext uri="{FF2B5EF4-FFF2-40B4-BE49-F238E27FC236}">
                <a16:creationId xmlns:a16="http://schemas.microsoft.com/office/drawing/2014/main" id="{270E8198-D5E3-4BBE-8804-852CCA88F0E7}"/>
              </a:ext>
            </a:extLst>
          </p:cNvPr>
          <p:cNvGraphicFramePr>
            <a:graphicFrameLocks noChangeAspect="1"/>
          </p:cNvGraphicFramePr>
          <p:nvPr>
            <p:custDataLst>
              <p:tags r:id="rId1"/>
            </p:custDataLst>
          </p:nvPr>
        </p:nvGraphicFramePr>
        <p:xfrm>
          <a:off x="1192" y="858442"/>
          <a:ext cx="1190" cy="1190"/>
        </p:xfrm>
        <a:graphic>
          <a:graphicData uri="http://schemas.openxmlformats.org/presentationml/2006/ole">
            <mc:AlternateContent xmlns:mc="http://schemas.openxmlformats.org/markup-compatibility/2006">
              <mc:Choice xmlns:v="urn:schemas-microsoft-com:vml" Requires="v">
                <p:oleObj name="Diapositiva de think-cell" r:id="rId4" imgW="360" imgH="360" progId="TCLayout.ActiveDocument.1">
                  <p:embed/>
                </p:oleObj>
              </mc:Choice>
              <mc:Fallback>
                <p:oleObj name="Diapositiva de think-cell" r:id="rId4" imgW="360" imgH="360" progId="TCLayout.ActiveDocument.1">
                  <p:embed/>
                  <p:pic>
                    <p:nvPicPr>
                      <p:cNvPr id="13314" name="Objeto 1" hidden="1">
                        <a:extLst>
                          <a:ext uri="{FF2B5EF4-FFF2-40B4-BE49-F238E27FC236}">
                            <a16:creationId xmlns:a16="http://schemas.microsoft.com/office/drawing/2014/main" id="{270E8198-D5E3-4BBE-8804-852CCA88F0E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858442"/>
                        <a:ext cx="1190"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10" name="13 Conector recto">
            <a:extLst>
              <a:ext uri="{FF2B5EF4-FFF2-40B4-BE49-F238E27FC236}">
                <a16:creationId xmlns:a16="http://schemas.microsoft.com/office/drawing/2014/main" id="{4237FBE3-80CA-457C-977C-49F53FEE52C0}"/>
              </a:ext>
            </a:extLst>
          </p:cNvPr>
          <p:cNvCxnSpPr/>
          <p:nvPr/>
        </p:nvCxnSpPr>
        <p:spPr>
          <a:xfrm>
            <a:off x="467916" y="4251722"/>
            <a:ext cx="610195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316" name="18 CuadroTexto">
            <a:extLst>
              <a:ext uri="{FF2B5EF4-FFF2-40B4-BE49-F238E27FC236}">
                <a16:creationId xmlns:a16="http://schemas.microsoft.com/office/drawing/2014/main" id="{B3FE10EC-4293-4F8D-8703-77671212BEC0}"/>
              </a:ext>
            </a:extLst>
          </p:cNvPr>
          <p:cNvSpPr txBox="1">
            <a:spLocks noChangeAspect="1" noChangeArrowheads="1"/>
          </p:cNvSpPr>
          <p:nvPr/>
        </p:nvSpPr>
        <p:spPr bwMode="auto">
          <a:xfrm>
            <a:off x="467916" y="3699273"/>
            <a:ext cx="6101953" cy="539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marL="0" marR="0" lvl="0" indent="0" algn="l" defTabSz="6858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s-CL" altLang="es-CL" sz="1500" b="1" i="0" u="none" strike="noStrike" kern="1200" cap="none" spc="0" normalizeH="0" baseline="0" noProof="0" dirty="0">
                <a:ln>
                  <a:noFill/>
                </a:ln>
                <a:solidFill>
                  <a:srgbClr val="F9FAFA"/>
                </a:solidFill>
                <a:effectLst/>
                <a:uLnTx/>
                <a:uFillTx/>
                <a:latin typeface="Segoe UI" panose="020B0502040204020203" pitchFamily="34" charset="0"/>
                <a:ea typeface="Noto Sans"/>
                <a:cs typeface="Segoe UI" panose="020B0502040204020203" pitchFamily="34" charset="0"/>
              </a:rPr>
              <a:t>Plan de Trabajo 2021 GTG</a:t>
            </a:r>
          </a:p>
        </p:txBody>
      </p:sp>
      <p:pic>
        <p:nvPicPr>
          <p:cNvPr id="13317" name="Imagen 5">
            <a:extLst>
              <a:ext uri="{FF2B5EF4-FFF2-40B4-BE49-F238E27FC236}">
                <a16:creationId xmlns:a16="http://schemas.microsoft.com/office/drawing/2014/main" id="{E8CFD0DA-DBEC-42CE-A41D-002B1CA97C42}"/>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042547" y="1320404"/>
            <a:ext cx="914400" cy="372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18" name="Picture 2" descr="\\natura\Unidad de Informacion y Estadisticas\Energía Abierta\Logo EA\Banner\Banner_EA_LOGO.png">
            <a:extLst>
              <a:ext uri="{FF2B5EF4-FFF2-40B4-BE49-F238E27FC236}">
                <a16:creationId xmlns:a16="http://schemas.microsoft.com/office/drawing/2014/main" id="{E6832B95-0C3F-4100-ADF5-E12BA853791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190310" y="1160860"/>
            <a:ext cx="485775" cy="71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918160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74" name="9 Grupo"/>
          <p:cNvGrpSpPr>
            <a:grpSpLocks/>
          </p:cNvGrpSpPr>
          <p:nvPr/>
        </p:nvGrpSpPr>
        <p:grpSpPr bwMode="auto">
          <a:xfrm>
            <a:off x="395288" y="6683375"/>
            <a:ext cx="2035175" cy="174625"/>
            <a:chOff x="401947" y="-7557"/>
            <a:chExt cx="2035173" cy="174625"/>
          </a:xfrm>
        </p:grpSpPr>
        <p:sp>
          <p:nvSpPr>
            <p:cNvPr id="7" name="6 Rectángulo"/>
            <p:cNvSpPr/>
            <p:nvPr/>
          </p:nvSpPr>
          <p:spPr>
            <a:xfrm>
              <a:off x="401947" y="-7557"/>
              <a:ext cx="908049" cy="174625"/>
            </a:xfrm>
            <a:prstGeom prst="rect">
              <a:avLst/>
            </a:prstGeom>
            <a:solidFill>
              <a:srgbClr val="1069B1"/>
            </a:solidFill>
            <a:ln w="3175">
              <a:solidFill>
                <a:srgbClr val="1069B1"/>
              </a:solid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s-CL" dirty="0">
                <a:solidFill>
                  <a:prstClr val="white"/>
                </a:solidFill>
              </a:endParaRPr>
            </a:p>
          </p:txBody>
        </p:sp>
        <p:sp>
          <p:nvSpPr>
            <p:cNvPr id="8" name="7 Rectángulo"/>
            <p:cNvSpPr/>
            <p:nvPr/>
          </p:nvSpPr>
          <p:spPr>
            <a:xfrm>
              <a:off x="1313171" y="-7557"/>
              <a:ext cx="1123949" cy="174625"/>
            </a:xfrm>
            <a:prstGeom prst="rect">
              <a:avLst/>
            </a:prstGeom>
            <a:solidFill>
              <a:srgbClr val="E73C46"/>
            </a:solidFill>
            <a:ln w="3175">
              <a:solidFill>
                <a:srgbClr val="E73C46"/>
              </a:solid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s-CL" dirty="0">
                <a:solidFill>
                  <a:prstClr val="white"/>
                </a:solidFill>
              </a:endParaRPr>
            </a:p>
          </p:txBody>
        </p:sp>
      </p:grpSp>
      <p:sp>
        <p:nvSpPr>
          <p:cNvPr id="3076" name="2 Marcador de número de diapositiva"/>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fld id="{9B3A7F7F-929F-4173-97DD-09BB88B28EC9}" type="slidenum">
              <a:rPr lang="es-ES" altLang="es-ES" sz="1000" smtClean="0">
                <a:solidFill>
                  <a:srgbClr val="8F8F8F"/>
                </a:solidFill>
              </a:rPr>
              <a:pPr/>
              <a:t>12</a:t>
            </a:fld>
            <a:endParaRPr lang="es-ES" altLang="es-ES" sz="1000" dirty="0">
              <a:solidFill>
                <a:srgbClr val="8F8F8F"/>
              </a:solidFill>
            </a:endParaRPr>
          </a:p>
        </p:txBody>
      </p:sp>
      <p:sp>
        <p:nvSpPr>
          <p:cNvPr id="3077" name="16 Marcador de pie de página"/>
          <p:cNvSpPr txBox="1">
            <a:spLocks/>
          </p:cNvSpPr>
          <p:nvPr/>
        </p:nvSpPr>
        <p:spPr bwMode="auto">
          <a:xfrm>
            <a:off x="4464050" y="6592888"/>
            <a:ext cx="2159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hangingPunct="1"/>
            <a:r>
              <a:rPr lang="es-CL" altLang="es-CL" sz="1000" dirty="0">
                <a:solidFill>
                  <a:srgbClr val="898989"/>
                </a:solidFill>
              </a:rPr>
              <a:t>CNE</a:t>
            </a:r>
            <a:endParaRPr lang="es-ES" altLang="es-CL" sz="1000" dirty="0">
              <a:solidFill>
                <a:srgbClr val="898989"/>
              </a:solidFill>
            </a:endParaRPr>
          </a:p>
        </p:txBody>
      </p:sp>
      <p:pic>
        <p:nvPicPr>
          <p:cNvPr id="3078" name="Picture 2" descr="\\natura\Unidad de Informacion y Estadisticas\Energía Abierta\Logo EA\Banner\Banner_EA_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74013" y="215900"/>
            <a:ext cx="647700" cy="955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CuadroTexto 12">
            <a:extLst>
              <a:ext uri="{FF2B5EF4-FFF2-40B4-BE49-F238E27FC236}">
                <a16:creationId xmlns:a16="http://schemas.microsoft.com/office/drawing/2014/main" id="{DE21F937-CFE4-4C70-8DF7-EBE9E62D437F}"/>
              </a:ext>
            </a:extLst>
          </p:cNvPr>
          <p:cNvSpPr txBox="1"/>
          <p:nvPr/>
        </p:nvSpPr>
        <p:spPr>
          <a:xfrm>
            <a:off x="251520" y="1485865"/>
            <a:ext cx="8228378" cy="4955203"/>
          </a:xfrm>
          <a:prstGeom prst="rect">
            <a:avLst/>
          </a:prstGeom>
          <a:noFill/>
        </p:spPr>
        <p:txBody>
          <a:bodyPr wrap="square">
            <a:spAutoFit/>
          </a:bodyPr>
          <a:lstStyle/>
          <a:p>
            <a:pPr marL="0" lvl="1" algn="just" eaLnBrk="1" hangingPunct="1">
              <a:spcBef>
                <a:spcPct val="20000"/>
              </a:spcBef>
              <a:defRPr/>
            </a:pPr>
            <a:r>
              <a:rPr lang="es-CL" sz="2000" dirty="0">
                <a:solidFill>
                  <a:schemeClr val="tx2">
                    <a:lumMod val="75000"/>
                  </a:schemeClr>
                </a:solidFill>
                <a:latin typeface="Arial Narrow" panose="020B0606020202030204" pitchFamily="34" charset="0"/>
                <a:cs typeface="+mn-cs"/>
              </a:rPr>
              <a:t>Para el año 2021 y, considerando la gran carga de trabajo que se ha generado en los reguladores producto de la contingencia internacional, el GTG debiera ser capaz de alcanzar los siguientes objetivos:</a:t>
            </a:r>
          </a:p>
          <a:p>
            <a:pPr marL="0" lvl="1" algn="just" eaLnBrk="1" hangingPunct="1">
              <a:spcBef>
                <a:spcPct val="20000"/>
              </a:spcBef>
              <a:defRPr/>
            </a:pPr>
            <a:endParaRPr lang="es-CL" sz="2000" dirty="0">
              <a:solidFill>
                <a:schemeClr val="tx2">
                  <a:lumMod val="75000"/>
                </a:schemeClr>
              </a:solidFill>
              <a:latin typeface="Arial Narrow" panose="020B0606020202030204" pitchFamily="34" charset="0"/>
              <a:cs typeface="+mn-cs"/>
            </a:endParaRPr>
          </a:p>
          <a:p>
            <a:pPr marL="342900" lvl="1" indent="-342900" algn="just" eaLnBrk="1" hangingPunct="1">
              <a:spcBef>
                <a:spcPct val="20000"/>
              </a:spcBef>
              <a:buFont typeface="+mj-lt"/>
              <a:buAutoNum type="arabicPeriod"/>
              <a:defRPr/>
            </a:pPr>
            <a:r>
              <a:rPr lang="es-CL" sz="2000" b="1" dirty="0">
                <a:solidFill>
                  <a:schemeClr val="tx2">
                    <a:lumMod val="75000"/>
                  </a:schemeClr>
                </a:solidFill>
                <a:latin typeface="Arial Narrow" panose="020B0606020202030204" pitchFamily="34" charset="0"/>
                <a:cs typeface="+mn-cs"/>
              </a:rPr>
              <a:t>Recabar la información necesaria para lograr la transferencia de conocimiento entre reguladores</a:t>
            </a:r>
            <a:r>
              <a:rPr lang="es-CL" sz="2000" dirty="0">
                <a:solidFill>
                  <a:schemeClr val="tx2">
                    <a:lumMod val="75000"/>
                  </a:schemeClr>
                </a:solidFill>
                <a:latin typeface="Arial Narrow" panose="020B0606020202030204" pitchFamily="34" charset="0"/>
                <a:cs typeface="+mn-cs"/>
              </a:rPr>
              <a:t>. Esto implicará que los países miembros den respuesta al cuestionario que enviado a principios de este año. De esta forma, se podrá planificar con tiempo las distintas charlas y seminarios que podrían organizarse. Se propone responder dicho cuestionario con fecha máxima finales de enero del 2021.</a:t>
            </a:r>
          </a:p>
          <a:p>
            <a:pPr marL="342900" lvl="1" indent="-342900" algn="just" eaLnBrk="1" hangingPunct="1">
              <a:spcBef>
                <a:spcPct val="20000"/>
              </a:spcBef>
              <a:buFont typeface="+mj-lt"/>
              <a:buAutoNum type="arabicPeriod"/>
              <a:defRPr/>
            </a:pPr>
            <a:endParaRPr lang="es-CL" sz="2000" dirty="0">
              <a:solidFill>
                <a:schemeClr val="tx2">
                  <a:lumMod val="75000"/>
                </a:schemeClr>
              </a:solidFill>
              <a:latin typeface="Arial Narrow" panose="020B0606020202030204" pitchFamily="34" charset="0"/>
              <a:cs typeface="+mn-cs"/>
            </a:endParaRPr>
          </a:p>
          <a:p>
            <a:pPr marL="342900" lvl="1" indent="-342900" algn="just" eaLnBrk="1" hangingPunct="1">
              <a:spcBef>
                <a:spcPct val="20000"/>
              </a:spcBef>
              <a:buFont typeface="+mj-lt"/>
              <a:buAutoNum type="arabicPeriod"/>
              <a:defRPr/>
            </a:pPr>
            <a:r>
              <a:rPr lang="es-CL" sz="2000" b="1" dirty="0">
                <a:solidFill>
                  <a:schemeClr val="tx2">
                    <a:lumMod val="75000"/>
                  </a:schemeClr>
                </a:solidFill>
                <a:latin typeface="Arial Narrow" panose="020B0606020202030204" pitchFamily="34" charset="0"/>
                <a:cs typeface="+mn-cs"/>
              </a:rPr>
              <a:t>Recabar la información necesaria para la realización del Informe de Benchmarking. </a:t>
            </a:r>
            <a:r>
              <a:rPr lang="es-CL" sz="2000" dirty="0">
                <a:solidFill>
                  <a:schemeClr val="tx2">
                    <a:lumMod val="75000"/>
                  </a:schemeClr>
                </a:solidFill>
                <a:latin typeface="Arial Narrow" panose="020B0606020202030204" pitchFamily="34" charset="0"/>
                <a:cs typeface="+mn-cs"/>
              </a:rPr>
              <a:t>Sin estos datos, no es posible actualizar el informe. Se sugiere utilizar los cuestionarios enviados por la CNE en diciembre del 2019 y responderlos con fecha máxima febrero del 2021.</a:t>
            </a:r>
          </a:p>
        </p:txBody>
      </p:sp>
      <p:sp>
        <p:nvSpPr>
          <p:cNvPr id="15" name="18 CuadroTexto">
            <a:extLst>
              <a:ext uri="{FF2B5EF4-FFF2-40B4-BE49-F238E27FC236}">
                <a16:creationId xmlns:a16="http://schemas.microsoft.com/office/drawing/2014/main" id="{10AF7465-485B-4C84-8AC5-1150866CBDFE}"/>
              </a:ext>
            </a:extLst>
          </p:cNvPr>
          <p:cNvSpPr txBox="1">
            <a:spLocks noChangeArrowheads="1"/>
          </p:cNvSpPr>
          <p:nvPr/>
        </p:nvSpPr>
        <p:spPr bwMode="auto">
          <a:xfrm>
            <a:off x="487494" y="254239"/>
            <a:ext cx="6580056"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r>
              <a:rPr lang="es-CL" sz="1400" b="1" dirty="0">
                <a:ln>
                  <a:solidFill>
                    <a:srgbClr val="F9FAFA"/>
                  </a:solidFill>
                </a:ln>
                <a:solidFill>
                  <a:schemeClr val="tx2">
                    <a:lumMod val="75000"/>
                  </a:schemeClr>
                </a:solidFill>
                <a:latin typeface="Noto Sans"/>
                <a:ea typeface="Verdana" pitchFamily="34" charset="0"/>
                <a:cs typeface="Verdana" pitchFamily="34" charset="0"/>
              </a:rPr>
              <a:t>GRUPO DE TRABAJO DE GAS (GTG) ARIAE</a:t>
            </a:r>
          </a:p>
          <a:p>
            <a:pPr eaLnBrk="1" hangingPunct="1"/>
            <a:r>
              <a:rPr lang="es-CL" sz="1600" b="1" dirty="0">
                <a:ln>
                  <a:solidFill>
                    <a:srgbClr val="F9FAFA"/>
                  </a:solidFill>
                </a:ln>
                <a:solidFill>
                  <a:schemeClr val="tx2">
                    <a:lumMod val="75000"/>
                  </a:schemeClr>
                </a:solidFill>
                <a:latin typeface="Noto Sans"/>
                <a:ea typeface="Verdana" pitchFamily="34" charset="0"/>
                <a:cs typeface="Verdana" pitchFamily="34" charset="0"/>
              </a:rPr>
              <a:t>Plan de trabajo 2021</a:t>
            </a:r>
            <a:endParaRPr lang="es-CL" sz="1050" b="1" dirty="0">
              <a:ln>
                <a:solidFill>
                  <a:srgbClr val="F9FAFA"/>
                </a:solidFill>
              </a:ln>
              <a:solidFill>
                <a:srgbClr val="29425F"/>
              </a:solidFill>
              <a:latin typeface="+mn-lt"/>
              <a:ea typeface="Verdana" pitchFamily="34" charset="0"/>
              <a:cs typeface="Verdana" pitchFamily="34" charset="0"/>
            </a:endParaRPr>
          </a:p>
        </p:txBody>
      </p:sp>
      <p:cxnSp>
        <p:nvCxnSpPr>
          <p:cNvPr id="16" name="13 Conector recto">
            <a:extLst>
              <a:ext uri="{FF2B5EF4-FFF2-40B4-BE49-F238E27FC236}">
                <a16:creationId xmlns:a16="http://schemas.microsoft.com/office/drawing/2014/main" id="{C1D954C7-7B95-4348-AA23-4F9F29D85489}"/>
              </a:ext>
            </a:extLst>
          </p:cNvPr>
          <p:cNvCxnSpPr/>
          <p:nvPr/>
        </p:nvCxnSpPr>
        <p:spPr>
          <a:xfrm>
            <a:off x="487494" y="1052736"/>
            <a:ext cx="6130925"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32239" y="344850"/>
            <a:ext cx="1115873" cy="540067"/>
          </a:xfrm>
          <a:prstGeom prst="rect">
            <a:avLst/>
          </a:prstGeom>
        </p:spPr>
      </p:pic>
    </p:spTree>
    <p:extLst>
      <p:ext uri="{BB962C8B-B14F-4D97-AF65-F5344CB8AC3E}">
        <p14:creationId xmlns:p14="http://schemas.microsoft.com/office/powerpoint/2010/main" val="39226923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29425F"/>
        </a:solidFill>
        <a:effectLst/>
      </p:bgPr>
    </p:bg>
    <p:spTree>
      <p:nvGrpSpPr>
        <p:cNvPr id="1" name=""/>
        <p:cNvGrpSpPr/>
        <p:nvPr/>
      </p:nvGrpSpPr>
      <p:grpSpPr>
        <a:xfrm>
          <a:off x="0" y="0"/>
          <a:ext cx="0" cy="0"/>
          <a:chOff x="0" y="0"/>
          <a:chExt cx="0" cy="0"/>
        </a:xfrm>
      </p:grpSpPr>
      <p:graphicFrame>
        <p:nvGraphicFramePr>
          <p:cNvPr id="9218" name="12 Objeto"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4" imgW="360" imgH="360" progId="TCLayout.ActiveDocument.1">
                  <p:embed/>
                </p:oleObj>
              </mc:Choice>
              <mc:Fallback>
                <p:oleObj name="Diapositiva de think-cell" r:id="rId4" imgW="360" imgH="360" progId="TCLayout.ActiveDocument.1">
                  <p:embed/>
                  <p:pic>
                    <p:nvPicPr>
                      <p:cNvPr id="9218" name="12 Objeto"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219" name="Rectangle 243"/>
          <p:cNvSpPr>
            <a:spLocks noChangeArrowheads="1"/>
          </p:cNvSpPr>
          <p:nvPr/>
        </p:nvSpPr>
        <p:spPr bwMode="auto">
          <a:xfrm>
            <a:off x="1706563" y="1795463"/>
            <a:ext cx="5692775" cy="508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p>
            <a:pPr eaLnBrk="1" hangingPunct="1"/>
            <a:endParaRPr lang="es-ES" altLang="es-CL">
              <a:solidFill>
                <a:srgbClr val="333333"/>
              </a:solidFill>
              <a:latin typeface="Arial" pitchFamily="34" charset="0"/>
            </a:endParaRPr>
          </a:p>
        </p:txBody>
      </p:sp>
      <p:sp>
        <p:nvSpPr>
          <p:cNvPr id="9220" name="263 CuadroTexto"/>
          <p:cNvSpPr txBox="1">
            <a:spLocks noChangeArrowheads="1"/>
          </p:cNvSpPr>
          <p:nvPr/>
        </p:nvSpPr>
        <p:spPr bwMode="auto">
          <a:xfrm>
            <a:off x="2585080" y="2708275"/>
            <a:ext cx="3973845"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a:r>
              <a:rPr lang="es-CL" altLang="es-CL" sz="3600" b="1" dirty="0">
                <a:solidFill>
                  <a:srgbClr val="F9FAFA"/>
                </a:solidFill>
                <a:latin typeface="Verdana" pitchFamily="34" charset="0"/>
              </a:rPr>
              <a:t>Muchas gracias</a:t>
            </a:r>
          </a:p>
        </p:txBody>
      </p:sp>
      <p:grpSp>
        <p:nvGrpSpPr>
          <p:cNvPr id="9221" name="4 Grupo"/>
          <p:cNvGrpSpPr>
            <a:grpSpLocks/>
          </p:cNvGrpSpPr>
          <p:nvPr/>
        </p:nvGrpSpPr>
        <p:grpSpPr bwMode="auto">
          <a:xfrm>
            <a:off x="2868613" y="4076700"/>
            <a:ext cx="3406775" cy="2189163"/>
            <a:chOff x="2835871" y="4246927"/>
            <a:chExt cx="3406775" cy="2189163"/>
          </a:xfrm>
        </p:grpSpPr>
        <p:sp>
          <p:nvSpPr>
            <p:cNvPr id="9224" name="Rectangle 3"/>
            <p:cNvSpPr>
              <a:spLocks noChangeArrowheads="1"/>
            </p:cNvSpPr>
            <p:nvPr/>
          </p:nvSpPr>
          <p:spPr bwMode="auto">
            <a:xfrm>
              <a:off x="2848571" y="4291377"/>
              <a:ext cx="3384550" cy="2125663"/>
            </a:xfrm>
            <a:prstGeom prst="rect">
              <a:avLst/>
            </a:prstGeom>
            <a:solidFill>
              <a:srgbClr val="FFFFFF">
                <a:alpha val="10196"/>
              </a:srgbClr>
            </a:solidFill>
            <a:ln>
              <a:noFill/>
            </a:ln>
            <a:effectLst/>
            <a:extLst>
              <a:ext uri="{91240B29-F687-4F45-9708-019B960494DF}">
                <a14:hiddenLine xmlns:a14="http://schemas.microsoft.com/office/drawing/2010/main" w="9525" algn="in">
                  <a:solidFill>
                    <a:srgbClr val="333333"/>
                  </a:solidFill>
                  <a:miter lim="800000"/>
                  <a:headEnd/>
                  <a:tailEnd/>
                </a14:hiddenLine>
              </a:ext>
              <a:ext uri="{AF507438-7753-43E0-B8FC-AC1667EBCBE1}">
                <a14:hiddenEffects xmlns:a14="http://schemas.microsoft.com/office/drawing/2010/main">
                  <a:effectLst>
                    <a:outerShdw dist="35921" dir="2700000" algn="ctr" rotWithShape="0">
                      <a:srgbClr val="9BCA46"/>
                    </a:outerShdw>
                  </a:effectLst>
                </a14:hiddenEffects>
              </a:ext>
            </a:extLst>
          </p:spPr>
          <p:txBody>
            <a:bodyPr lIns="36576" tIns="36576" rIns="36576" bIns="36576"/>
            <a:lstStyle/>
            <a:p>
              <a:pPr eaLnBrk="1" hangingPunct="1"/>
              <a:endParaRPr lang="es-CL" altLang="es-CL">
                <a:latin typeface="Arial" pitchFamily="34" charset="0"/>
              </a:endParaRPr>
            </a:p>
          </p:txBody>
        </p:sp>
        <p:pic>
          <p:nvPicPr>
            <p:cNvPr id="9225" name="Picture 4" descr="franja GOB-03-04"/>
            <p:cNvPicPr preferRelativeResize="0">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flipV="1">
              <a:off x="2842221" y="4246927"/>
              <a:ext cx="3400425" cy="46038"/>
            </a:xfrm>
            <a:prstGeom prst="rect">
              <a:avLst/>
            </a:prstGeom>
            <a:noFill/>
            <a:ln>
              <a:noFill/>
            </a:ln>
            <a:effectLst/>
            <a:extLst>
              <a:ext uri="{909E8E84-426E-40DD-AFC4-6F175D3DCCD1}">
                <a14:hiddenFill xmlns:a14="http://schemas.microsoft.com/office/drawing/2010/main">
                  <a:solidFill>
                    <a:srgbClr val="F9FAFA"/>
                  </a:solidFill>
                </a14:hiddenFill>
              </a:ext>
              <a:ext uri="{91240B29-F687-4F45-9708-019B960494DF}">
                <a14:hiddenLine xmlns:a14="http://schemas.microsoft.com/office/drawing/2010/main" w="3175" algn="in">
                  <a:solidFill>
                    <a:srgbClr val="333333"/>
                  </a:solidFill>
                  <a:miter lim="800000"/>
                  <a:headEnd/>
                  <a:tailEnd/>
                </a14:hiddenLine>
              </a:ext>
              <a:ext uri="{AF507438-7753-43E0-B8FC-AC1667EBCBE1}">
                <a14:hiddenEffects xmlns:a14="http://schemas.microsoft.com/office/drawing/2010/main">
                  <a:effectLst>
                    <a:outerShdw dist="35921" dir="2700000" algn="ctr" rotWithShape="0">
                      <a:srgbClr val="9BCA46"/>
                    </a:outerShdw>
                  </a:effectLst>
                </a14:hiddenEffects>
              </a:ext>
            </a:extLst>
          </p:spPr>
        </p:pic>
        <p:sp>
          <p:nvSpPr>
            <p:cNvPr id="9226" name="Text Box 5"/>
            <p:cNvSpPr txBox="1">
              <a:spLocks noChangeArrowheads="1"/>
            </p:cNvSpPr>
            <p:nvPr/>
          </p:nvSpPr>
          <p:spPr bwMode="auto">
            <a:xfrm>
              <a:off x="2835871" y="4407265"/>
              <a:ext cx="3398838" cy="2028825"/>
            </a:xfrm>
            <a:prstGeom prst="rect">
              <a:avLst/>
            </a:prstGeom>
            <a:noFill/>
            <a:ln>
              <a:noFill/>
            </a:ln>
            <a:effectLst/>
            <a:extLst>
              <a:ext uri="{909E8E84-426E-40DD-AFC4-6F175D3DCCD1}">
                <a14:hiddenFill xmlns:a14="http://schemas.microsoft.com/office/drawing/2010/main">
                  <a:solidFill>
                    <a:srgbClr val="F9FAFA"/>
                  </a:solidFill>
                </a14:hiddenFill>
              </a:ext>
              <a:ext uri="{91240B29-F687-4F45-9708-019B960494DF}">
                <a14:hiddenLine xmlns:a14="http://schemas.microsoft.com/office/drawing/2010/main" w="9525" algn="in">
                  <a:solidFill>
                    <a:srgbClr val="333333"/>
                  </a:solidFill>
                  <a:miter lim="800000"/>
                  <a:headEnd/>
                  <a:tailEnd/>
                </a14:hiddenLine>
              </a:ext>
              <a:ext uri="{AF507438-7753-43E0-B8FC-AC1667EBCBE1}">
                <a14:hiddenEffects xmlns:a14="http://schemas.microsoft.com/office/drawing/2010/main">
                  <a:effectLst>
                    <a:outerShdw dist="35921" dir="2700000" algn="ctr" rotWithShape="0">
                      <a:srgbClr val="9BCA46"/>
                    </a:outerShdw>
                  </a:effectLst>
                </a14:hiddenEffects>
              </a:ext>
            </a:extLst>
          </p:spPr>
          <p:txBody>
            <a:bodyPr lIns="36576" tIns="36576" rIns="36576" bIns="36576"/>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hangingPunct="1"/>
              <a:r>
                <a:rPr lang="es-CL" altLang="es-CL" sz="1400" b="1" dirty="0">
                  <a:solidFill>
                    <a:srgbClr val="FFFFFF"/>
                  </a:solidFill>
                  <a:latin typeface="gobCL" pitchFamily="50" charset="0"/>
                </a:rPr>
                <a:t>Comisión Nacional de Energía</a:t>
              </a:r>
            </a:p>
            <a:p>
              <a:pPr algn="ctr" eaLnBrk="1" hangingPunct="1"/>
              <a:r>
                <a:rPr lang="es-CL" altLang="es-CL" sz="900" dirty="0">
                  <a:solidFill>
                    <a:srgbClr val="FFFFFF"/>
                  </a:solidFill>
                  <a:latin typeface="gobCL" pitchFamily="50" charset="0"/>
                </a:rPr>
                <a:t>Av. Lib. B. O´Higgins 1449, </a:t>
              </a:r>
              <a:r>
                <a:rPr lang="es-CL" altLang="es-CL" sz="900" dirty="0" err="1">
                  <a:solidFill>
                    <a:srgbClr val="FFFFFF"/>
                  </a:solidFill>
                  <a:latin typeface="gobCL" pitchFamily="50" charset="0"/>
                </a:rPr>
                <a:t>Stgo</a:t>
              </a:r>
              <a:r>
                <a:rPr lang="es-CL" altLang="es-CL" sz="900" dirty="0">
                  <a:solidFill>
                    <a:srgbClr val="FFFFFF"/>
                  </a:solidFill>
                  <a:latin typeface="gobCL" pitchFamily="50" charset="0"/>
                </a:rPr>
                <a:t>. </a:t>
              </a:r>
              <a:r>
                <a:rPr lang="es-CL" altLang="es-CL" sz="900" dirty="0" err="1">
                  <a:solidFill>
                    <a:srgbClr val="FFFFFF"/>
                  </a:solidFill>
                  <a:latin typeface="gobCL" pitchFamily="50" charset="0"/>
                </a:rPr>
                <a:t>Downtown</a:t>
              </a:r>
              <a:r>
                <a:rPr lang="es-CL" altLang="es-CL" sz="900" dirty="0">
                  <a:solidFill>
                    <a:srgbClr val="FFFFFF"/>
                  </a:solidFill>
                  <a:latin typeface="gobCL" pitchFamily="50" charset="0"/>
                </a:rPr>
                <a:t> Torre IV, Piso 13</a:t>
              </a:r>
              <a:br>
                <a:rPr lang="es-CL" altLang="es-CL" sz="900" dirty="0">
                  <a:solidFill>
                    <a:srgbClr val="FFFFFF"/>
                  </a:solidFill>
                  <a:latin typeface="gobCL" pitchFamily="50" charset="0"/>
                </a:rPr>
              </a:br>
              <a:r>
                <a:rPr lang="es-CL" altLang="es-CL" sz="900" dirty="0">
                  <a:solidFill>
                    <a:srgbClr val="FFFFFF"/>
                  </a:solidFill>
                  <a:latin typeface="gobCL" pitchFamily="50" charset="0"/>
                </a:rPr>
                <a:t>Tel. (2) 2797 2600</a:t>
              </a:r>
              <a:br>
                <a:rPr lang="es-CL" altLang="es-CL" sz="900" dirty="0">
                  <a:solidFill>
                    <a:srgbClr val="FFFFFF"/>
                  </a:solidFill>
                  <a:latin typeface="gobCL" pitchFamily="50" charset="0"/>
                </a:rPr>
              </a:br>
              <a:r>
                <a:rPr lang="es-CL" altLang="es-CL" sz="900" dirty="0">
                  <a:solidFill>
                    <a:srgbClr val="FFFFFF"/>
                  </a:solidFill>
                  <a:latin typeface="gobCL" pitchFamily="50" charset="0"/>
                </a:rPr>
                <a:t>Fax. (2) 2797 2627</a:t>
              </a:r>
            </a:p>
            <a:p>
              <a:pPr algn="ctr" eaLnBrk="1" hangingPunct="1"/>
              <a:r>
                <a:rPr lang="es-CL" altLang="es-CL" sz="900" b="1" dirty="0">
                  <a:solidFill>
                    <a:srgbClr val="FFFFFF"/>
                  </a:solidFill>
                  <a:latin typeface="gobCL" pitchFamily="50" charset="0"/>
                </a:rPr>
                <a:t>www.cne.cl</a:t>
              </a:r>
            </a:p>
            <a:p>
              <a:pPr algn="ctr" eaLnBrk="1" hangingPunct="1"/>
              <a:endParaRPr lang="es-CL" altLang="es-CL" sz="800" dirty="0">
                <a:solidFill>
                  <a:srgbClr val="FFFFFF"/>
                </a:solidFill>
                <a:latin typeface="gobCL" pitchFamily="50" charset="0"/>
              </a:endParaRPr>
            </a:p>
            <a:p>
              <a:pPr algn="ctr" eaLnBrk="1" hangingPunct="1"/>
              <a:r>
                <a:rPr lang="es-CL" altLang="es-CL" sz="800" i="1" dirty="0">
                  <a:solidFill>
                    <a:srgbClr val="FFFFFF"/>
                  </a:solidFill>
                  <a:latin typeface="gobCL" pitchFamily="50" charset="0"/>
                </a:rPr>
                <a:t>Santiago - Chile </a:t>
              </a:r>
              <a:endParaRPr lang="en-US" altLang="es-CL" dirty="0">
                <a:latin typeface="Arial" pitchFamily="34" charset="0"/>
              </a:endParaRPr>
            </a:p>
          </p:txBody>
        </p:sp>
      </p:grpSp>
      <p:pic>
        <p:nvPicPr>
          <p:cNvPr id="9223" name="Picture 2" descr="\\natura\Unidad de Informacion y Estadisticas\Energía Abierta\Logo EA\Banner\Banner_EA_LOGO.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35825" y="5213350"/>
            <a:ext cx="647700" cy="955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94305" y="5655476"/>
            <a:ext cx="2140908" cy="563550"/>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53" descr="Resultado de imagen para banderas costa rica">
            <a:extLst>
              <a:ext uri="{FF2B5EF4-FFF2-40B4-BE49-F238E27FC236}">
                <a16:creationId xmlns:a16="http://schemas.microsoft.com/office/drawing/2014/main" id="{80D6C2E0-29EF-424E-BE18-033C2F1D5C2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16863" y="5338763"/>
            <a:ext cx="608012"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1" name="Picture 51" descr="Resultado de imagen para banderas uruguay">
            <a:extLst>
              <a:ext uri="{FF2B5EF4-FFF2-40B4-BE49-F238E27FC236}">
                <a16:creationId xmlns:a16="http://schemas.microsoft.com/office/drawing/2014/main" id="{FBCABF47-433A-4E90-9B7A-43FD558BE583}"/>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89538" y="5262563"/>
            <a:ext cx="663575"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2" name="Picture 49" descr="Resultado de imagen para banderas puerto rico">
            <a:extLst>
              <a:ext uri="{FF2B5EF4-FFF2-40B4-BE49-F238E27FC236}">
                <a16:creationId xmlns:a16="http://schemas.microsoft.com/office/drawing/2014/main" id="{5DD81996-1046-4E79-B9F0-D61C1A35A21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738438" y="5259388"/>
            <a:ext cx="614362" cy="40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3" name="Picture 47" descr="Resultado de imagen para banderas colombia">
            <a:extLst>
              <a:ext uri="{FF2B5EF4-FFF2-40B4-BE49-F238E27FC236}">
                <a16:creationId xmlns:a16="http://schemas.microsoft.com/office/drawing/2014/main" id="{01ED1B41-6B23-48B5-AEF9-4485960857F9}"/>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12100" y="4354513"/>
            <a:ext cx="615950" cy="40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4" name="Picture 45" descr="Resultado de imagen para banderas brasil">
            <a:extLst>
              <a:ext uri="{FF2B5EF4-FFF2-40B4-BE49-F238E27FC236}">
                <a16:creationId xmlns:a16="http://schemas.microsoft.com/office/drawing/2014/main" id="{83D62112-A624-426B-9958-F78C98AEEB39}"/>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267325" y="4362450"/>
            <a:ext cx="620713" cy="434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5" name="Picture 43" descr="Imagen relacionada">
            <a:extLst>
              <a:ext uri="{FF2B5EF4-FFF2-40B4-BE49-F238E27FC236}">
                <a16:creationId xmlns:a16="http://schemas.microsoft.com/office/drawing/2014/main" id="{1B084D94-9820-4FB3-B024-7B51DA17857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678113" y="4354513"/>
            <a:ext cx="630237"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6" name="Picture 39" descr="Resultado de imagen para banderas portugal">
            <a:extLst>
              <a:ext uri="{FF2B5EF4-FFF2-40B4-BE49-F238E27FC236}">
                <a16:creationId xmlns:a16="http://schemas.microsoft.com/office/drawing/2014/main" id="{3DF4FE52-FA7C-426D-B889-B955A2752183}"/>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020050" y="3490913"/>
            <a:ext cx="584200"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7" name="Picture 37" descr="Resultado de imagen para banderas guatemala">
            <a:extLst>
              <a:ext uri="{FF2B5EF4-FFF2-40B4-BE49-F238E27FC236}">
                <a16:creationId xmlns:a16="http://schemas.microsoft.com/office/drawing/2014/main" id="{25A881D0-DE79-482A-9DFE-4C3C1025A106}"/>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392738" y="3446463"/>
            <a:ext cx="547687"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8" name="Picture 35" descr="Resultado de imagen para banderas chile escudo">
            <a:extLst>
              <a:ext uri="{FF2B5EF4-FFF2-40B4-BE49-F238E27FC236}">
                <a16:creationId xmlns:a16="http://schemas.microsoft.com/office/drawing/2014/main" id="{39FC7C02-CBEF-42B1-923C-3C72B611F6A4}"/>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703513" y="3459163"/>
            <a:ext cx="615950" cy="41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9" name="Picture 33" descr="Resultado de imagen para banderas bolivia">
            <a:extLst>
              <a:ext uri="{FF2B5EF4-FFF2-40B4-BE49-F238E27FC236}">
                <a16:creationId xmlns:a16="http://schemas.microsoft.com/office/drawing/2014/main" id="{1CC64A1B-04FF-4D9A-850C-794941BB7640}"/>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974013" y="2552700"/>
            <a:ext cx="609600"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0" name="Picture 31" descr="Resultado de imagen para banderas panama">
            <a:extLst>
              <a:ext uri="{FF2B5EF4-FFF2-40B4-BE49-F238E27FC236}">
                <a16:creationId xmlns:a16="http://schemas.microsoft.com/office/drawing/2014/main" id="{355369AE-836A-4A72-A96D-A9178D5A1E53}"/>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289550" y="2565400"/>
            <a:ext cx="611188"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1" name="Picture 29" descr="Imagen relacionada">
            <a:extLst>
              <a:ext uri="{FF2B5EF4-FFF2-40B4-BE49-F238E27FC236}">
                <a16:creationId xmlns:a16="http://schemas.microsoft.com/office/drawing/2014/main" id="{2BE586A7-5152-4CF0-9BF1-60B2C7EE06B8}"/>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719388" y="2492375"/>
            <a:ext cx="652462"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2" name="Picture 23" descr="Resultado de imagen para banderas peru">
            <a:extLst>
              <a:ext uri="{FF2B5EF4-FFF2-40B4-BE49-F238E27FC236}">
                <a16:creationId xmlns:a16="http://schemas.microsoft.com/office/drawing/2014/main" id="{709820DB-A499-4EBA-B211-85DDDD1C3676}"/>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961313" y="1652588"/>
            <a:ext cx="714375"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3" name="Picture 21" descr="Imagen relacionada">
            <a:extLst>
              <a:ext uri="{FF2B5EF4-FFF2-40B4-BE49-F238E27FC236}">
                <a16:creationId xmlns:a16="http://schemas.microsoft.com/office/drawing/2014/main" id="{3BF11143-FDB6-46F4-9BCF-029E0CEDFD2F}"/>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267325" y="1654175"/>
            <a:ext cx="600075"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4" name="Picture 15" descr="Resultado de imagen para banderas espaÃ±a">
            <a:extLst>
              <a:ext uri="{FF2B5EF4-FFF2-40B4-BE49-F238E27FC236}">
                <a16:creationId xmlns:a16="http://schemas.microsoft.com/office/drawing/2014/main" id="{E043AEEF-4AF4-4E2C-BB20-14C3D87D857F}"/>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771775" y="1670050"/>
            <a:ext cx="547688"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185" name="9 Grupo">
            <a:extLst>
              <a:ext uri="{FF2B5EF4-FFF2-40B4-BE49-F238E27FC236}">
                <a16:creationId xmlns:a16="http://schemas.microsoft.com/office/drawing/2014/main" id="{78E69CD8-BFEB-4184-8AC2-A11927BE2C77}"/>
              </a:ext>
            </a:extLst>
          </p:cNvPr>
          <p:cNvGrpSpPr>
            <a:grpSpLocks/>
          </p:cNvGrpSpPr>
          <p:nvPr/>
        </p:nvGrpSpPr>
        <p:grpSpPr bwMode="auto">
          <a:xfrm>
            <a:off x="395288" y="6683375"/>
            <a:ext cx="2035175" cy="174625"/>
            <a:chOff x="401947" y="-7557"/>
            <a:chExt cx="2035173" cy="174625"/>
          </a:xfrm>
        </p:grpSpPr>
        <p:sp>
          <p:nvSpPr>
            <p:cNvPr id="7" name="6 Rectángulo">
              <a:extLst>
                <a:ext uri="{FF2B5EF4-FFF2-40B4-BE49-F238E27FC236}">
                  <a16:creationId xmlns:a16="http://schemas.microsoft.com/office/drawing/2014/main" id="{C4EC4021-E2DB-4D99-843E-7AFCD1B71D45}"/>
                </a:ext>
              </a:extLst>
            </p:cNvPr>
            <p:cNvSpPr>
              <a:spLocks noChangeArrowheads="1"/>
            </p:cNvSpPr>
            <p:nvPr/>
          </p:nvSpPr>
          <p:spPr bwMode="auto">
            <a:xfrm>
              <a:off x="401947" y="-7557"/>
              <a:ext cx="908049" cy="174625"/>
            </a:xfrm>
            <a:prstGeom prst="rect">
              <a:avLst/>
            </a:prstGeom>
            <a:solidFill>
              <a:srgbClr val="1069B1"/>
            </a:solidFill>
            <a:ln w="3175">
              <a:solidFill>
                <a:srgbClr val="1069B1"/>
              </a:solidFill>
              <a:miter lim="800000"/>
              <a:headEnd/>
              <a:tailEnd/>
            </a:ln>
            <a:effectLst>
              <a:outerShdw blurRad="40000" dist="23000" dir="5400000" rotWithShape="0">
                <a:srgbClr val="808080">
                  <a:alpha val="34998"/>
                </a:srgbClr>
              </a:outerShdw>
            </a:effectLst>
          </p:spPr>
          <p:txBody>
            <a:bodyPr anchor="ctr"/>
            <a:lstStyle/>
            <a:p>
              <a:pPr algn="ctr" eaLnBrk="1" hangingPunct="1">
                <a:defRPr/>
              </a:pPr>
              <a:endParaRPr lang="es-CL" altLang="es-ES_tradnl">
                <a:solidFill>
                  <a:srgbClr val="FFFFFF"/>
                </a:solidFill>
              </a:endParaRPr>
            </a:p>
          </p:txBody>
        </p:sp>
        <p:sp>
          <p:nvSpPr>
            <p:cNvPr id="8" name="7 Rectángulo">
              <a:extLst>
                <a:ext uri="{FF2B5EF4-FFF2-40B4-BE49-F238E27FC236}">
                  <a16:creationId xmlns:a16="http://schemas.microsoft.com/office/drawing/2014/main" id="{716AFD25-0A40-4D00-9C6C-48DACF2FB697}"/>
                </a:ext>
              </a:extLst>
            </p:cNvPr>
            <p:cNvSpPr>
              <a:spLocks noChangeArrowheads="1"/>
            </p:cNvSpPr>
            <p:nvPr/>
          </p:nvSpPr>
          <p:spPr bwMode="auto">
            <a:xfrm>
              <a:off x="1313171" y="-7557"/>
              <a:ext cx="1123949" cy="174625"/>
            </a:xfrm>
            <a:prstGeom prst="rect">
              <a:avLst/>
            </a:prstGeom>
            <a:solidFill>
              <a:srgbClr val="E73C46"/>
            </a:solidFill>
            <a:ln w="3175">
              <a:solidFill>
                <a:srgbClr val="E73C46"/>
              </a:solidFill>
              <a:miter lim="800000"/>
              <a:headEnd/>
              <a:tailEnd/>
            </a:ln>
            <a:effectLst>
              <a:outerShdw blurRad="40000" dist="23000" dir="5400000" rotWithShape="0">
                <a:srgbClr val="808080">
                  <a:alpha val="34998"/>
                </a:srgbClr>
              </a:outerShdw>
            </a:effectLst>
          </p:spPr>
          <p:txBody>
            <a:bodyPr anchor="ctr"/>
            <a:lstStyle/>
            <a:p>
              <a:pPr algn="ctr" eaLnBrk="1" hangingPunct="1">
                <a:defRPr/>
              </a:pPr>
              <a:endParaRPr lang="es-CL" altLang="es-ES_tradnl">
                <a:solidFill>
                  <a:srgbClr val="FFFFFF"/>
                </a:solidFill>
              </a:endParaRPr>
            </a:p>
          </p:txBody>
        </p:sp>
      </p:grpSp>
      <p:sp>
        <p:nvSpPr>
          <p:cNvPr id="7187" name="2 Marcador de número de diapositiva">
            <a:extLst>
              <a:ext uri="{FF2B5EF4-FFF2-40B4-BE49-F238E27FC236}">
                <a16:creationId xmlns:a16="http://schemas.microsoft.com/office/drawing/2014/main" id="{6A854EBF-0C76-4D79-913E-C99E621D490A}"/>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fld id="{7C39B11C-24FA-4DD2-9715-2E2BC8238986}" type="slidenum">
              <a:rPr lang="es-ES" altLang="es-ES_tradnl" sz="1000">
                <a:solidFill>
                  <a:srgbClr val="8F8F8F"/>
                </a:solidFill>
              </a:rPr>
              <a:pPr/>
              <a:t>2</a:t>
            </a:fld>
            <a:endParaRPr lang="es-ES" altLang="es-ES_tradnl" sz="1000">
              <a:solidFill>
                <a:srgbClr val="8F8F8F"/>
              </a:solidFill>
            </a:endParaRPr>
          </a:p>
        </p:txBody>
      </p:sp>
      <p:sp>
        <p:nvSpPr>
          <p:cNvPr id="7188" name="16 Marcador de pie de página">
            <a:extLst>
              <a:ext uri="{FF2B5EF4-FFF2-40B4-BE49-F238E27FC236}">
                <a16:creationId xmlns:a16="http://schemas.microsoft.com/office/drawing/2014/main" id="{9EA0C93C-E2F5-4FFD-B705-D0D477C69DB6}"/>
              </a:ext>
            </a:extLst>
          </p:cNvPr>
          <p:cNvSpPr txBox="1">
            <a:spLocks/>
          </p:cNvSpPr>
          <p:nvPr/>
        </p:nvSpPr>
        <p:spPr bwMode="auto">
          <a:xfrm>
            <a:off x="4464050" y="6592888"/>
            <a:ext cx="2159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r>
              <a:rPr lang="es-CL" altLang="es-ES_tradnl" sz="1000">
                <a:solidFill>
                  <a:srgbClr val="898989"/>
                </a:solidFill>
              </a:rPr>
              <a:t>CNE</a:t>
            </a:r>
            <a:endParaRPr lang="es-ES" altLang="es-ES_tradnl" sz="1000">
              <a:solidFill>
                <a:srgbClr val="898989"/>
              </a:solidFill>
            </a:endParaRPr>
          </a:p>
        </p:txBody>
      </p:sp>
      <p:cxnSp>
        <p:nvCxnSpPr>
          <p:cNvPr id="14" name="13 Conector recto">
            <a:extLst>
              <a:ext uri="{FF2B5EF4-FFF2-40B4-BE49-F238E27FC236}">
                <a16:creationId xmlns:a16="http://schemas.microsoft.com/office/drawing/2014/main" id="{CE1F678F-3C54-4477-AAF7-2602C472C658}"/>
              </a:ext>
            </a:extLst>
          </p:cNvPr>
          <p:cNvCxnSpPr/>
          <p:nvPr/>
        </p:nvCxnSpPr>
        <p:spPr>
          <a:xfrm>
            <a:off x="457200" y="1036638"/>
            <a:ext cx="6130925"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 name="1 Diagrama">
            <a:extLst>
              <a:ext uri="{FF2B5EF4-FFF2-40B4-BE49-F238E27FC236}">
                <a16:creationId xmlns:a16="http://schemas.microsoft.com/office/drawing/2014/main" id="{A3DA62B9-A5B0-4C05-8700-6F04AA36C390}"/>
              </a:ext>
            </a:extLst>
          </p:cNvPr>
          <p:cNvGraphicFramePr/>
          <p:nvPr>
            <p:extLst>
              <p:ext uri="{D42A27DB-BD31-4B8C-83A1-F6EECF244321}">
                <p14:modId xmlns:p14="http://schemas.microsoft.com/office/powerpoint/2010/main" val="349108029"/>
              </p:ext>
            </p:extLst>
          </p:nvPr>
        </p:nvGraphicFramePr>
        <p:xfrm>
          <a:off x="522462" y="1585913"/>
          <a:ext cx="7992888" cy="4684710"/>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sp>
        <p:nvSpPr>
          <p:cNvPr id="7192" name="CuadroTexto 12">
            <a:extLst>
              <a:ext uri="{FF2B5EF4-FFF2-40B4-BE49-F238E27FC236}">
                <a16:creationId xmlns:a16="http://schemas.microsoft.com/office/drawing/2014/main" id="{2A7530C6-340D-4359-95A3-7BA674186FD2}"/>
              </a:ext>
            </a:extLst>
          </p:cNvPr>
          <p:cNvSpPr txBox="1">
            <a:spLocks noChangeArrowheads="1"/>
          </p:cNvSpPr>
          <p:nvPr/>
        </p:nvSpPr>
        <p:spPr bwMode="auto">
          <a:xfrm>
            <a:off x="7777163" y="5668963"/>
            <a:ext cx="886781"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r>
              <a:rPr lang="es-CL" altLang="es-CL" sz="5400" b="1" dirty="0"/>
              <a:t>15</a:t>
            </a:r>
          </a:p>
        </p:txBody>
      </p:sp>
      <p:sp>
        <p:nvSpPr>
          <p:cNvPr id="7195" name="AutoShape 17" descr="Imagen relacionada">
            <a:extLst>
              <a:ext uri="{FF2B5EF4-FFF2-40B4-BE49-F238E27FC236}">
                <a16:creationId xmlns:a16="http://schemas.microsoft.com/office/drawing/2014/main" id="{F3193B1F-98F2-41AE-A126-88A39F7EDDD5}"/>
              </a:ext>
            </a:extLst>
          </p:cNvPr>
          <p:cNvSpPr>
            <a:spLocks noChangeAspect="1" noChangeArrowheads="1"/>
          </p:cNvSpPr>
          <p:nvPr/>
        </p:nvSpPr>
        <p:spPr bwMode="auto">
          <a:xfrm>
            <a:off x="4419600" y="327660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endParaRPr lang="es-CL" altLang="es-CL"/>
          </a:p>
        </p:txBody>
      </p:sp>
      <p:sp>
        <p:nvSpPr>
          <p:cNvPr id="33" name="18 CuadroTexto">
            <a:extLst>
              <a:ext uri="{FF2B5EF4-FFF2-40B4-BE49-F238E27FC236}">
                <a16:creationId xmlns:a16="http://schemas.microsoft.com/office/drawing/2014/main" id="{528B7A16-DEDC-495C-92C0-23B34EFF72A0}"/>
              </a:ext>
            </a:extLst>
          </p:cNvPr>
          <p:cNvSpPr txBox="1">
            <a:spLocks noChangeArrowheads="1"/>
          </p:cNvSpPr>
          <p:nvPr/>
        </p:nvSpPr>
        <p:spPr bwMode="auto">
          <a:xfrm>
            <a:off x="487363" y="254239"/>
            <a:ext cx="6580186"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r>
              <a:rPr lang="es-CL" sz="1600" b="1" dirty="0">
                <a:ln>
                  <a:solidFill>
                    <a:srgbClr val="F9FAFA"/>
                  </a:solidFill>
                </a:ln>
                <a:solidFill>
                  <a:schemeClr val="tx2">
                    <a:lumMod val="75000"/>
                  </a:schemeClr>
                </a:solidFill>
                <a:latin typeface="Noto Sans"/>
                <a:ea typeface="Verdana" pitchFamily="34" charset="0"/>
                <a:cs typeface="Verdana" pitchFamily="34" charset="0"/>
              </a:rPr>
              <a:t>GRUPO DE TRABAJO DE GAS (GTG) ARIAE</a:t>
            </a:r>
          </a:p>
          <a:p>
            <a:pPr eaLnBrk="1" hangingPunct="1"/>
            <a:r>
              <a:rPr lang="es-CL" altLang="es-CL" b="1" dirty="0">
                <a:ln>
                  <a:solidFill>
                    <a:srgbClr val="F9FAFA"/>
                  </a:solidFill>
                </a:ln>
                <a:solidFill>
                  <a:schemeClr val="tx2">
                    <a:lumMod val="75000"/>
                  </a:schemeClr>
                </a:solidFill>
                <a:latin typeface="Noto Sans"/>
                <a:ea typeface="Verdana" pitchFamily="34" charset="0"/>
              </a:rPr>
              <a:t>Información sobre los participantes</a:t>
            </a:r>
            <a:endParaRPr lang="es-CL" sz="1400" b="1" dirty="0">
              <a:ln>
                <a:solidFill>
                  <a:srgbClr val="F9FAFA"/>
                </a:solidFill>
              </a:ln>
              <a:solidFill>
                <a:srgbClr val="29425F"/>
              </a:solidFill>
              <a:latin typeface="+mn-lt"/>
              <a:ea typeface="Verdana" pitchFamily="34" charset="0"/>
              <a:cs typeface="Verdana" pitchFamily="34" charset="0"/>
            </a:endParaRPr>
          </a:p>
        </p:txBody>
      </p:sp>
      <p:pic>
        <p:nvPicPr>
          <p:cNvPr id="34" name="Picture 2" descr="\\natura\Unidad de Informacion y Estadisticas\Energía Abierta\Logo EA\Banner\Banner_EA_LOGO.png">
            <a:extLst>
              <a:ext uri="{FF2B5EF4-FFF2-40B4-BE49-F238E27FC236}">
                <a16:creationId xmlns:a16="http://schemas.microsoft.com/office/drawing/2014/main" id="{746B5AB4-65AF-4861-9234-CDA01A76E607}"/>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7974013" y="215900"/>
            <a:ext cx="647700" cy="955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CuadroTexto 36">
            <a:extLst>
              <a:ext uri="{FF2B5EF4-FFF2-40B4-BE49-F238E27FC236}">
                <a16:creationId xmlns:a16="http://schemas.microsoft.com/office/drawing/2014/main" id="{4EE9FDBE-4F4D-40C1-96D5-4A6A687F8999}"/>
              </a:ext>
            </a:extLst>
          </p:cNvPr>
          <p:cNvSpPr txBox="1"/>
          <p:nvPr/>
        </p:nvSpPr>
        <p:spPr>
          <a:xfrm>
            <a:off x="412285" y="1050604"/>
            <a:ext cx="7443943" cy="646331"/>
          </a:xfrm>
          <a:prstGeom prst="rect">
            <a:avLst/>
          </a:prstGeom>
          <a:noFill/>
        </p:spPr>
        <p:txBody>
          <a:bodyPr wrap="square">
            <a:spAutoFit/>
          </a:bodyPr>
          <a:lstStyle/>
          <a:p>
            <a:pPr marL="0" lvl="1" algn="just" eaLnBrk="1" hangingPunct="1">
              <a:spcBef>
                <a:spcPct val="20000"/>
              </a:spcBef>
              <a:defRPr/>
            </a:pPr>
            <a:r>
              <a:rPr lang="es-CL" altLang="es-CL" sz="1800" dirty="0">
                <a:solidFill>
                  <a:schemeClr val="tx2">
                    <a:lumMod val="75000"/>
                  </a:schemeClr>
                </a:solidFill>
                <a:latin typeface="Arial Narrow" panose="020B0606020202030204" pitchFamily="34" charset="0"/>
                <a:cs typeface="+mn-cs"/>
              </a:rPr>
              <a:t>Durante el año 2020, los países miembros del GTG fueron los mismos que el año 2019, tal como se puede apreciar a continuación:</a:t>
            </a:r>
            <a:endParaRPr lang="es-CL" dirty="0"/>
          </a:p>
        </p:txBody>
      </p:sp>
      <p:pic>
        <p:nvPicPr>
          <p:cNvPr id="3" name="Picture 2"/>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6732239" y="344850"/>
            <a:ext cx="1115873" cy="540067"/>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74" name="9 Grupo"/>
          <p:cNvGrpSpPr>
            <a:grpSpLocks/>
          </p:cNvGrpSpPr>
          <p:nvPr/>
        </p:nvGrpSpPr>
        <p:grpSpPr bwMode="auto">
          <a:xfrm>
            <a:off x="395288" y="6683375"/>
            <a:ext cx="2035175" cy="174625"/>
            <a:chOff x="401947" y="-7557"/>
            <a:chExt cx="2035173" cy="174625"/>
          </a:xfrm>
        </p:grpSpPr>
        <p:sp>
          <p:nvSpPr>
            <p:cNvPr id="7" name="6 Rectángulo"/>
            <p:cNvSpPr/>
            <p:nvPr/>
          </p:nvSpPr>
          <p:spPr>
            <a:xfrm>
              <a:off x="401947" y="-7557"/>
              <a:ext cx="908049" cy="174625"/>
            </a:xfrm>
            <a:prstGeom prst="rect">
              <a:avLst/>
            </a:prstGeom>
            <a:solidFill>
              <a:srgbClr val="1069B1"/>
            </a:solidFill>
            <a:ln w="3175">
              <a:solidFill>
                <a:srgbClr val="1069B1"/>
              </a:solid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s-CL" dirty="0">
                <a:solidFill>
                  <a:prstClr val="white"/>
                </a:solidFill>
              </a:endParaRPr>
            </a:p>
          </p:txBody>
        </p:sp>
        <p:sp>
          <p:nvSpPr>
            <p:cNvPr id="8" name="7 Rectángulo"/>
            <p:cNvSpPr/>
            <p:nvPr/>
          </p:nvSpPr>
          <p:spPr>
            <a:xfrm>
              <a:off x="1313171" y="-7557"/>
              <a:ext cx="1123949" cy="174625"/>
            </a:xfrm>
            <a:prstGeom prst="rect">
              <a:avLst/>
            </a:prstGeom>
            <a:solidFill>
              <a:srgbClr val="E73C46"/>
            </a:solidFill>
            <a:ln w="3175">
              <a:solidFill>
                <a:srgbClr val="E73C46"/>
              </a:solid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s-CL" dirty="0">
                <a:solidFill>
                  <a:prstClr val="white"/>
                </a:solidFill>
              </a:endParaRPr>
            </a:p>
          </p:txBody>
        </p:sp>
      </p:grpSp>
      <p:sp>
        <p:nvSpPr>
          <p:cNvPr id="3076" name="2 Marcador de número de diapositiva"/>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fld id="{9B3A7F7F-929F-4173-97DD-09BB88B28EC9}" type="slidenum">
              <a:rPr lang="es-ES" altLang="es-ES" sz="1000" smtClean="0">
                <a:solidFill>
                  <a:srgbClr val="8F8F8F"/>
                </a:solidFill>
              </a:rPr>
              <a:pPr/>
              <a:t>3</a:t>
            </a:fld>
            <a:endParaRPr lang="es-ES" altLang="es-ES" sz="1000" dirty="0">
              <a:solidFill>
                <a:srgbClr val="8F8F8F"/>
              </a:solidFill>
            </a:endParaRPr>
          </a:p>
        </p:txBody>
      </p:sp>
      <p:sp>
        <p:nvSpPr>
          <p:cNvPr id="3077" name="16 Marcador de pie de página"/>
          <p:cNvSpPr txBox="1">
            <a:spLocks/>
          </p:cNvSpPr>
          <p:nvPr/>
        </p:nvSpPr>
        <p:spPr bwMode="auto">
          <a:xfrm>
            <a:off x="4464050" y="6592888"/>
            <a:ext cx="2159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hangingPunct="1"/>
            <a:r>
              <a:rPr lang="es-CL" altLang="es-CL" sz="1000" dirty="0">
                <a:solidFill>
                  <a:srgbClr val="898989"/>
                </a:solidFill>
              </a:rPr>
              <a:t>CNE</a:t>
            </a:r>
            <a:endParaRPr lang="es-ES" altLang="es-CL" sz="1000" dirty="0">
              <a:solidFill>
                <a:srgbClr val="898989"/>
              </a:solidFill>
            </a:endParaRPr>
          </a:p>
        </p:txBody>
      </p:sp>
      <p:pic>
        <p:nvPicPr>
          <p:cNvPr id="3078" name="Picture 2" descr="\\natura\Unidad de Informacion y Estadisticas\Energía Abierta\Logo EA\Banner\Banner_EA_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74013" y="215900"/>
            <a:ext cx="647700" cy="955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CuadroTexto 12">
            <a:extLst>
              <a:ext uri="{FF2B5EF4-FFF2-40B4-BE49-F238E27FC236}">
                <a16:creationId xmlns:a16="http://schemas.microsoft.com/office/drawing/2014/main" id="{DE21F937-CFE4-4C70-8DF7-EBE9E62D437F}"/>
              </a:ext>
            </a:extLst>
          </p:cNvPr>
          <p:cNvSpPr txBox="1"/>
          <p:nvPr/>
        </p:nvSpPr>
        <p:spPr>
          <a:xfrm>
            <a:off x="425803" y="1678023"/>
            <a:ext cx="8226425" cy="5841599"/>
          </a:xfrm>
          <a:prstGeom prst="rect">
            <a:avLst/>
          </a:prstGeom>
          <a:noFill/>
        </p:spPr>
        <p:txBody>
          <a:bodyPr wrap="square">
            <a:spAutoFit/>
          </a:bodyPr>
          <a:lstStyle/>
          <a:p>
            <a:pPr marL="0" lvl="1" algn="just" eaLnBrk="1" hangingPunct="1">
              <a:spcBef>
                <a:spcPct val="20000"/>
              </a:spcBef>
              <a:defRPr/>
            </a:pPr>
            <a:r>
              <a:rPr lang="es-CL" altLang="es-CL" sz="2000" dirty="0">
                <a:solidFill>
                  <a:schemeClr val="tx2">
                    <a:lumMod val="75000"/>
                  </a:schemeClr>
                </a:solidFill>
                <a:latin typeface="Arial Narrow" panose="020B0606020202030204" pitchFamily="34" charset="0"/>
                <a:cs typeface="+mn-cs"/>
              </a:rPr>
              <a:t>Durante la reunión anual del año 2019, el GTG se comprometió que para el año 2020 se alcanzarían los siguientes objetivos:</a:t>
            </a:r>
          </a:p>
          <a:p>
            <a:pPr marL="0" lvl="1" algn="just" eaLnBrk="1" hangingPunct="1">
              <a:spcBef>
                <a:spcPct val="20000"/>
              </a:spcBef>
              <a:defRPr/>
            </a:pPr>
            <a:endParaRPr lang="es-CL" altLang="es-CL" sz="2000" dirty="0">
              <a:solidFill>
                <a:schemeClr val="tx2">
                  <a:lumMod val="75000"/>
                </a:schemeClr>
              </a:solidFill>
              <a:latin typeface="Arial Narrow" panose="020B0606020202030204" pitchFamily="34" charset="0"/>
              <a:cs typeface="+mn-cs"/>
            </a:endParaRPr>
          </a:p>
          <a:p>
            <a:pPr marL="342900" indent="-342900" eaLnBrk="1" hangingPunct="1">
              <a:buFont typeface="+mj-lt"/>
              <a:buAutoNum type="arabicPeriod"/>
              <a:defRPr/>
            </a:pPr>
            <a:endParaRPr lang="es-ES_tradnl" altLang="es-CL" sz="2000" dirty="0">
              <a:solidFill>
                <a:schemeClr val="tx2">
                  <a:lumMod val="75000"/>
                </a:schemeClr>
              </a:solidFill>
              <a:latin typeface="Arial Narrow" panose="020B0606020202030204" pitchFamily="34" charset="0"/>
              <a:cs typeface="+mn-cs"/>
            </a:endParaRPr>
          </a:p>
          <a:p>
            <a:pPr marL="342900" indent="-342900" eaLnBrk="1" hangingPunct="1">
              <a:buFont typeface="+mj-lt"/>
              <a:buAutoNum type="arabicPeriod"/>
              <a:defRPr/>
            </a:pPr>
            <a:r>
              <a:rPr lang="es-ES_tradnl" altLang="es-CL" sz="2000" dirty="0">
                <a:solidFill>
                  <a:schemeClr val="tx2">
                    <a:lumMod val="75000"/>
                  </a:schemeClr>
                </a:solidFill>
                <a:latin typeface="Arial Narrow" panose="020B0606020202030204" pitchFamily="34" charset="0"/>
                <a:cs typeface="+mn-cs"/>
              </a:rPr>
              <a:t>Energía Abierta  - Sistema de Información pública (2019-2020)</a:t>
            </a:r>
          </a:p>
          <a:p>
            <a:pPr marL="342900" indent="-342900" eaLnBrk="1" hangingPunct="1">
              <a:buFont typeface="+mj-lt"/>
              <a:buAutoNum type="arabicPeriod"/>
              <a:defRPr/>
            </a:pPr>
            <a:endParaRPr lang="es-ES_tradnl" altLang="es-CL" sz="2000" dirty="0">
              <a:solidFill>
                <a:schemeClr val="tx2">
                  <a:lumMod val="75000"/>
                </a:schemeClr>
              </a:solidFill>
              <a:latin typeface="Arial Narrow" panose="020B0606020202030204" pitchFamily="34" charset="0"/>
              <a:cs typeface="+mn-cs"/>
            </a:endParaRPr>
          </a:p>
          <a:p>
            <a:pPr marL="342900" indent="-342900" eaLnBrk="1" hangingPunct="1">
              <a:buFont typeface="+mj-lt"/>
              <a:buAutoNum type="arabicPeriod"/>
              <a:defRPr/>
            </a:pPr>
            <a:r>
              <a:rPr lang="es-ES_tradnl" altLang="es-CL" sz="2000" dirty="0">
                <a:solidFill>
                  <a:schemeClr val="tx2">
                    <a:lumMod val="75000"/>
                  </a:schemeClr>
                </a:solidFill>
                <a:latin typeface="Arial Narrow" panose="020B0606020202030204" pitchFamily="34" charset="0"/>
                <a:cs typeface="+mn-cs"/>
              </a:rPr>
              <a:t>Capacitación cruzada entre los propios miembros (2020)</a:t>
            </a:r>
          </a:p>
          <a:p>
            <a:pPr marL="342900" indent="-342900" eaLnBrk="1" hangingPunct="1">
              <a:buFont typeface="+mj-lt"/>
              <a:buAutoNum type="arabicPeriod"/>
              <a:defRPr/>
            </a:pPr>
            <a:endParaRPr lang="es-ES_tradnl" altLang="es-CL" sz="2000" dirty="0">
              <a:solidFill>
                <a:schemeClr val="tx2">
                  <a:lumMod val="75000"/>
                </a:schemeClr>
              </a:solidFill>
              <a:latin typeface="Arial Narrow" panose="020B0606020202030204" pitchFamily="34" charset="0"/>
              <a:cs typeface="+mn-cs"/>
            </a:endParaRPr>
          </a:p>
          <a:p>
            <a:pPr marL="342900" indent="-342900" eaLnBrk="1" hangingPunct="1">
              <a:buFont typeface="+mj-lt"/>
              <a:buAutoNum type="arabicPeriod"/>
              <a:defRPr/>
            </a:pPr>
            <a:r>
              <a:rPr lang="es-ES_tradnl" altLang="es-CL" sz="2000" dirty="0">
                <a:solidFill>
                  <a:schemeClr val="tx2">
                    <a:lumMod val="75000"/>
                  </a:schemeClr>
                </a:solidFill>
                <a:latin typeface="Arial Narrow" panose="020B0606020202030204" pitchFamily="34" charset="0"/>
                <a:cs typeface="+mn-cs"/>
              </a:rPr>
              <a:t>Cooperación público-privada y transferencia de experiencias (2020)</a:t>
            </a:r>
          </a:p>
          <a:p>
            <a:pPr marL="342900" indent="-342900" eaLnBrk="1" hangingPunct="1">
              <a:buFont typeface="+mj-lt"/>
              <a:buAutoNum type="arabicPeriod"/>
              <a:defRPr/>
            </a:pPr>
            <a:endParaRPr lang="es-ES_tradnl" altLang="es-CL" sz="2000" dirty="0">
              <a:solidFill>
                <a:schemeClr val="tx2">
                  <a:lumMod val="75000"/>
                </a:schemeClr>
              </a:solidFill>
              <a:latin typeface="Arial Narrow" panose="020B0606020202030204" pitchFamily="34" charset="0"/>
              <a:cs typeface="+mn-cs"/>
            </a:endParaRPr>
          </a:p>
          <a:p>
            <a:pPr marL="342900" indent="-342900" eaLnBrk="1" hangingPunct="1">
              <a:buFont typeface="+mj-lt"/>
              <a:buAutoNum type="arabicPeriod"/>
              <a:defRPr/>
            </a:pPr>
            <a:r>
              <a:rPr lang="es-ES_tradnl" altLang="es-CL" sz="2000" dirty="0">
                <a:solidFill>
                  <a:schemeClr val="tx2">
                    <a:lumMod val="75000"/>
                  </a:schemeClr>
                </a:solidFill>
                <a:latin typeface="Arial Narrow" panose="020B0606020202030204" pitchFamily="34" charset="0"/>
                <a:cs typeface="+mn-cs"/>
              </a:rPr>
              <a:t>Benchmarking regulatorio y de desempeño de los mercados de gas (2016 - 2018) – Actualización de Información al 2019</a:t>
            </a:r>
          </a:p>
          <a:p>
            <a:pPr marL="342900" indent="-342900" eaLnBrk="1" hangingPunct="1">
              <a:buFont typeface="+mj-lt"/>
              <a:buAutoNum type="arabicPeriod"/>
              <a:defRPr/>
            </a:pPr>
            <a:endParaRPr lang="es-ES_tradnl" altLang="es-CL" sz="2000" dirty="0">
              <a:solidFill>
                <a:schemeClr val="tx2">
                  <a:lumMod val="75000"/>
                </a:schemeClr>
              </a:solidFill>
              <a:latin typeface="Arial Narrow" panose="020B0606020202030204" pitchFamily="34" charset="0"/>
              <a:cs typeface="+mn-cs"/>
            </a:endParaRPr>
          </a:p>
          <a:p>
            <a:pPr marL="342900" indent="-342900" eaLnBrk="1" hangingPunct="1">
              <a:buFont typeface="+mj-lt"/>
              <a:buAutoNum type="arabicPeriod"/>
              <a:defRPr/>
            </a:pPr>
            <a:endParaRPr lang="es-ES_tradnl" altLang="es-CL" sz="2000" dirty="0">
              <a:solidFill>
                <a:schemeClr val="tx2">
                  <a:lumMod val="75000"/>
                </a:schemeClr>
              </a:solidFill>
              <a:latin typeface="Arial Narrow" panose="020B0606020202030204" pitchFamily="34" charset="0"/>
              <a:cs typeface="+mn-cs"/>
            </a:endParaRPr>
          </a:p>
          <a:p>
            <a:pPr eaLnBrk="1" hangingPunct="1">
              <a:defRPr/>
            </a:pPr>
            <a:r>
              <a:rPr lang="es-ES_tradnl" altLang="es-CL" sz="2000" dirty="0">
                <a:solidFill>
                  <a:schemeClr val="tx2">
                    <a:lumMod val="75000"/>
                  </a:schemeClr>
                </a:solidFill>
                <a:latin typeface="Arial Narrow" panose="020B0606020202030204" pitchFamily="34" charset="0"/>
                <a:cs typeface="+mn-cs"/>
              </a:rPr>
              <a:t>Y, ¿Cómo nos fue?</a:t>
            </a:r>
          </a:p>
          <a:p>
            <a:pPr marL="0" lvl="1" algn="just" eaLnBrk="1" hangingPunct="1">
              <a:spcBef>
                <a:spcPct val="20000"/>
              </a:spcBef>
              <a:defRPr/>
            </a:pPr>
            <a:endParaRPr lang="es-CL" altLang="es-CL" sz="2000" dirty="0">
              <a:solidFill>
                <a:schemeClr val="tx2">
                  <a:lumMod val="75000"/>
                </a:schemeClr>
              </a:solidFill>
              <a:latin typeface="Arial Narrow" panose="020B0606020202030204" pitchFamily="34" charset="0"/>
              <a:cs typeface="+mn-cs"/>
            </a:endParaRPr>
          </a:p>
          <a:p>
            <a:pPr marL="0" lvl="1" algn="just" eaLnBrk="1" hangingPunct="1">
              <a:spcBef>
                <a:spcPct val="20000"/>
              </a:spcBef>
              <a:defRPr/>
            </a:pPr>
            <a:endParaRPr lang="es-CL" sz="2000" dirty="0">
              <a:solidFill>
                <a:schemeClr val="tx2">
                  <a:lumMod val="75000"/>
                </a:schemeClr>
              </a:solidFill>
              <a:latin typeface="Arial Narrow" panose="020B0606020202030204" pitchFamily="34" charset="0"/>
              <a:cs typeface="+mn-cs"/>
            </a:endParaRPr>
          </a:p>
          <a:p>
            <a:pPr marL="0" lvl="1" algn="just" eaLnBrk="1" hangingPunct="1">
              <a:spcBef>
                <a:spcPct val="20000"/>
              </a:spcBef>
              <a:defRPr/>
            </a:pPr>
            <a:endParaRPr lang="es-CL" dirty="0"/>
          </a:p>
        </p:txBody>
      </p:sp>
      <p:sp>
        <p:nvSpPr>
          <p:cNvPr id="15" name="18 CuadroTexto">
            <a:extLst>
              <a:ext uri="{FF2B5EF4-FFF2-40B4-BE49-F238E27FC236}">
                <a16:creationId xmlns:a16="http://schemas.microsoft.com/office/drawing/2014/main" id="{10AF7465-485B-4C84-8AC5-1150866CBDFE}"/>
              </a:ext>
            </a:extLst>
          </p:cNvPr>
          <p:cNvSpPr txBox="1">
            <a:spLocks noChangeArrowheads="1"/>
          </p:cNvSpPr>
          <p:nvPr/>
        </p:nvSpPr>
        <p:spPr bwMode="auto">
          <a:xfrm>
            <a:off x="487494" y="254239"/>
            <a:ext cx="6532909"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r>
              <a:rPr lang="es-CL" sz="1600" b="1" dirty="0">
                <a:ln>
                  <a:solidFill>
                    <a:srgbClr val="F9FAFA"/>
                  </a:solidFill>
                </a:ln>
                <a:solidFill>
                  <a:schemeClr val="tx2">
                    <a:lumMod val="75000"/>
                  </a:schemeClr>
                </a:solidFill>
                <a:latin typeface="Noto Sans"/>
                <a:ea typeface="Verdana" pitchFamily="34" charset="0"/>
                <a:cs typeface="Verdana" pitchFamily="34" charset="0"/>
              </a:rPr>
              <a:t>GRUPO DE TRABAJO DE GAS (GTG) ARIAE</a:t>
            </a:r>
          </a:p>
          <a:p>
            <a:pPr eaLnBrk="1" hangingPunct="1"/>
            <a:r>
              <a:rPr lang="es-CL" b="1" dirty="0">
                <a:ln>
                  <a:solidFill>
                    <a:srgbClr val="F9FAFA"/>
                  </a:solidFill>
                </a:ln>
                <a:solidFill>
                  <a:schemeClr val="tx2">
                    <a:lumMod val="75000"/>
                  </a:schemeClr>
                </a:solidFill>
                <a:latin typeface="Noto Sans"/>
                <a:ea typeface="Verdana" pitchFamily="34" charset="0"/>
                <a:cs typeface="Verdana" pitchFamily="34" charset="0"/>
              </a:rPr>
              <a:t>Compromisos adquiridos durante el 2019</a:t>
            </a:r>
            <a:endParaRPr lang="es-CL" sz="1100" b="1" dirty="0">
              <a:ln>
                <a:solidFill>
                  <a:srgbClr val="F9FAFA"/>
                </a:solidFill>
              </a:ln>
              <a:solidFill>
                <a:srgbClr val="29425F"/>
              </a:solidFill>
              <a:latin typeface="+mn-lt"/>
              <a:ea typeface="Verdana" pitchFamily="34" charset="0"/>
              <a:cs typeface="Verdana" pitchFamily="34" charset="0"/>
            </a:endParaRPr>
          </a:p>
        </p:txBody>
      </p:sp>
      <p:cxnSp>
        <p:nvCxnSpPr>
          <p:cNvPr id="16" name="13 Conector recto">
            <a:extLst>
              <a:ext uri="{FF2B5EF4-FFF2-40B4-BE49-F238E27FC236}">
                <a16:creationId xmlns:a16="http://schemas.microsoft.com/office/drawing/2014/main" id="{C1D954C7-7B95-4348-AA23-4F9F29D85489}"/>
              </a:ext>
            </a:extLst>
          </p:cNvPr>
          <p:cNvCxnSpPr/>
          <p:nvPr/>
        </p:nvCxnSpPr>
        <p:spPr>
          <a:xfrm>
            <a:off x="487494" y="1052736"/>
            <a:ext cx="6130925"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32239" y="344850"/>
            <a:ext cx="1115873" cy="540067"/>
          </a:xfrm>
          <a:prstGeom prst="rect">
            <a:avLst/>
          </a:prstGeom>
        </p:spPr>
      </p:pic>
    </p:spTree>
    <p:extLst>
      <p:ext uri="{BB962C8B-B14F-4D97-AF65-F5344CB8AC3E}">
        <p14:creationId xmlns:p14="http://schemas.microsoft.com/office/powerpoint/2010/main" val="28288480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1D354A"/>
        </a:solidFill>
        <a:effectLst/>
      </p:bgPr>
    </p:bg>
    <p:spTree>
      <p:nvGrpSpPr>
        <p:cNvPr id="1" name=""/>
        <p:cNvGrpSpPr/>
        <p:nvPr/>
      </p:nvGrpSpPr>
      <p:grpSpPr>
        <a:xfrm>
          <a:off x="0" y="0"/>
          <a:ext cx="0" cy="0"/>
          <a:chOff x="0" y="0"/>
          <a:chExt cx="0" cy="0"/>
        </a:xfrm>
      </p:grpSpPr>
      <p:graphicFrame>
        <p:nvGraphicFramePr>
          <p:cNvPr id="13314" name="Objeto 1" hidden="1">
            <a:extLst>
              <a:ext uri="{FF2B5EF4-FFF2-40B4-BE49-F238E27FC236}">
                <a16:creationId xmlns:a16="http://schemas.microsoft.com/office/drawing/2014/main" id="{270E8198-D5E3-4BBE-8804-852CCA88F0E7}"/>
              </a:ext>
            </a:extLst>
          </p:cNvPr>
          <p:cNvGraphicFramePr>
            <a:graphicFrameLocks noChangeAspect="1"/>
          </p:cNvGraphicFramePr>
          <p:nvPr>
            <p:custDataLst>
              <p:tags r:id="rId1"/>
            </p:custDataLst>
          </p:nvPr>
        </p:nvGraphicFramePr>
        <p:xfrm>
          <a:off x="1192" y="858442"/>
          <a:ext cx="1190" cy="1190"/>
        </p:xfrm>
        <a:graphic>
          <a:graphicData uri="http://schemas.openxmlformats.org/presentationml/2006/ole">
            <mc:AlternateContent xmlns:mc="http://schemas.openxmlformats.org/markup-compatibility/2006">
              <mc:Choice xmlns:v="urn:schemas-microsoft-com:vml" Requires="v">
                <p:oleObj name="Diapositiva de think-cell" r:id="rId4" imgW="360" imgH="360" progId="TCLayout.ActiveDocument.1">
                  <p:embed/>
                </p:oleObj>
              </mc:Choice>
              <mc:Fallback>
                <p:oleObj name="Diapositiva de think-cell" r:id="rId4" imgW="360" imgH="360" progId="TCLayout.ActiveDocument.1">
                  <p:embed/>
                  <p:pic>
                    <p:nvPicPr>
                      <p:cNvPr id="13314" name="Objeto 1" hidden="1">
                        <a:extLst>
                          <a:ext uri="{FF2B5EF4-FFF2-40B4-BE49-F238E27FC236}">
                            <a16:creationId xmlns:a16="http://schemas.microsoft.com/office/drawing/2014/main" id="{270E8198-D5E3-4BBE-8804-852CCA88F0E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858442"/>
                        <a:ext cx="1190"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10" name="13 Conector recto">
            <a:extLst>
              <a:ext uri="{FF2B5EF4-FFF2-40B4-BE49-F238E27FC236}">
                <a16:creationId xmlns:a16="http://schemas.microsoft.com/office/drawing/2014/main" id="{4237FBE3-80CA-457C-977C-49F53FEE52C0}"/>
              </a:ext>
            </a:extLst>
          </p:cNvPr>
          <p:cNvCxnSpPr/>
          <p:nvPr/>
        </p:nvCxnSpPr>
        <p:spPr>
          <a:xfrm>
            <a:off x="467916" y="4251722"/>
            <a:ext cx="610195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316" name="18 CuadroTexto">
            <a:extLst>
              <a:ext uri="{FF2B5EF4-FFF2-40B4-BE49-F238E27FC236}">
                <a16:creationId xmlns:a16="http://schemas.microsoft.com/office/drawing/2014/main" id="{B3FE10EC-4293-4F8D-8703-77671212BEC0}"/>
              </a:ext>
            </a:extLst>
          </p:cNvPr>
          <p:cNvSpPr txBox="1">
            <a:spLocks noChangeAspect="1" noChangeArrowheads="1"/>
          </p:cNvSpPr>
          <p:nvPr/>
        </p:nvSpPr>
        <p:spPr bwMode="auto">
          <a:xfrm>
            <a:off x="467916" y="3699273"/>
            <a:ext cx="6101953" cy="539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defTabSz="685800" eaLnBrk="1" hangingPunct="1">
              <a:spcBef>
                <a:spcPct val="0"/>
              </a:spcBef>
              <a:buNone/>
            </a:pPr>
            <a:r>
              <a:rPr lang="es-CL" altLang="es-CL" sz="1500" b="1" dirty="0">
                <a:solidFill>
                  <a:srgbClr val="F9FAFA"/>
                </a:solidFill>
                <a:latin typeface="Segoe UI" panose="020B0502040204020203" pitchFamily="34" charset="0"/>
                <a:ea typeface="Noto Sans"/>
                <a:cs typeface="Segoe UI" panose="020B0502040204020203" pitchFamily="34" charset="0"/>
              </a:rPr>
              <a:t>Reporte de actividad 2020 GTG</a:t>
            </a:r>
          </a:p>
        </p:txBody>
      </p:sp>
      <p:pic>
        <p:nvPicPr>
          <p:cNvPr id="13317" name="Imagen 5">
            <a:extLst>
              <a:ext uri="{FF2B5EF4-FFF2-40B4-BE49-F238E27FC236}">
                <a16:creationId xmlns:a16="http://schemas.microsoft.com/office/drawing/2014/main" id="{E8CFD0DA-DBEC-42CE-A41D-002B1CA97C42}"/>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042547" y="1320404"/>
            <a:ext cx="914400" cy="372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18" name="Picture 2" descr="\\natura\Unidad de Informacion y Estadisticas\Energía Abierta\Logo EA\Banner\Banner_EA_LOGO.png">
            <a:extLst>
              <a:ext uri="{FF2B5EF4-FFF2-40B4-BE49-F238E27FC236}">
                <a16:creationId xmlns:a16="http://schemas.microsoft.com/office/drawing/2014/main" id="{E6832B95-0C3F-4100-ADF5-E12BA853791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190310" y="1160860"/>
            <a:ext cx="485775" cy="71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74" name="9 Grupo"/>
          <p:cNvGrpSpPr>
            <a:grpSpLocks/>
          </p:cNvGrpSpPr>
          <p:nvPr/>
        </p:nvGrpSpPr>
        <p:grpSpPr bwMode="auto">
          <a:xfrm>
            <a:off x="395288" y="6683375"/>
            <a:ext cx="2035175" cy="174625"/>
            <a:chOff x="401947" y="-7557"/>
            <a:chExt cx="2035173" cy="174625"/>
          </a:xfrm>
        </p:grpSpPr>
        <p:sp>
          <p:nvSpPr>
            <p:cNvPr id="7" name="6 Rectángulo"/>
            <p:cNvSpPr/>
            <p:nvPr/>
          </p:nvSpPr>
          <p:spPr>
            <a:xfrm>
              <a:off x="401947" y="-7557"/>
              <a:ext cx="908049" cy="174625"/>
            </a:xfrm>
            <a:prstGeom prst="rect">
              <a:avLst/>
            </a:prstGeom>
            <a:solidFill>
              <a:srgbClr val="1069B1"/>
            </a:solidFill>
            <a:ln w="3175">
              <a:solidFill>
                <a:srgbClr val="1069B1"/>
              </a:solid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s-CL" dirty="0">
                <a:solidFill>
                  <a:prstClr val="white"/>
                </a:solidFill>
              </a:endParaRPr>
            </a:p>
          </p:txBody>
        </p:sp>
        <p:sp>
          <p:nvSpPr>
            <p:cNvPr id="8" name="7 Rectángulo"/>
            <p:cNvSpPr/>
            <p:nvPr/>
          </p:nvSpPr>
          <p:spPr>
            <a:xfrm>
              <a:off x="1313171" y="-7557"/>
              <a:ext cx="1123949" cy="174625"/>
            </a:xfrm>
            <a:prstGeom prst="rect">
              <a:avLst/>
            </a:prstGeom>
            <a:solidFill>
              <a:srgbClr val="E73C46"/>
            </a:solidFill>
            <a:ln w="3175">
              <a:solidFill>
                <a:srgbClr val="E73C46"/>
              </a:solid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s-CL" dirty="0">
                <a:solidFill>
                  <a:prstClr val="white"/>
                </a:solidFill>
              </a:endParaRPr>
            </a:p>
          </p:txBody>
        </p:sp>
      </p:grpSp>
      <p:sp>
        <p:nvSpPr>
          <p:cNvPr id="3076" name="2 Marcador de número de diapositiva"/>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fld id="{9B3A7F7F-929F-4173-97DD-09BB88B28EC9}" type="slidenum">
              <a:rPr lang="es-ES" altLang="es-ES" sz="1000" smtClean="0">
                <a:solidFill>
                  <a:srgbClr val="8F8F8F"/>
                </a:solidFill>
              </a:rPr>
              <a:pPr/>
              <a:t>5</a:t>
            </a:fld>
            <a:endParaRPr lang="es-ES" altLang="es-ES" sz="1000" dirty="0">
              <a:solidFill>
                <a:srgbClr val="8F8F8F"/>
              </a:solidFill>
            </a:endParaRPr>
          </a:p>
        </p:txBody>
      </p:sp>
      <p:sp>
        <p:nvSpPr>
          <p:cNvPr id="3077" name="16 Marcador de pie de página"/>
          <p:cNvSpPr txBox="1">
            <a:spLocks/>
          </p:cNvSpPr>
          <p:nvPr/>
        </p:nvSpPr>
        <p:spPr bwMode="auto">
          <a:xfrm>
            <a:off x="4464050" y="6592888"/>
            <a:ext cx="2159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hangingPunct="1"/>
            <a:r>
              <a:rPr lang="es-CL" altLang="es-CL" sz="1000" dirty="0">
                <a:solidFill>
                  <a:srgbClr val="898989"/>
                </a:solidFill>
              </a:rPr>
              <a:t>CNE</a:t>
            </a:r>
            <a:endParaRPr lang="es-ES" altLang="es-CL" sz="1000" dirty="0">
              <a:solidFill>
                <a:srgbClr val="898989"/>
              </a:solidFill>
            </a:endParaRPr>
          </a:p>
        </p:txBody>
      </p:sp>
      <p:pic>
        <p:nvPicPr>
          <p:cNvPr id="3078" name="Picture 2" descr="\\natura\Unidad de Informacion y Estadisticas\Energía Abierta\Logo EA\Banner\Banner_EA_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74013" y="215900"/>
            <a:ext cx="647700" cy="955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CuadroTexto 12">
            <a:extLst>
              <a:ext uri="{FF2B5EF4-FFF2-40B4-BE49-F238E27FC236}">
                <a16:creationId xmlns:a16="http://schemas.microsoft.com/office/drawing/2014/main" id="{DE21F937-CFE4-4C70-8DF7-EBE9E62D437F}"/>
              </a:ext>
            </a:extLst>
          </p:cNvPr>
          <p:cNvSpPr txBox="1"/>
          <p:nvPr/>
        </p:nvSpPr>
        <p:spPr>
          <a:xfrm>
            <a:off x="393335" y="1330041"/>
            <a:ext cx="8228378" cy="1938992"/>
          </a:xfrm>
          <a:prstGeom prst="rect">
            <a:avLst/>
          </a:prstGeom>
          <a:noFill/>
        </p:spPr>
        <p:txBody>
          <a:bodyPr wrap="square">
            <a:spAutoFit/>
          </a:bodyPr>
          <a:lstStyle/>
          <a:p>
            <a:pPr marL="0" lvl="1" algn="just" eaLnBrk="1" hangingPunct="1">
              <a:spcBef>
                <a:spcPct val="20000"/>
              </a:spcBef>
              <a:defRPr/>
            </a:pPr>
            <a:r>
              <a:rPr lang="es-CL" altLang="es-CL" sz="2000" dirty="0">
                <a:solidFill>
                  <a:schemeClr val="tx2">
                    <a:lumMod val="75000"/>
                  </a:schemeClr>
                </a:solidFill>
                <a:latin typeface="Arial Narrow" panose="020B0606020202030204" pitchFamily="34" charset="0"/>
                <a:cs typeface="+mn-cs"/>
              </a:rPr>
              <a:t>Durante marzo del 2020, la Comisión Nacional de Energía realizó la invitación a todos los países miembros del GTG al seminario “</a:t>
            </a:r>
            <a:r>
              <a:rPr lang="es-CL" altLang="es-CL" sz="2000" b="1" dirty="0">
                <a:solidFill>
                  <a:schemeClr val="tx2">
                    <a:lumMod val="75000"/>
                  </a:schemeClr>
                </a:solidFill>
                <a:latin typeface="Arial Narrow" panose="020B0606020202030204" pitchFamily="34" charset="0"/>
                <a:cs typeface="+mn-cs"/>
              </a:rPr>
              <a:t>Energía Abierta: Impulsando el Potencial de la Información</a:t>
            </a:r>
            <a:r>
              <a:rPr lang="es-CL" altLang="es-CL" sz="2000" dirty="0">
                <a:solidFill>
                  <a:schemeClr val="tx2">
                    <a:lumMod val="75000"/>
                  </a:schemeClr>
                </a:solidFill>
                <a:latin typeface="Arial Narrow" panose="020B0606020202030204" pitchFamily="34" charset="0"/>
                <a:cs typeface="+mn-cs"/>
              </a:rPr>
              <a:t>”, donde se pudo explicar el funcionamiento de la plataforma Energía Abierta. Si bien el seminario tuvo una baja participación debido a la pandemia, los participantes quedaron muy interesados en conocer con mayor profundización dicha plataforma.</a:t>
            </a:r>
            <a:endParaRPr lang="es-CL" dirty="0"/>
          </a:p>
        </p:txBody>
      </p:sp>
      <p:sp>
        <p:nvSpPr>
          <p:cNvPr id="15" name="18 CuadroTexto">
            <a:extLst>
              <a:ext uri="{FF2B5EF4-FFF2-40B4-BE49-F238E27FC236}">
                <a16:creationId xmlns:a16="http://schemas.microsoft.com/office/drawing/2014/main" id="{10AF7465-485B-4C84-8AC5-1150866CBDFE}"/>
              </a:ext>
            </a:extLst>
          </p:cNvPr>
          <p:cNvSpPr txBox="1">
            <a:spLocks noChangeArrowheads="1"/>
          </p:cNvSpPr>
          <p:nvPr/>
        </p:nvSpPr>
        <p:spPr bwMode="auto">
          <a:xfrm>
            <a:off x="487494" y="254239"/>
            <a:ext cx="6532909"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r>
              <a:rPr lang="es-CL" sz="1600" b="1" dirty="0">
                <a:ln>
                  <a:solidFill>
                    <a:srgbClr val="F9FAFA"/>
                  </a:solidFill>
                </a:ln>
                <a:solidFill>
                  <a:schemeClr val="tx2">
                    <a:lumMod val="75000"/>
                  </a:schemeClr>
                </a:solidFill>
                <a:latin typeface="Noto Sans"/>
                <a:ea typeface="Verdana" pitchFamily="34" charset="0"/>
                <a:cs typeface="Verdana" pitchFamily="34" charset="0"/>
              </a:rPr>
              <a:t>GRUPO DE TRABAJO DE GAS (GTG) ARIAE</a:t>
            </a:r>
          </a:p>
          <a:p>
            <a:pPr eaLnBrk="1" hangingPunct="1"/>
            <a:r>
              <a:rPr lang="es-CL" b="1" dirty="0">
                <a:ln>
                  <a:solidFill>
                    <a:srgbClr val="F9FAFA"/>
                  </a:solidFill>
                </a:ln>
                <a:solidFill>
                  <a:schemeClr val="tx2">
                    <a:lumMod val="75000"/>
                  </a:schemeClr>
                </a:solidFill>
                <a:latin typeface="Noto Sans"/>
                <a:ea typeface="Verdana" pitchFamily="34" charset="0"/>
                <a:cs typeface="Verdana" pitchFamily="34" charset="0"/>
              </a:rPr>
              <a:t>Compromiso 1: Energía Abierta – Sistema de Información Pública</a:t>
            </a:r>
            <a:endParaRPr lang="es-CL" sz="1100" b="1" dirty="0">
              <a:ln>
                <a:solidFill>
                  <a:srgbClr val="F9FAFA"/>
                </a:solidFill>
              </a:ln>
              <a:solidFill>
                <a:srgbClr val="29425F"/>
              </a:solidFill>
              <a:latin typeface="+mn-lt"/>
              <a:ea typeface="Verdana" pitchFamily="34" charset="0"/>
              <a:cs typeface="Verdana" pitchFamily="34" charset="0"/>
            </a:endParaRPr>
          </a:p>
        </p:txBody>
      </p:sp>
      <p:cxnSp>
        <p:nvCxnSpPr>
          <p:cNvPr id="16" name="13 Conector recto">
            <a:extLst>
              <a:ext uri="{FF2B5EF4-FFF2-40B4-BE49-F238E27FC236}">
                <a16:creationId xmlns:a16="http://schemas.microsoft.com/office/drawing/2014/main" id="{C1D954C7-7B95-4348-AA23-4F9F29D85489}"/>
              </a:ext>
            </a:extLst>
          </p:cNvPr>
          <p:cNvCxnSpPr/>
          <p:nvPr/>
        </p:nvCxnSpPr>
        <p:spPr>
          <a:xfrm>
            <a:off x="487494" y="1052736"/>
            <a:ext cx="6130925"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3" name="Imagen 2">
            <a:extLst>
              <a:ext uri="{FF2B5EF4-FFF2-40B4-BE49-F238E27FC236}">
                <a16:creationId xmlns:a16="http://schemas.microsoft.com/office/drawing/2014/main" id="{9508286D-DED5-4528-9C7B-3BD59AB0651B}"/>
              </a:ext>
            </a:extLst>
          </p:cNvPr>
          <p:cNvPicPr>
            <a:picLocks noChangeAspect="1"/>
          </p:cNvPicPr>
          <p:nvPr/>
        </p:nvPicPr>
        <p:blipFill>
          <a:blip r:embed="rId3"/>
          <a:stretch>
            <a:fillRect/>
          </a:stretch>
        </p:blipFill>
        <p:spPr>
          <a:xfrm>
            <a:off x="659577" y="3314304"/>
            <a:ext cx="7608945" cy="3067024"/>
          </a:xfrm>
          <a:prstGeom prst="rect">
            <a:avLst/>
          </a:prstGeom>
          <a:ln>
            <a:noFill/>
          </a:ln>
          <a:effectLst>
            <a:outerShdw blurRad="292100" dist="139700" dir="2700000" algn="tl" rotWithShape="0">
              <a:srgbClr val="333333">
                <a:alpha val="65000"/>
              </a:srgbClr>
            </a:outerShdw>
          </a:effectLst>
        </p:spPr>
      </p:pic>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40503" y="344850"/>
            <a:ext cx="1115873" cy="540067"/>
          </a:xfrm>
          <a:prstGeom prst="rect">
            <a:avLst/>
          </a:prstGeom>
        </p:spPr>
      </p:pic>
    </p:spTree>
    <p:extLst>
      <p:ext uri="{BB962C8B-B14F-4D97-AF65-F5344CB8AC3E}">
        <p14:creationId xmlns:p14="http://schemas.microsoft.com/office/powerpoint/2010/main" val="19877389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74" name="9 Grupo"/>
          <p:cNvGrpSpPr>
            <a:grpSpLocks/>
          </p:cNvGrpSpPr>
          <p:nvPr/>
        </p:nvGrpSpPr>
        <p:grpSpPr bwMode="auto">
          <a:xfrm>
            <a:off x="395288" y="6683375"/>
            <a:ext cx="2035175" cy="174625"/>
            <a:chOff x="401947" y="-7557"/>
            <a:chExt cx="2035173" cy="174625"/>
          </a:xfrm>
        </p:grpSpPr>
        <p:sp>
          <p:nvSpPr>
            <p:cNvPr id="7" name="6 Rectángulo"/>
            <p:cNvSpPr/>
            <p:nvPr/>
          </p:nvSpPr>
          <p:spPr>
            <a:xfrm>
              <a:off x="401947" y="-7557"/>
              <a:ext cx="908049" cy="174625"/>
            </a:xfrm>
            <a:prstGeom prst="rect">
              <a:avLst/>
            </a:prstGeom>
            <a:solidFill>
              <a:srgbClr val="1069B1"/>
            </a:solidFill>
            <a:ln w="3175">
              <a:solidFill>
                <a:srgbClr val="1069B1"/>
              </a:solid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s-CL" dirty="0">
                <a:solidFill>
                  <a:prstClr val="white"/>
                </a:solidFill>
              </a:endParaRPr>
            </a:p>
          </p:txBody>
        </p:sp>
        <p:sp>
          <p:nvSpPr>
            <p:cNvPr id="8" name="7 Rectángulo"/>
            <p:cNvSpPr/>
            <p:nvPr/>
          </p:nvSpPr>
          <p:spPr>
            <a:xfrm>
              <a:off x="1313171" y="-7557"/>
              <a:ext cx="1123949" cy="174625"/>
            </a:xfrm>
            <a:prstGeom prst="rect">
              <a:avLst/>
            </a:prstGeom>
            <a:solidFill>
              <a:srgbClr val="E73C46"/>
            </a:solidFill>
            <a:ln w="3175">
              <a:solidFill>
                <a:srgbClr val="E73C46"/>
              </a:solid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s-CL" dirty="0">
                <a:solidFill>
                  <a:prstClr val="white"/>
                </a:solidFill>
              </a:endParaRPr>
            </a:p>
          </p:txBody>
        </p:sp>
      </p:grpSp>
      <p:sp>
        <p:nvSpPr>
          <p:cNvPr id="3076" name="2 Marcador de número de diapositiva"/>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fld id="{9B3A7F7F-929F-4173-97DD-09BB88B28EC9}" type="slidenum">
              <a:rPr lang="es-ES" altLang="es-ES" sz="1000" smtClean="0">
                <a:solidFill>
                  <a:srgbClr val="8F8F8F"/>
                </a:solidFill>
              </a:rPr>
              <a:pPr/>
              <a:t>6</a:t>
            </a:fld>
            <a:endParaRPr lang="es-ES" altLang="es-ES" sz="1000" dirty="0">
              <a:solidFill>
                <a:srgbClr val="8F8F8F"/>
              </a:solidFill>
            </a:endParaRPr>
          </a:p>
        </p:txBody>
      </p:sp>
      <p:sp>
        <p:nvSpPr>
          <p:cNvPr id="3077" name="16 Marcador de pie de página"/>
          <p:cNvSpPr txBox="1">
            <a:spLocks/>
          </p:cNvSpPr>
          <p:nvPr/>
        </p:nvSpPr>
        <p:spPr bwMode="auto">
          <a:xfrm>
            <a:off x="4464050" y="6592888"/>
            <a:ext cx="2159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hangingPunct="1"/>
            <a:r>
              <a:rPr lang="es-CL" altLang="es-CL" sz="1000" dirty="0">
                <a:solidFill>
                  <a:srgbClr val="898989"/>
                </a:solidFill>
              </a:rPr>
              <a:t>CNE</a:t>
            </a:r>
            <a:endParaRPr lang="es-ES" altLang="es-CL" sz="1000" dirty="0">
              <a:solidFill>
                <a:srgbClr val="898989"/>
              </a:solidFill>
            </a:endParaRPr>
          </a:p>
        </p:txBody>
      </p:sp>
      <p:pic>
        <p:nvPicPr>
          <p:cNvPr id="3078" name="Picture 2" descr="\\natura\Unidad de Informacion y Estadisticas\Energía Abierta\Logo EA\Banner\Banner_EA_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74013" y="215900"/>
            <a:ext cx="647700" cy="955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CuadroTexto 12">
            <a:extLst>
              <a:ext uri="{FF2B5EF4-FFF2-40B4-BE49-F238E27FC236}">
                <a16:creationId xmlns:a16="http://schemas.microsoft.com/office/drawing/2014/main" id="{DE21F937-CFE4-4C70-8DF7-EBE9E62D437F}"/>
              </a:ext>
            </a:extLst>
          </p:cNvPr>
          <p:cNvSpPr txBox="1"/>
          <p:nvPr/>
        </p:nvSpPr>
        <p:spPr>
          <a:xfrm>
            <a:off x="395288" y="2613392"/>
            <a:ext cx="8228378" cy="1631216"/>
          </a:xfrm>
          <a:prstGeom prst="rect">
            <a:avLst/>
          </a:prstGeom>
          <a:noFill/>
        </p:spPr>
        <p:txBody>
          <a:bodyPr wrap="square">
            <a:spAutoFit/>
          </a:bodyPr>
          <a:lstStyle/>
          <a:p>
            <a:pPr marL="0" lvl="1" algn="just" eaLnBrk="1" hangingPunct="1">
              <a:spcBef>
                <a:spcPct val="20000"/>
              </a:spcBef>
              <a:defRPr/>
            </a:pPr>
            <a:r>
              <a:rPr lang="es-CL" altLang="es-CL" sz="2000" dirty="0">
                <a:solidFill>
                  <a:schemeClr val="tx2">
                    <a:lumMod val="75000"/>
                  </a:schemeClr>
                </a:solidFill>
                <a:latin typeface="Arial Narrow" panose="020B0606020202030204" pitchFamily="34" charset="0"/>
                <a:cs typeface="+mn-cs"/>
              </a:rPr>
              <a:t>Con la realización del seminario mencionado, el GTG dio cumplimiento a uno de los compromisos adquiridos durante el 2019 y se planteó, para el futuro, ver cuál es la real posibilidad de que los reguladores de los distintos países pudieran implementar una plataforma similar, considerando que se deberían invertir bastantes recursos para desarrollarlo.</a:t>
            </a:r>
            <a:endParaRPr lang="es-CL" dirty="0"/>
          </a:p>
        </p:txBody>
      </p:sp>
      <p:sp>
        <p:nvSpPr>
          <p:cNvPr id="15" name="18 CuadroTexto">
            <a:extLst>
              <a:ext uri="{FF2B5EF4-FFF2-40B4-BE49-F238E27FC236}">
                <a16:creationId xmlns:a16="http://schemas.microsoft.com/office/drawing/2014/main" id="{10AF7465-485B-4C84-8AC5-1150866CBDFE}"/>
              </a:ext>
            </a:extLst>
          </p:cNvPr>
          <p:cNvSpPr txBox="1">
            <a:spLocks noChangeArrowheads="1"/>
          </p:cNvSpPr>
          <p:nvPr/>
        </p:nvSpPr>
        <p:spPr bwMode="auto">
          <a:xfrm>
            <a:off x="487494" y="254239"/>
            <a:ext cx="6532909"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r>
              <a:rPr lang="es-CL" sz="1600" b="1" dirty="0">
                <a:ln>
                  <a:solidFill>
                    <a:srgbClr val="F9FAFA"/>
                  </a:solidFill>
                </a:ln>
                <a:solidFill>
                  <a:schemeClr val="tx2">
                    <a:lumMod val="75000"/>
                  </a:schemeClr>
                </a:solidFill>
                <a:latin typeface="Noto Sans"/>
                <a:ea typeface="Verdana" pitchFamily="34" charset="0"/>
                <a:cs typeface="Verdana" pitchFamily="34" charset="0"/>
              </a:rPr>
              <a:t>GRUPO DE TRABAJO DE GAS (GTG) ARIAE</a:t>
            </a:r>
          </a:p>
          <a:p>
            <a:pPr eaLnBrk="1" hangingPunct="1"/>
            <a:r>
              <a:rPr lang="es-CL" b="1" dirty="0">
                <a:ln>
                  <a:solidFill>
                    <a:srgbClr val="F9FAFA"/>
                  </a:solidFill>
                </a:ln>
                <a:solidFill>
                  <a:schemeClr val="tx2">
                    <a:lumMod val="75000"/>
                  </a:schemeClr>
                </a:solidFill>
                <a:latin typeface="Noto Sans"/>
                <a:ea typeface="Verdana" pitchFamily="34" charset="0"/>
                <a:cs typeface="Verdana" pitchFamily="34" charset="0"/>
              </a:rPr>
              <a:t>Compromiso 1: Energía Abierta – Sistema de Información Pública</a:t>
            </a:r>
            <a:endParaRPr lang="es-CL" sz="1100" b="1" dirty="0">
              <a:ln>
                <a:solidFill>
                  <a:srgbClr val="F9FAFA"/>
                </a:solidFill>
              </a:ln>
              <a:solidFill>
                <a:srgbClr val="29425F"/>
              </a:solidFill>
              <a:latin typeface="+mn-lt"/>
              <a:ea typeface="Verdana" pitchFamily="34" charset="0"/>
              <a:cs typeface="Verdana" pitchFamily="34" charset="0"/>
            </a:endParaRPr>
          </a:p>
        </p:txBody>
      </p:sp>
      <p:cxnSp>
        <p:nvCxnSpPr>
          <p:cNvPr id="16" name="13 Conector recto">
            <a:extLst>
              <a:ext uri="{FF2B5EF4-FFF2-40B4-BE49-F238E27FC236}">
                <a16:creationId xmlns:a16="http://schemas.microsoft.com/office/drawing/2014/main" id="{C1D954C7-7B95-4348-AA23-4F9F29D85489}"/>
              </a:ext>
            </a:extLst>
          </p:cNvPr>
          <p:cNvCxnSpPr/>
          <p:nvPr/>
        </p:nvCxnSpPr>
        <p:spPr>
          <a:xfrm>
            <a:off x="487494" y="1052736"/>
            <a:ext cx="6130925"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40503" y="344850"/>
            <a:ext cx="1115873" cy="540067"/>
          </a:xfrm>
          <a:prstGeom prst="rect">
            <a:avLst/>
          </a:prstGeom>
        </p:spPr>
      </p:pic>
    </p:spTree>
    <p:extLst>
      <p:ext uri="{BB962C8B-B14F-4D97-AF65-F5344CB8AC3E}">
        <p14:creationId xmlns:p14="http://schemas.microsoft.com/office/powerpoint/2010/main" val="27954811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74" name="9 Grupo"/>
          <p:cNvGrpSpPr>
            <a:grpSpLocks/>
          </p:cNvGrpSpPr>
          <p:nvPr/>
        </p:nvGrpSpPr>
        <p:grpSpPr bwMode="auto">
          <a:xfrm>
            <a:off x="395288" y="6683375"/>
            <a:ext cx="2035175" cy="174625"/>
            <a:chOff x="401947" y="-7557"/>
            <a:chExt cx="2035173" cy="174625"/>
          </a:xfrm>
        </p:grpSpPr>
        <p:sp>
          <p:nvSpPr>
            <p:cNvPr id="7" name="6 Rectángulo"/>
            <p:cNvSpPr/>
            <p:nvPr/>
          </p:nvSpPr>
          <p:spPr>
            <a:xfrm>
              <a:off x="401947" y="-7557"/>
              <a:ext cx="908049" cy="174625"/>
            </a:xfrm>
            <a:prstGeom prst="rect">
              <a:avLst/>
            </a:prstGeom>
            <a:solidFill>
              <a:srgbClr val="1069B1"/>
            </a:solidFill>
            <a:ln w="3175">
              <a:solidFill>
                <a:srgbClr val="1069B1"/>
              </a:solid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s-CL" dirty="0">
                <a:solidFill>
                  <a:prstClr val="white"/>
                </a:solidFill>
              </a:endParaRPr>
            </a:p>
          </p:txBody>
        </p:sp>
        <p:sp>
          <p:nvSpPr>
            <p:cNvPr id="8" name="7 Rectángulo"/>
            <p:cNvSpPr/>
            <p:nvPr/>
          </p:nvSpPr>
          <p:spPr>
            <a:xfrm>
              <a:off x="1313171" y="-7557"/>
              <a:ext cx="1123949" cy="174625"/>
            </a:xfrm>
            <a:prstGeom prst="rect">
              <a:avLst/>
            </a:prstGeom>
            <a:solidFill>
              <a:srgbClr val="E73C46"/>
            </a:solidFill>
            <a:ln w="3175">
              <a:solidFill>
                <a:srgbClr val="E73C46"/>
              </a:solid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s-CL" dirty="0">
                <a:solidFill>
                  <a:prstClr val="white"/>
                </a:solidFill>
              </a:endParaRPr>
            </a:p>
          </p:txBody>
        </p:sp>
      </p:grpSp>
      <p:sp>
        <p:nvSpPr>
          <p:cNvPr id="3076" name="2 Marcador de número de diapositiva"/>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fld id="{9B3A7F7F-929F-4173-97DD-09BB88B28EC9}" type="slidenum">
              <a:rPr lang="es-ES" altLang="es-ES" sz="1000" smtClean="0">
                <a:solidFill>
                  <a:srgbClr val="8F8F8F"/>
                </a:solidFill>
              </a:rPr>
              <a:pPr/>
              <a:t>7</a:t>
            </a:fld>
            <a:endParaRPr lang="es-ES" altLang="es-ES" sz="1000" dirty="0">
              <a:solidFill>
                <a:srgbClr val="8F8F8F"/>
              </a:solidFill>
            </a:endParaRPr>
          </a:p>
        </p:txBody>
      </p:sp>
      <p:sp>
        <p:nvSpPr>
          <p:cNvPr id="3077" name="16 Marcador de pie de página"/>
          <p:cNvSpPr txBox="1">
            <a:spLocks/>
          </p:cNvSpPr>
          <p:nvPr/>
        </p:nvSpPr>
        <p:spPr bwMode="auto">
          <a:xfrm>
            <a:off x="4464050" y="6592888"/>
            <a:ext cx="2159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hangingPunct="1"/>
            <a:r>
              <a:rPr lang="es-CL" altLang="es-CL" sz="1000" dirty="0">
                <a:solidFill>
                  <a:srgbClr val="898989"/>
                </a:solidFill>
              </a:rPr>
              <a:t>CNE</a:t>
            </a:r>
            <a:endParaRPr lang="es-ES" altLang="es-CL" sz="1000" dirty="0">
              <a:solidFill>
                <a:srgbClr val="898989"/>
              </a:solidFill>
            </a:endParaRPr>
          </a:p>
        </p:txBody>
      </p:sp>
      <p:pic>
        <p:nvPicPr>
          <p:cNvPr id="3078" name="Picture 2" descr="\\natura\Unidad de Informacion y Estadisticas\Energía Abierta\Logo EA\Banner\Banner_EA_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74013" y="215900"/>
            <a:ext cx="647700" cy="955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CuadroTexto 12">
            <a:extLst>
              <a:ext uri="{FF2B5EF4-FFF2-40B4-BE49-F238E27FC236}">
                <a16:creationId xmlns:a16="http://schemas.microsoft.com/office/drawing/2014/main" id="{DE21F937-CFE4-4C70-8DF7-EBE9E62D437F}"/>
              </a:ext>
            </a:extLst>
          </p:cNvPr>
          <p:cNvSpPr txBox="1"/>
          <p:nvPr/>
        </p:nvSpPr>
        <p:spPr>
          <a:xfrm>
            <a:off x="179512" y="1274185"/>
            <a:ext cx="8228378" cy="1348061"/>
          </a:xfrm>
          <a:prstGeom prst="rect">
            <a:avLst/>
          </a:prstGeom>
          <a:noFill/>
        </p:spPr>
        <p:txBody>
          <a:bodyPr wrap="square">
            <a:spAutoFit/>
          </a:bodyPr>
          <a:lstStyle/>
          <a:p>
            <a:pPr marL="0" lvl="1" algn="just" eaLnBrk="1" hangingPunct="1">
              <a:spcBef>
                <a:spcPct val="20000"/>
              </a:spcBef>
              <a:defRPr/>
            </a:pPr>
            <a:r>
              <a:rPr lang="es-CL" sz="2000" dirty="0">
                <a:solidFill>
                  <a:schemeClr val="tx2">
                    <a:lumMod val="75000"/>
                  </a:schemeClr>
                </a:solidFill>
                <a:latin typeface="Arial Narrow" panose="020B0606020202030204" pitchFamily="34" charset="0"/>
                <a:cs typeface="+mn-cs"/>
              </a:rPr>
              <a:t>Durante marzo del 2020, la Comisión Nacional de Energía, a través de la presidencia de ARIAE, compartió un formulario para detectar las necesidades de capacitación de los países miembros.</a:t>
            </a:r>
          </a:p>
          <a:p>
            <a:pPr marL="0" lvl="1" algn="just" eaLnBrk="1" hangingPunct="1">
              <a:spcBef>
                <a:spcPct val="20000"/>
              </a:spcBef>
              <a:defRPr/>
            </a:pPr>
            <a:endParaRPr lang="es-CL" dirty="0"/>
          </a:p>
        </p:txBody>
      </p:sp>
      <p:sp>
        <p:nvSpPr>
          <p:cNvPr id="15" name="18 CuadroTexto">
            <a:extLst>
              <a:ext uri="{FF2B5EF4-FFF2-40B4-BE49-F238E27FC236}">
                <a16:creationId xmlns:a16="http://schemas.microsoft.com/office/drawing/2014/main" id="{10AF7465-485B-4C84-8AC5-1150866CBDFE}"/>
              </a:ext>
            </a:extLst>
          </p:cNvPr>
          <p:cNvSpPr txBox="1">
            <a:spLocks noChangeArrowheads="1"/>
          </p:cNvSpPr>
          <p:nvPr/>
        </p:nvSpPr>
        <p:spPr bwMode="auto">
          <a:xfrm>
            <a:off x="487494" y="254239"/>
            <a:ext cx="6532909"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r>
              <a:rPr lang="es-CL" sz="1600" b="1" dirty="0">
                <a:ln>
                  <a:solidFill>
                    <a:srgbClr val="F9FAFA"/>
                  </a:solidFill>
                </a:ln>
                <a:solidFill>
                  <a:schemeClr val="tx2">
                    <a:lumMod val="75000"/>
                  </a:schemeClr>
                </a:solidFill>
                <a:latin typeface="Noto Sans"/>
                <a:ea typeface="Verdana" pitchFamily="34" charset="0"/>
                <a:cs typeface="Verdana" pitchFamily="34" charset="0"/>
              </a:rPr>
              <a:t>GRUPO DE TRABAJO DE GAS (GTG) ARIAE</a:t>
            </a:r>
          </a:p>
          <a:p>
            <a:pPr eaLnBrk="1" hangingPunct="1"/>
            <a:r>
              <a:rPr lang="es-CL" b="1" dirty="0">
                <a:ln>
                  <a:solidFill>
                    <a:srgbClr val="F9FAFA"/>
                  </a:solidFill>
                </a:ln>
                <a:solidFill>
                  <a:schemeClr val="tx2">
                    <a:lumMod val="75000"/>
                  </a:schemeClr>
                </a:solidFill>
                <a:latin typeface="Noto Sans"/>
                <a:ea typeface="Verdana" pitchFamily="34" charset="0"/>
                <a:cs typeface="Verdana" pitchFamily="34" charset="0"/>
              </a:rPr>
              <a:t>Compromiso 2: Capacitación cruzada entre los propios miembros </a:t>
            </a:r>
            <a:endParaRPr lang="es-CL" sz="1100" b="1" dirty="0">
              <a:ln>
                <a:solidFill>
                  <a:srgbClr val="F9FAFA"/>
                </a:solidFill>
              </a:ln>
              <a:solidFill>
                <a:srgbClr val="29425F"/>
              </a:solidFill>
              <a:latin typeface="+mn-lt"/>
              <a:ea typeface="Verdana" pitchFamily="34" charset="0"/>
              <a:cs typeface="Verdana" pitchFamily="34" charset="0"/>
            </a:endParaRPr>
          </a:p>
        </p:txBody>
      </p:sp>
      <p:cxnSp>
        <p:nvCxnSpPr>
          <p:cNvPr id="16" name="13 Conector recto">
            <a:extLst>
              <a:ext uri="{FF2B5EF4-FFF2-40B4-BE49-F238E27FC236}">
                <a16:creationId xmlns:a16="http://schemas.microsoft.com/office/drawing/2014/main" id="{C1D954C7-7B95-4348-AA23-4F9F29D85489}"/>
              </a:ext>
            </a:extLst>
          </p:cNvPr>
          <p:cNvCxnSpPr/>
          <p:nvPr/>
        </p:nvCxnSpPr>
        <p:spPr>
          <a:xfrm>
            <a:off x="487494" y="1052736"/>
            <a:ext cx="6130925"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3" name="Imagen 2">
            <a:extLst>
              <a:ext uri="{FF2B5EF4-FFF2-40B4-BE49-F238E27FC236}">
                <a16:creationId xmlns:a16="http://schemas.microsoft.com/office/drawing/2014/main" id="{5E4429E7-A476-47EA-989D-A22797E1E5A3}"/>
              </a:ext>
            </a:extLst>
          </p:cNvPr>
          <p:cNvPicPr>
            <a:picLocks noChangeAspect="1"/>
          </p:cNvPicPr>
          <p:nvPr/>
        </p:nvPicPr>
        <p:blipFill rotWithShape="1">
          <a:blip r:embed="rId3"/>
          <a:srcRect b="40550"/>
          <a:stretch/>
        </p:blipFill>
        <p:spPr>
          <a:xfrm>
            <a:off x="1303338" y="2271465"/>
            <a:ext cx="6299887" cy="4397623"/>
          </a:xfrm>
          <a:prstGeom prst="rect">
            <a:avLst/>
          </a:prstGeom>
          <a:ln>
            <a:noFill/>
          </a:ln>
          <a:effectLst>
            <a:outerShdw blurRad="292100" dist="139700" dir="2700000" algn="tl" rotWithShape="0">
              <a:srgbClr val="333333">
                <a:alpha val="65000"/>
              </a:srgbClr>
            </a:outerShdw>
          </a:effectLst>
        </p:spPr>
      </p:pic>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32239" y="344850"/>
            <a:ext cx="1115873" cy="540067"/>
          </a:xfrm>
          <a:prstGeom prst="rect">
            <a:avLst/>
          </a:prstGeom>
        </p:spPr>
      </p:pic>
    </p:spTree>
    <p:extLst>
      <p:ext uri="{BB962C8B-B14F-4D97-AF65-F5344CB8AC3E}">
        <p14:creationId xmlns:p14="http://schemas.microsoft.com/office/powerpoint/2010/main" val="17412259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74" name="9 Grupo"/>
          <p:cNvGrpSpPr>
            <a:grpSpLocks/>
          </p:cNvGrpSpPr>
          <p:nvPr/>
        </p:nvGrpSpPr>
        <p:grpSpPr bwMode="auto">
          <a:xfrm>
            <a:off x="395288" y="6683375"/>
            <a:ext cx="2035175" cy="174625"/>
            <a:chOff x="401947" y="-7557"/>
            <a:chExt cx="2035173" cy="174625"/>
          </a:xfrm>
        </p:grpSpPr>
        <p:sp>
          <p:nvSpPr>
            <p:cNvPr id="7" name="6 Rectángulo"/>
            <p:cNvSpPr/>
            <p:nvPr/>
          </p:nvSpPr>
          <p:spPr>
            <a:xfrm>
              <a:off x="401947" y="-7557"/>
              <a:ext cx="908049" cy="174625"/>
            </a:xfrm>
            <a:prstGeom prst="rect">
              <a:avLst/>
            </a:prstGeom>
            <a:solidFill>
              <a:srgbClr val="1069B1"/>
            </a:solidFill>
            <a:ln w="3175">
              <a:solidFill>
                <a:srgbClr val="1069B1"/>
              </a:solid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s-CL" dirty="0">
                <a:solidFill>
                  <a:prstClr val="white"/>
                </a:solidFill>
              </a:endParaRPr>
            </a:p>
          </p:txBody>
        </p:sp>
        <p:sp>
          <p:nvSpPr>
            <p:cNvPr id="8" name="7 Rectángulo"/>
            <p:cNvSpPr/>
            <p:nvPr/>
          </p:nvSpPr>
          <p:spPr>
            <a:xfrm>
              <a:off x="1313171" y="-7557"/>
              <a:ext cx="1123949" cy="174625"/>
            </a:xfrm>
            <a:prstGeom prst="rect">
              <a:avLst/>
            </a:prstGeom>
            <a:solidFill>
              <a:srgbClr val="E73C46"/>
            </a:solidFill>
            <a:ln w="3175">
              <a:solidFill>
                <a:srgbClr val="E73C46"/>
              </a:solid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s-CL" dirty="0">
                <a:solidFill>
                  <a:prstClr val="white"/>
                </a:solidFill>
              </a:endParaRPr>
            </a:p>
          </p:txBody>
        </p:sp>
      </p:grpSp>
      <p:sp>
        <p:nvSpPr>
          <p:cNvPr id="3076" name="2 Marcador de número de diapositiva"/>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fld id="{9B3A7F7F-929F-4173-97DD-09BB88B28EC9}" type="slidenum">
              <a:rPr lang="es-ES" altLang="es-ES" sz="1000" smtClean="0">
                <a:solidFill>
                  <a:srgbClr val="8F8F8F"/>
                </a:solidFill>
              </a:rPr>
              <a:pPr/>
              <a:t>8</a:t>
            </a:fld>
            <a:endParaRPr lang="es-ES" altLang="es-ES" sz="1000" dirty="0">
              <a:solidFill>
                <a:srgbClr val="8F8F8F"/>
              </a:solidFill>
            </a:endParaRPr>
          </a:p>
        </p:txBody>
      </p:sp>
      <p:sp>
        <p:nvSpPr>
          <p:cNvPr id="3077" name="16 Marcador de pie de página"/>
          <p:cNvSpPr txBox="1">
            <a:spLocks/>
          </p:cNvSpPr>
          <p:nvPr/>
        </p:nvSpPr>
        <p:spPr bwMode="auto">
          <a:xfrm>
            <a:off x="4464050" y="6592888"/>
            <a:ext cx="2159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hangingPunct="1"/>
            <a:r>
              <a:rPr lang="es-CL" altLang="es-CL" sz="1000" dirty="0">
                <a:solidFill>
                  <a:srgbClr val="898989"/>
                </a:solidFill>
              </a:rPr>
              <a:t>CNE</a:t>
            </a:r>
            <a:endParaRPr lang="es-ES" altLang="es-CL" sz="1000" dirty="0">
              <a:solidFill>
                <a:srgbClr val="898989"/>
              </a:solidFill>
            </a:endParaRPr>
          </a:p>
        </p:txBody>
      </p:sp>
      <p:pic>
        <p:nvPicPr>
          <p:cNvPr id="3078" name="Picture 2" descr="\\natura\Unidad de Informacion y Estadisticas\Energía Abierta\Logo EA\Banner\Banner_EA_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74013" y="215900"/>
            <a:ext cx="647700" cy="955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CuadroTexto 12">
            <a:extLst>
              <a:ext uri="{FF2B5EF4-FFF2-40B4-BE49-F238E27FC236}">
                <a16:creationId xmlns:a16="http://schemas.microsoft.com/office/drawing/2014/main" id="{DE21F937-CFE4-4C70-8DF7-EBE9E62D437F}"/>
              </a:ext>
            </a:extLst>
          </p:cNvPr>
          <p:cNvSpPr txBox="1"/>
          <p:nvPr/>
        </p:nvSpPr>
        <p:spPr>
          <a:xfrm>
            <a:off x="393335" y="1330041"/>
            <a:ext cx="8228378" cy="1015663"/>
          </a:xfrm>
          <a:prstGeom prst="rect">
            <a:avLst/>
          </a:prstGeom>
          <a:noFill/>
        </p:spPr>
        <p:txBody>
          <a:bodyPr wrap="square">
            <a:spAutoFit/>
          </a:bodyPr>
          <a:lstStyle/>
          <a:p>
            <a:pPr marL="0" lvl="1" algn="just" eaLnBrk="1" hangingPunct="1">
              <a:spcBef>
                <a:spcPct val="20000"/>
              </a:spcBef>
              <a:defRPr/>
            </a:pPr>
            <a:r>
              <a:rPr lang="es-CL" sz="2000" dirty="0">
                <a:solidFill>
                  <a:schemeClr val="tx2">
                    <a:lumMod val="75000"/>
                  </a:schemeClr>
                </a:solidFill>
                <a:latin typeface="Arial Narrow" panose="020B0606020202030204" pitchFamily="34" charset="0"/>
                <a:cs typeface="+mn-cs"/>
              </a:rPr>
              <a:t>También se preguntó sobre aquellas áreas donde, de acuerdo al conocimiento de los integrantes, se pudieran realizar charlas o seminarios de distintos temas para los miembros del GTG.</a:t>
            </a:r>
          </a:p>
        </p:txBody>
      </p:sp>
      <p:sp>
        <p:nvSpPr>
          <p:cNvPr id="15" name="18 CuadroTexto">
            <a:extLst>
              <a:ext uri="{FF2B5EF4-FFF2-40B4-BE49-F238E27FC236}">
                <a16:creationId xmlns:a16="http://schemas.microsoft.com/office/drawing/2014/main" id="{10AF7465-485B-4C84-8AC5-1150866CBDFE}"/>
              </a:ext>
            </a:extLst>
          </p:cNvPr>
          <p:cNvSpPr txBox="1">
            <a:spLocks noChangeArrowheads="1"/>
          </p:cNvSpPr>
          <p:nvPr/>
        </p:nvSpPr>
        <p:spPr bwMode="auto">
          <a:xfrm>
            <a:off x="487494" y="254239"/>
            <a:ext cx="6532909"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r>
              <a:rPr lang="es-CL" sz="1600" b="1" dirty="0">
                <a:ln>
                  <a:solidFill>
                    <a:srgbClr val="F9FAFA"/>
                  </a:solidFill>
                </a:ln>
                <a:solidFill>
                  <a:schemeClr val="tx2">
                    <a:lumMod val="75000"/>
                  </a:schemeClr>
                </a:solidFill>
                <a:latin typeface="Noto Sans"/>
                <a:ea typeface="Verdana" pitchFamily="34" charset="0"/>
                <a:cs typeface="Verdana" pitchFamily="34" charset="0"/>
              </a:rPr>
              <a:t>GRUPO DE TRABAJO DE GAS (GTG) ARIAE</a:t>
            </a:r>
          </a:p>
          <a:p>
            <a:pPr eaLnBrk="1" hangingPunct="1"/>
            <a:r>
              <a:rPr lang="es-CL" b="1" dirty="0">
                <a:ln>
                  <a:solidFill>
                    <a:srgbClr val="F9FAFA"/>
                  </a:solidFill>
                </a:ln>
                <a:solidFill>
                  <a:schemeClr val="tx2">
                    <a:lumMod val="75000"/>
                  </a:schemeClr>
                </a:solidFill>
                <a:latin typeface="Noto Sans"/>
                <a:ea typeface="Verdana" pitchFamily="34" charset="0"/>
                <a:cs typeface="Verdana" pitchFamily="34" charset="0"/>
              </a:rPr>
              <a:t>Compromiso 2: Capacitación cruzada entre los propios miembros </a:t>
            </a:r>
            <a:endParaRPr lang="es-CL" sz="1100" b="1" dirty="0">
              <a:ln>
                <a:solidFill>
                  <a:srgbClr val="F9FAFA"/>
                </a:solidFill>
              </a:ln>
              <a:solidFill>
                <a:srgbClr val="29425F"/>
              </a:solidFill>
              <a:latin typeface="+mn-lt"/>
              <a:ea typeface="Verdana" pitchFamily="34" charset="0"/>
              <a:cs typeface="Verdana" pitchFamily="34" charset="0"/>
            </a:endParaRPr>
          </a:p>
        </p:txBody>
      </p:sp>
      <p:cxnSp>
        <p:nvCxnSpPr>
          <p:cNvPr id="16" name="13 Conector recto">
            <a:extLst>
              <a:ext uri="{FF2B5EF4-FFF2-40B4-BE49-F238E27FC236}">
                <a16:creationId xmlns:a16="http://schemas.microsoft.com/office/drawing/2014/main" id="{C1D954C7-7B95-4348-AA23-4F9F29D85489}"/>
              </a:ext>
            </a:extLst>
          </p:cNvPr>
          <p:cNvCxnSpPr/>
          <p:nvPr/>
        </p:nvCxnSpPr>
        <p:spPr>
          <a:xfrm>
            <a:off x="487494" y="1052736"/>
            <a:ext cx="6130925"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3" name="Imagen 2">
            <a:extLst>
              <a:ext uri="{FF2B5EF4-FFF2-40B4-BE49-F238E27FC236}">
                <a16:creationId xmlns:a16="http://schemas.microsoft.com/office/drawing/2014/main" id="{5E4429E7-A476-47EA-989D-A22797E1E5A3}"/>
              </a:ext>
            </a:extLst>
          </p:cNvPr>
          <p:cNvPicPr>
            <a:picLocks noChangeAspect="1"/>
          </p:cNvPicPr>
          <p:nvPr/>
        </p:nvPicPr>
        <p:blipFill rotWithShape="1">
          <a:blip r:embed="rId3"/>
          <a:srcRect t="58400"/>
          <a:stretch/>
        </p:blipFill>
        <p:spPr>
          <a:xfrm>
            <a:off x="1228271" y="2276872"/>
            <a:ext cx="6292510" cy="3073642"/>
          </a:xfrm>
          <a:prstGeom prst="rect">
            <a:avLst/>
          </a:prstGeom>
          <a:ln>
            <a:noFill/>
          </a:ln>
          <a:effectLst>
            <a:outerShdw blurRad="292100" dist="139700" dir="2700000" algn="tl" rotWithShape="0">
              <a:srgbClr val="333333">
                <a:alpha val="65000"/>
              </a:srgbClr>
            </a:outerShdw>
          </a:effectLst>
        </p:spPr>
      </p:pic>
      <p:sp>
        <p:nvSpPr>
          <p:cNvPr id="14" name="CuadroTexto 13">
            <a:extLst>
              <a:ext uri="{FF2B5EF4-FFF2-40B4-BE49-F238E27FC236}">
                <a16:creationId xmlns:a16="http://schemas.microsoft.com/office/drawing/2014/main" id="{6ED30CDE-B916-46D8-9CBC-0A78FAF9F45F}"/>
              </a:ext>
            </a:extLst>
          </p:cNvPr>
          <p:cNvSpPr txBox="1"/>
          <p:nvPr/>
        </p:nvSpPr>
        <p:spPr>
          <a:xfrm>
            <a:off x="260337" y="5635625"/>
            <a:ext cx="8228378" cy="707886"/>
          </a:xfrm>
          <a:prstGeom prst="rect">
            <a:avLst/>
          </a:prstGeom>
          <a:noFill/>
        </p:spPr>
        <p:txBody>
          <a:bodyPr wrap="square">
            <a:spAutoFit/>
          </a:bodyPr>
          <a:lstStyle/>
          <a:p>
            <a:pPr marL="0" lvl="1" algn="just" eaLnBrk="1" hangingPunct="1">
              <a:spcBef>
                <a:spcPct val="20000"/>
              </a:spcBef>
              <a:defRPr/>
            </a:pPr>
            <a:r>
              <a:rPr lang="es-CL" sz="2000" dirty="0">
                <a:solidFill>
                  <a:schemeClr val="tx2">
                    <a:lumMod val="75000"/>
                  </a:schemeClr>
                </a:solidFill>
                <a:latin typeface="Arial Narrow" panose="020B0606020202030204" pitchFamily="34" charset="0"/>
                <a:cs typeface="+mn-cs"/>
              </a:rPr>
              <a:t>Con el envío del cuestionario de capacitación se cumplió con el segundo objetivo comprometido.</a:t>
            </a:r>
          </a:p>
        </p:txBody>
      </p:sp>
      <p:pic>
        <p:nvPicPr>
          <p:cNvPr id="17" name="Picture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32239" y="344850"/>
            <a:ext cx="1115873" cy="540067"/>
          </a:xfrm>
          <a:prstGeom prst="rect">
            <a:avLst/>
          </a:prstGeom>
        </p:spPr>
      </p:pic>
    </p:spTree>
    <p:extLst>
      <p:ext uri="{BB962C8B-B14F-4D97-AF65-F5344CB8AC3E}">
        <p14:creationId xmlns:p14="http://schemas.microsoft.com/office/powerpoint/2010/main" val="5265116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74" name="9 Grupo"/>
          <p:cNvGrpSpPr>
            <a:grpSpLocks/>
          </p:cNvGrpSpPr>
          <p:nvPr/>
        </p:nvGrpSpPr>
        <p:grpSpPr bwMode="auto">
          <a:xfrm>
            <a:off x="395288" y="6683375"/>
            <a:ext cx="2035175" cy="174625"/>
            <a:chOff x="401947" y="-7557"/>
            <a:chExt cx="2035173" cy="174625"/>
          </a:xfrm>
        </p:grpSpPr>
        <p:sp>
          <p:nvSpPr>
            <p:cNvPr id="7" name="6 Rectángulo"/>
            <p:cNvSpPr/>
            <p:nvPr/>
          </p:nvSpPr>
          <p:spPr>
            <a:xfrm>
              <a:off x="401947" y="-7557"/>
              <a:ext cx="908049" cy="174625"/>
            </a:xfrm>
            <a:prstGeom prst="rect">
              <a:avLst/>
            </a:prstGeom>
            <a:solidFill>
              <a:srgbClr val="1069B1"/>
            </a:solidFill>
            <a:ln w="3175">
              <a:solidFill>
                <a:srgbClr val="1069B1"/>
              </a:solid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s-CL" dirty="0">
                <a:solidFill>
                  <a:prstClr val="white"/>
                </a:solidFill>
              </a:endParaRPr>
            </a:p>
          </p:txBody>
        </p:sp>
        <p:sp>
          <p:nvSpPr>
            <p:cNvPr id="8" name="7 Rectángulo"/>
            <p:cNvSpPr/>
            <p:nvPr/>
          </p:nvSpPr>
          <p:spPr>
            <a:xfrm>
              <a:off x="1313171" y="-7557"/>
              <a:ext cx="1123949" cy="174625"/>
            </a:xfrm>
            <a:prstGeom prst="rect">
              <a:avLst/>
            </a:prstGeom>
            <a:solidFill>
              <a:srgbClr val="E73C46"/>
            </a:solidFill>
            <a:ln w="3175">
              <a:solidFill>
                <a:srgbClr val="E73C46"/>
              </a:solid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s-CL" dirty="0">
                <a:solidFill>
                  <a:prstClr val="white"/>
                </a:solidFill>
              </a:endParaRPr>
            </a:p>
          </p:txBody>
        </p:sp>
      </p:grpSp>
      <p:sp>
        <p:nvSpPr>
          <p:cNvPr id="3076" name="2 Marcador de número de diapositiva"/>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fld id="{9B3A7F7F-929F-4173-97DD-09BB88B28EC9}" type="slidenum">
              <a:rPr lang="es-ES" altLang="es-ES" sz="1000" smtClean="0">
                <a:solidFill>
                  <a:srgbClr val="8F8F8F"/>
                </a:solidFill>
              </a:rPr>
              <a:pPr/>
              <a:t>9</a:t>
            </a:fld>
            <a:endParaRPr lang="es-ES" altLang="es-ES" sz="1000" dirty="0">
              <a:solidFill>
                <a:srgbClr val="8F8F8F"/>
              </a:solidFill>
            </a:endParaRPr>
          </a:p>
        </p:txBody>
      </p:sp>
      <p:sp>
        <p:nvSpPr>
          <p:cNvPr id="3077" name="16 Marcador de pie de página"/>
          <p:cNvSpPr txBox="1">
            <a:spLocks/>
          </p:cNvSpPr>
          <p:nvPr/>
        </p:nvSpPr>
        <p:spPr bwMode="auto">
          <a:xfrm>
            <a:off x="4464050" y="6592888"/>
            <a:ext cx="2159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hangingPunct="1"/>
            <a:r>
              <a:rPr lang="es-CL" altLang="es-CL" sz="1000" dirty="0">
                <a:solidFill>
                  <a:srgbClr val="898989"/>
                </a:solidFill>
              </a:rPr>
              <a:t>CNE</a:t>
            </a:r>
            <a:endParaRPr lang="es-ES" altLang="es-CL" sz="1000" dirty="0">
              <a:solidFill>
                <a:srgbClr val="898989"/>
              </a:solidFill>
            </a:endParaRPr>
          </a:p>
        </p:txBody>
      </p:sp>
      <p:pic>
        <p:nvPicPr>
          <p:cNvPr id="3078" name="Picture 2" descr="\\natura\Unidad de Informacion y Estadisticas\Energía Abierta\Logo EA\Banner\Banner_EA_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74013" y="215900"/>
            <a:ext cx="647700" cy="955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CuadroTexto 12">
            <a:extLst>
              <a:ext uri="{FF2B5EF4-FFF2-40B4-BE49-F238E27FC236}">
                <a16:creationId xmlns:a16="http://schemas.microsoft.com/office/drawing/2014/main" id="{DE21F937-CFE4-4C70-8DF7-EBE9E62D437F}"/>
              </a:ext>
            </a:extLst>
          </p:cNvPr>
          <p:cNvSpPr txBox="1"/>
          <p:nvPr/>
        </p:nvSpPr>
        <p:spPr>
          <a:xfrm>
            <a:off x="565761" y="2242317"/>
            <a:ext cx="8228378" cy="3108543"/>
          </a:xfrm>
          <a:prstGeom prst="rect">
            <a:avLst/>
          </a:prstGeom>
          <a:noFill/>
        </p:spPr>
        <p:txBody>
          <a:bodyPr wrap="square">
            <a:spAutoFit/>
          </a:bodyPr>
          <a:lstStyle/>
          <a:p>
            <a:pPr marL="0" lvl="1" algn="just" eaLnBrk="1" hangingPunct="1">
              <a:spcBef>
                <a:spcPct val="20000"/>
              </a:spcBef>
              <a:defRPr/>
            </a:pPr>
            <a:r>
              <a:rPr lang="es-CL" sz="2000" dirty="0">
                <a:solidFill>
                  <a:schemeClr val="tx2">
                    <a:lumMod val="75000"/>
                  </a:schemeClr>
                </a:solidFill>
                <a:latin typeface="Arial Narrow" panose="020B0606020202030204" pitchFamily="34" charset="0"/>
                <a:cs typeface="+mn-cs"/>
              </a:rPr>
              <a:t>No obstante el envío del cuestionario de capacitación señalado en la lámina anterior, debido a la contingencia internacional no se obtuvieron respuestas de los países miembros, por lo que no se contó con los insumos necesarios para determinar qué áreas de alta relevancia podrían ser objeto de transferencia de experiencias.</a:t>
            </a:r>
          </a:p>
          <a:p>
            <a:pPr marL="0" lvl="1" algn="just" eaLnBrk="1" hangingPunct="1">
              <a:spcBef>
                <a:spcPct val="20000"/>
              </a:spcBef>
              <a:defRPr/>
            </a:pPr>
            <a:endParaRPr lang="es-CL" sz="2000" dirty="0">
              <a:solidFill>
                <a:schemeClr val="tx2">
                  <a:lumMod val="75000"/>
                </a:schemeClr>
              </a:solidFill>
              <a:latin typeface="Arial Narrow" panose="020B0606020202030204" pitchFamily="34" charset="0"/>
              <a:cs typeface="+mn-cs"/>
            </a:endParaRPr>
          </a:p>
          <a:p>
            <a:pPr marL="0" lvl="1" algn="just" eaLnBrk="1" hangingPunct="1">
              <a:spcBef>
                <a:spcPct val="20000"/>
              </a:spcBef>
              <a:defRPr/>
            </a:pPr>
            <a:r>
              <a:rPr lang="es-CL" sz="2000" dirty="0">
                <a:solidFill>
                  <a:schemeClr val="tx2">
                    <a:lumMod val="75000"/>
                  </a:schemeClr>
                </a:solidFill>
                <a:latin typeface="Arial Narrow" panose="020B0606020202030204" pitchFamily="34" charset="0"/>
                <a:cs typeface="+mn-cs"/>
              </a:rPr>
              <a:t>En consecuencia, no se pudo dar cumplimiento del tercer compromiso relacionado a transferencia de experiencias.</a:t>
            </a:r>
          </a:p>
          <a:p>
            <a:pPr marL="0" lvl="1" algn="just" eaLnBrk="1" hangingPunct="1">
              <a:spcBef>
                <a:spcPct val="20000"/>
              </a:spcBef>
              <a:defRPr/>
            </a:pPr>
            <a:endParaRPr lang="es-CL" sz="2000" dirty="0">
              <a:solidFill>
                <a:schemeClr val="tx2">
                  <a:lumMod val="75000"/>
                </a:schemeClr>
              </a:solidFill>
              <a:latin typeface="Arial Narrow" panose="020B0606020202030204" pitchFamily="34" charset="0"/>
              <a:cs typeface="+mn-cs"/>
            </a:endParaRPr>
          </a:p>
          <a:p>
            <a:pPr marL="0" lvl="1" algn="just" eaLnBrk="1" hangingPunct="1">
              <a:spcBef>
                <a:spcPct val="20000"/>
              </a:spcBef>
              <a:defRPr/>
            </a:pPr>
            <a:r>
              <a:rPr lang="es-CL" sz="2000" dirty="0">
                <a:solidFill>
                  <a:schemeClr val="tx2">
                    <a:lumMod val="75000"/>
                  </a:schemeClr>
                </a:solidFill>
                <a:latin typeface="Arial Narrow" panose="020B0606020202030204" pitchFamily="34" charset="0"/>
                <a:cs typeface="+mn-cs"/>
              </a:rPr>
              <a:t>Éste es uno de los puntos que los miembros del GTG deberán resolver para el 2021.</a:t>
            </a:r>
          </a:p>
        </p:txBody>
      </p:sp>
      <p:sp>
        <p:nvSpPr>
          <p:cNvPr id="15" name="18 CuadroTexto">
            <a:extLst>
              <a:ext uri="{FF2B5EF4-FFF2-40B4-BE49-F238E27FC236}">
                <a16:creationId xmlns:a16="http://schemas.microsoft.com/office/drawing/2014/main" id="{10AF7465-485B-4C84-8AC5-1150866CBDFE}"/>
              </a:ext>
            </a:extLst>
          </p:cNvPr>
          <p:cNvSpPr txBox="1">
            <a:spLocks noChangeArrowheads="1"/>
          </p:cNvSpPr>
          <p:nvPr/>
        </p:nvSpPr>
        <p:spPr bwMode="auto">
          <a:xfrm>
            <a:off x="487494" y="254239"/>
            <a:ext cx="6580056" cy="72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r>
              <a:rPr lang="es-CL" sz="1400" b="1" dirty="0">
                <a:ln>
                  <a:solidFill>
                    <a:srgbClr val="F9FAFA"/>
                  </a:solidFill>
                </a:ln>
                <a:solidFill>
                  <a:schemeClr val="tx2">
                    <a:lumMod val="75000"/>
                  </a:schemeClr>
                </a:solidFill>
                <a:latin typeface="Noto Sans"/>
                <a:ea typeface="Verdana" pitchFamily="34" charset="0"/>
                <a:cs typeface="Verdana" pitchFamily="34" charset="0"/>
              </a:rPr>
              <a:t>GRUPO DE TRABAJO DE GAS (GTG) ARIAE</a:t>
            </a:r>
          </a:p>
          <a:p>
            <a:pPr eaLnBrk="1" hangingPunct="1"/>
            <a:r>
              <a:rPr lang="es-CL" sz="1600" b="1" dirty="0">
                <a:ln>
                  <a:solidFill>
                    <a:srgbClr val="F9FAFA"/>
                  </a:solidFill>
                </a:ln>
                <a:solidFill>
                  <a:schemeClr val="tx2">
                    <a:lumMod val="75000"/>
                  </a:schemeClr>
                </a:solidFill>
                <a:latin typeface="Noto Sans"/>
                <a:ea typeface="Verdana" pitchFamily="34" charset="0"/>
                <a:cs typeface="Verdana" pitchFamily="34" charset="0"/>
              </a:rPr>
              <a:t>Compromiso 3: </a:t>
            </a:r>
            <a:r>
              <a:rPr lang="es-ES_tradnl" altLang="es-CL" sz="1600" dirty="0">
                <a:solidFill>
                  <a:schemeClr val="tx2">
                    <a:lumMod val="75000"/>
                  </a:schemeClr>
                </a:solidFill>
                <a:latin typeface="Arial Narrow" panose="020B0606020202030204" pitchFamily="34" charset="0"/>
                <a:cs typeface="+mn-cs"/>
              </a:rPr>
              <a:t>Cooperación público-privada y transferencia de experiencias</a:t>
            </a:r>
          </a:p>
          <a:p>
            <a:pPr eaLnBrk="1" hangingPunct="1"/>
            <a:endParaRPr lang="es-CL" sz="1050" b="1" dirty="0">
              <a:ln>
                <a:solidFill>
                  <a:srgbClr val="F9FAFA"/>
                </a:solidFill>
              </a:ln>
              <a:solidFill>
                <a:srgbClr val="29425F"/>
              </a:solidFill>
              <a:latin typeface="+mn-lt"/>
              <a:ea typeface="Verdana" pitchFamily="34" charset="0"/>
              <a:cs typeface="Verdana" pitchFamily="34" charset="0"/>
            </a:endParaRPr>
          </a:p>
        </p:txBody>
      </p:sp>
      <p:cxnSp>
        <p:nvCxnSpPr>
          <p:cNvPr id="16" name="13 Conector recto">
            <a:extLst>
              <a:ext uri="{FF2B5EF4-FFF2-40B4-BE49-F238E27FC236}">
                <a16:creationId xmlns:a16="http://schemas.microsoft.com/office/drawing/2014/main" id="{C1D954C7-7B95-4348-AA23-4F9F29D85489}"/>
              </a:ext>
            </a:extLst>
          </p:cNvPr>
          <p:cNvCxnSpPr/>
          <p:nvPr/>
        </p:nvCxnSpPr>
        <p:spPr>
          <a:xfrm>
            <a:off x="487494" y="1052736"/>
            <a:ext cx="6130925"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32239" y="344850"/>
            <a:ext cx="1115873" cy="540067"/>
          </a:xfrm>
          <a:prstGeom prst="rect">
            <a:avLst/>
          </a:prstGeom>
        </p:spPr>
      </p:pic>
    </p:spTree>
    <p:extLst>
      <p:ext uri="{BB962C8B-B14F-4D97-AF65-F5344CB8AC3E}">
        <p14:creationId xmlns:p14="http://schemas.microsoft.com/office/powerpoint/2010/main" val="19668396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P27du1A5qGKhuUDVfDgtz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6_Tema de Office">
  <a:themeElements>
    <a:clrScheme name="Reporte Mensual">
      <a:dk1>
        <a:srgbClr val="333333"/>
      </a:dk1>
      <a:lt1>
        <a:srgbClr val="F9FAFA"/>
      </a:lt1>
      <a:dk2>
        <a:srgbClr val="264763"/>
      </a:dk2>
      <a:lt2>
        <a:srgbClr val="A9ADB2"/>
      </a:lt2>
      <a:accent1>
        <a:srgbClr val="0F69B2"/>
      </a:accent1>
      <a:accent2>
        <a:srgbClr val="0C9999"/>
      </a:accent2>
      <a:accent3>
        <a:srgbClr val="9BCA46"/>
      </a:accent3>
      <a:accent4>
        <a:srgbClr val="E83D47"/>
      </a:accent4>
      <a:accent5>
        <a:srgbClr val="7C6972"/>
      </a:accent5>
      <a:accent6>
        <a:srgbClr val="EE6400"/>
      </a:accent6>
      <a:hlink>
        <a:srgbClr val="F8B133"/>
      </a:hlink>
      <a:folHlink>
        <a:srgbClr val="ED7C7C"/>
      </a:folHlink>
    </a:clrScheme>
    <a:fontScheme name="Clásico de Office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52B779CABE11C43A8C96A3F81B6F7B5" ma:contentTypeVersion="9" ma:contentTypeDescription="Create a new document." ma:contentTypeScope="" ma:versionID="9574eaa6ec6076ff2c1f37dede648ecc">
  <xsd:schema xmlns:xsd="http://www.w3.org/2001/XMLSchema" xmlns:xs="http://www.w3.org/2001/XMLSchema" xmlns:p="http://schemas.microsoft.com/office/2006/metadata/properties" xmlns:ns3="6439dd3a-93fd-4b4a-8131-0592aaf6fbde" xmlns:ns4="4f9f18cf-ad51-4dc6-9126-702cf19d8cbb" targetNamespace="http://schemas.microsoft.com/office/2006/metadata/properties" ma:root="true" ma:fieldsID="e94ed860cc6d4af93441d594a2c0f38f" ns3:_="" ns4:_="">
    <xsd:import namespace="6439dd3a-93fd-4b4a-8131-0592aaf6fbde"/>
    <xsd:import namespace="4f9f18cf-ad51-4dc6-9126-702cf19d8cbb"/>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GenerationTime" minOccurs="0"/>
                <xsd:element ref="ns4:MediaServiceEventHashCode" minOccurs="0"/>
                <xsd:element ref="ns4: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439dd3a-93fd-4b4a-8131-0592aaf6fbd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f9f18cf-ad51-4dc6-9126-702cf19d8cbb"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21906FC-7710-4219-B51D-5B8022385E6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439dd3a-93fd-4b4a-8131-0592aaf6fbde"/>
    <ds:schemaRef ds:uri="4f9f18cf-ad51-4dc6-9126-702cf19d8cb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F88B1D5-A993-4A73-A149-35A7BE594307}">
  <ds:schemaRefs>
    <ds:schemaRef ds:uri="6439dd3a-93fd-4b4a-8131-0592aaf6fbde"/>
    <ds:schemaRef ds:uri="http://schemas.microsoft.com/office/2006/documentManagement/types"/>
    <ds:schemaRef ds:uri="http://purl.org/dc/terms/"/>
    <ds:schemaRef ds:uri="http://purl.org/dc/elements/1.1/"/>
    <ds:schemaRef ds:uri="http://schemas.microsoft.com/office/infopath/2007/PartnerControls"/>
    <ds:schemaRef ds:uri="http://www.w3.org/XML/1998/namespace"/>
    <ds:schemaRef ds:uri="http://schemas.openxmlformats.org/package/2006/metadata/core-properties"/>
    <ds:schemaRef ds:uri="http://schemas.microsoft.com/office/2006/metadata/properties"/>
    <ds:schemaRef ds:uri="4f9f18cf-ad51-4dc6-9126-702cf19d8cbb"/>
    <ds:schemaRef ds:uri="http://purl.org/dc/dcmitype/"/>
  </ds:schemaRefs>
</ds:datastoreItem>
</file>

<file path=customXml/itemProps3.xml><?xml version="1.0" encoding="utf-8"?>
<ds:datastoreItem xmlns:ds="http://schemas.openxmlformats.org/officeDocument/2006/customXml" ds:itemID="{6A883941-A6C6-4D6F-BD5A-F56B76A1FE4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0021</TotalTime>
  <Words>1107</Words>
  <Application>Microsoft Office PowerPoint</Application>
  <PresentationFormat>Presentación en pantalla (4:3)</PresentationFormat>
  <Paragraphs>113</Paragraphs>
  <Slides>13</Slides>
  <Notes>5</Notes>
  <HiddenSlides>0</HiddenSlides>
  <MMClips>0</MMClips>
  <ScaleCrop>false</ScaleCrop>
  <HeadingPairs>
    <vt:vector size="8" baseType="variant">
      <vt:variant>
        <vt:lpstr>Fuentes usadas</vt:lpstr>
      </vt:variant>
      <vt:variant>
        <vt:i4>7</vt:i4>
      </vt:variant>
      <vt:variant>
        <vt:lpstr>Tema</vt:lpstr>
      </vt:variant>
      <vt:variant>
        <vt:i4>2</vt:i4>
      </vt:variant>
      <vt:variant>
        <vt:lpstr>Servidores OLE incrustados</vt:lpstr>
      </vt:variant>
      <vt:variant>
        <vt:i4>1</vt:i4>
      </vt:variant>
      <vt:variant>
        <vt:lpstr>Títulos de diapositiva</vt:lpstr>
      </vt:variant>
      <vt:variant>
        <vt:i4>13</vt:i4>
      </vt:variant>
    </vt:vector>
  </HeadingPairs>
  <TitlesOfParts>
    <vt:vector size="23" baseType="lpstr">
      <vt:lpstr>Arial</vt:lpstr>
      <vt:lpstr>Arial Narrow</vt:lpstr>
      <vt:lpstr>Calibri</vt:lpstr>
      <vt:lpstr>gobCL</vt:lpstr>
      <vt:lpstr>Noto Sans</vt:lpstr>
      <vt:lpstr>Segoe UI</vt:lpstr>
      <vt:lpstr>Verdana</vt:lpstr>
      <vt:lpstr>Tema de Office</vt:lpstr>
      <vt:lpstr>16_Tema de Office</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Kiumarz Goharriz Chahin</dc:creator>
  <cp:lastModifiedBy>Martin Osorio</cp:lastModifiedBy>
  <cp:revision>522</cp:revision>
  <cp:lastPrinted>2018-08-27T20:26:26Z</cp:lastPrinted>
  <dcterms:created xsi:type="dcterms:W3CDTF">2015-09-08T22:02:02Z</dcterms:created>
  <dcterms:modified xsi:type="dcterms:W3CDTF">2020-12-09T21:41: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52B779CABE11C43A8C96A3F81B6F7B5</vt:lpwstr>
  </property>
</Properties>
</file>